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sldIdLst>
    <p:sldId id="271" r:id="rId2"/>
    <p:sldId id="270" r:id="rId3"/>
    <p:sldId id="272" r:id="rId4"/>
    <p:sldId id="273" r:id="rId5"/>
    <p:sldId id="274" r:id="rId6"/>
    <p:sldId id="275" r:id="rId7"/>
    <p:sldId id="276" r:id="rId8"/>
    <p:sldId id="277" r:id="rId9"/>
    <p:sldId id="278" r:id="rId10"/>
    <p:sldId id="279" r:id="rId11"/>
    <p:sldId id="280" r:id="rId12"/>
    <p:sldId id="281" r:id="rId13"/>
    <p:sldId id="282" r:id="rId14"/>
    <p:sldId id="283" r:id="rId15"/>
  </p:sldIdLst>
  <p:sldSz cx="12192000" cy="6858000"/>
  <p:notesSz cx="6858000" cy="9144000"/>
  <p:embeddedFontLs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Calibri Light" panose="020F0302020204030204" pitchFamily="34" charset="0"/>
      <p:regular r:id="rId20"/>
      <p:italic r:id="rId21"/>
    </p:embeddedFont>
    <p:embeddedFont>
      <p:font typeface="Montserrat" panose="020B0604020202020204" charset="-52"/>
      <p:regular r:id="rId22"/>
      <p:bold r:id="rId23"/>
      <p:italic r:id="rId24"/>
      <p:boldItalic r:id="rId25"/>
    </p:embeddedFont>
    <p:embeddedFont>
      <p:font typeface="Montserrat ExtraBold" panose="020B0604020202020204" charset="-52"/>
      <p:bold r:id="rId26"/>
      <p:boldItalic r:id="rId27"/>
    </p:embeddedFont>
    <p:embeddedFont>
      <p:font typeface="Montserrat Light" panose="020B0604020202020204" charset="-52"/>
      <p:regular r:id="rId28"/>
      <p:italic r:id="rId29"/>
    </p:embeddedFont>
    <p:embeddedFont>
      <p:font typeface="Montserrat Medium" panose="020B0604020202020204" charset="-52"/>
      <p:regular r:id="rId30"/>
      <p:italic r:id="rId31"/>
    </p:embeddedFont>
  </p:embeddedFontLst>
  <p:custDataLst>
    <p:tags r:id="rId3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10" userDrawn="1">
          <p15:clr>
            <a:srgbClr val="A4A3A4"/>
          </p15:clr>
        </p15:guide>
        <p15:guide id="2" pos="211" userDrawn="1">
          <p15:clr>
            <a:srgbClr val="A4A3A4"/>
          </p15:clr>
        </p15:guide>
        <p15:guide id="3" pos="7378" userDrawn="1">
          <p15:clr>
            <a:srgbClr val="A4A3A4"/>
          </p15:clr>
        </p15:guide>
        <p15:guide id="4" orient="horz" pos="2296" userDrawn="1">
          <p15:clr>
            <a:srgbClr val="A4A3A4"/>
          </p15:clr>
        </p15:guide>
        <p15:guide id="5" orient="horz" pos="48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8294C"/>
    <a:srgbClr val="4950D0"/>
    <a:srgbClr val="F0F0F0"/>
    <a:srgbClr val="404040"/>
    <a:srgbClr val="969696"/>
    <a:srgbClr val="EAC1CA"/>
    <a:srgbClr val="3423A6"/>
    <a:srgbClr val="777777"/>
    <a:srgbClr val="191C61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997" autoAdjust="0"/>
    <p:restoredTop sz="94660"/>
  </p:normalViewPr>
  <p:slideViewPr>
    <p:cSldViewPr snapToGrid="0" showGuides="1">
      <p:cViewPr varScale="1">
        <p:scale>
          <a:sx n="163" d="100"/>
          <a:sy n="163" d="100"/>
        </p:scale>
        <p:origin x="456" y="138"/>
      </p:cViewPr>
      <p:guideLst>
        <p:guide orient="horz" pos="4110"/>
        <p:guide pos="211"/>
        <p:guide pos="7378"/>
        <p:guide orient="horz" pos="2296"/>
        <p:guide orient="horz" pos="48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font" Target="fonts/font1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9.fntdata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8.fntdata"/><Relationship Id="rId28" Type="http://schemas.openxmlformats.org/officeDocument/2006/relationships/font" Target="fonts/font13.fntdata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31" Type="http://schemas.openxmlformats.org/officeDocument/2006/relationships/font" Target="fonts/font1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font" Target="fonts/font15.fntdata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437C9-3988-4DC0-8F3D-97538EBA486D}" type="datetimeFigureOut">
              <a:rPr lang="ru-RU" smtClean="0"/>
              <a:t>29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3C651-49C2-48D9-920B-F9E39824CD7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93413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437C9-3988-4DC0-8F3D-97538EBA486D}" type="datetimeFigureOut">
              <a:rPr lang="ru-RU" smtClean="0"/>
              <a:t>29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3C651-49C2-48D9-920B-F9E39824CD7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63842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437C9-3988-4DC0-8F3D-97538EBA486D}" type="datetimeFigureOut">
              <a:rPr lang="ru-RU" smtClean="0"/>
              <a:t>29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3C651-49C2-48D9-920B-F9E39824CD7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77847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437C9-3988-4DC0-8F3D-97538EBA486D}" type="datetimeFigureOut">
              <a:rPr lang="ru-RU" smtClean="0"/>
              <a:t>29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3C651-49C2-48D9-920B-F9E39824CD7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77497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437C9-3988-4DC0-8F3D-97538EBA486D}" type="datetimeFigureOut">
              <a:rPr lang="ru-RU" smtClean="0"/>
              <a:t>29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3C651-49C2-48D9-920B-F9E39824CD7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6192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437C9-3988-4DC0-8F3D-97538EBA486D}" type="datetimeFigureOut">
              <a:rPr lang="ru-RU" smtClean="0"/>
              <a:t>29.02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3C651-49C2-48D9-920B-F9E39824CD7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7411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437C9-3988-4DC0-8F3D-97538EBA486D}" type="datetimeFigureOut">
              <a:rPr lang="ru-RU" smtClean="0"/>
              <a:t>29.02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3C651-49C2-48D9-920B-F9E39824CD7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89955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437C9-3988-4DC0-8F3D-97538EBA486D}" type="datetimeFigureOut">
              <a:rPr lang="ru-RU" smtClean="0"/>
              <a:t>29.02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3C651-49C2-48D9-920B-F9E39824CD7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54470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437C9-3988-4DC0-8F3D-97538EBA486D}" type="datetimeFigureOut">
              <a:rPr lang="ru-RU" smtClean="0"/>
              <a:t>29.02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3C651-49C2-48D9-920B-F9E39824CD7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20275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437C9-3988-4DC0-8F3D-97538EBA486D}" type="datetimeFigureOut">
              <a:rPr lang="ru-RU" smtClean="0"/>
              <a:t>29.02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3C651-49C2-48D9-920B-F9E39824CD7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82459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437C9-3988-4DC0-8F3D-97538EBA486D}" type="datetimeFigureOut">
              <a:rPr lang="ru-RU" smtClean="0"/>
              <a:t>29.02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3C651-49C2-48D9-920B-F9E39824CD7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52211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0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01359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" name="Слайд think-cell" r:id="rId15" imgW="425" imgH="426" progId="TCLayout.ActiveDocument.1">
                  <p:embed/>
                </p:oleObj>
              </mc:Choice>
              <mc:Fallback>
                <p:oleObj name="Слайд think-cell" r:id="rId1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7437C9-3988-4DC0-8F3D-97538EBA486D}" type="datetimeFigureOut">
              <a:rPr lang="ru-RU" smtClean="0"/>
              <a:t>29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73C651-49C2-48D9-920B-F9E39824CD7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8844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microsoft.com/office/2007/relationships/hdphoto" Target="../media/hdphoto2.wdp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0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jpeg"/><Relationship Id="rId12" Type="http://schemas.openxmlformats.org/officeDocument/2006/relationships/image" Target="../media/image9.jpeg"/><Relationship Id="rId2" Type="http://schemas.openxmlformats.org/officeDocument/2006/relationships/tags" Target="../tags/tag7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11" Type="http://schemas.openxmlformats.org/officeDocument/2006/relationships/image" Target="../media/image8.jpeg"/><Relationship Id="rId5" Type="http://schemas.openxmlformats.org/officeDocument/2006/relationships/image" Target="../media/image1.emf"/><Relationship Id="rId15" Type="http://schemas.openxmlformats.org/officeDocument/2006/relationships/image" Target="../media/image12.jpeg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6.bin"/><Relationship Id="rId9" Type="http://schemas.openxmlformats.org/officeDocument/2006/relationships/image" Target="../media/image6.jpeg"/><Relationship Id="rId1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microsoft.com/office/2007/relationships/hdphoto" Target="../media/hdphoto1.wdp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9850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0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Скругленный прямоугольник 4"/>
          <p:cNvSpPr/>
          <p:nvPr/>
        </p:nvSpPr>
        <p:spPr>
          <a:xfrm>
            <a:off x="80963" y="46892"/>
            <a:ext cx="12030075" cy="6764216"/>
          </a:xfrm>
          <a:prstGeom prst="roundRect">
            <a:avLst>
              <a:gd name="adj" fmla="val 2696"/>
            </a:avLst>
          </a:prstGeom>
          <a:solidFill>
            <a:srgbClr val="495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34963" y="154947"/>
            <a:ext cx="11522075" cy="123110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  <a:latin typeface="Montserrat" panose="00000500000000000000" pitchFamily="2" charset="-52"/>
              </a:rPr>
              <a:t>Министерство науки и высшего образования Российской Федерации</a:t>
            </a:r>
          </a:p>
          <a:p>
            <a:pPr algn="ctr"/>
            <a:r>
              <a:rPr lang="ru-RU" sz="1600" dirty="0">
                <a:solidFill>
                  <a:schemeClr val="bg1"/>
                </a:solidFill>
                <a:latin typeface="Montserrat" panose="00000500000000000000" pitchFamily="2" charset="-52"/>
              </a:rPr>
              <a:t>федеральное государственное бюджетное</a:t>
            </a:r>
          </a:p>
          <a:p>
            <a:pPr algn="ctr"/>
            <a:r>
              <a:rPr lang="ru-RU" sz="1600" dirty="0">
                <a:solidFill>
                  <a:schemeClr val="bg1"/>
                </a:solidFill>
                <a:latin typeface="Montserrat" panose="00000500000000000000" pitchFamily="2" charset="-52"/>
              </a:rPr>
              <a:t>образовательное учреждение высшего образования</a:t>
            </a:r>
          </a:p>
          <a:p>
            <a:pPr algn="ctr"/>
            <a:r>
              <a:rPr lang="ru-RU" sz="1600" dirty="0">
                <a:solidFill>
                  <a:schemeClr val="bg1"/>
                </a:solidFill>
                <a:latin typeface="Montserrat" panose="00000500000000000000" pitchFamily="2" charset="-52"/>
              </a:rPr>
              <a:t>«Российский экономический университет имени Г. В. Плеханова»</a:t>
            </a:r>
          </a:p>
          <a:p>
            <a:pPr algn="ctr"/>
            <a:r>
              <a:rPr lang="ru-RU" sz="1600" dirty="0">
                <a:solidFill>
                  <a:schemeClr val="bg1"/>
                </a:solidFill>
                <a:latin typeface="Montserrat" panose="00000500000000000000" pitchFamily="2" charset="-52"/>
              </a:rPr>
              <a:t>Тульский филиал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700529" y="811035"/>
            <a:ext cx="6756002" cy="41506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endParaRPr lang="ru-RU" sz="1700" b="1" dirty="0">
              <a:solidFill>
                <a:schemeClr val="bg1"/>
              </a:solidFill>
              <a:latin typeface="Montserrat" panose="00000500000000000000" pitchFamily="2" charset="-52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995341" y="1728725"/>
            <a:ext cx="10563613" cy="73866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  <a:latin typeface="Montserrat" panose="00000500000000000000" pitchFamily="2" charset="-52"/>
              </a:rPr>
              <a:t>Кафедра экономики и цифровых технологий  </a:t>
            </a:r>
          </a:p>
          <a:p>
            <a:pPr algn="ctr"/>
            <a:endParaRPr lang="ru-RU" sz="1600" b="1" dirty="0">
              <a:solidFill>
                <a:schemeClr val="bg1"/>
              </a:solidFill>
              <a:latin typeface="Montserrat" panose="00000500000000000000" pitchFamily="2" charset="-52"/>
            </a:endParaRPr>
          </a:p>
          <a:p>
            <a:pPr algn="ctr"/>
            <a:r>
              <a:rPr lang="ru-RU" sz="1600" b="1" dirty="0">
                <a:solidFill>
                  <a:schemeClr val="bg1"/>
                </a:solidFill>
                <a:latin typeface="Montserrat" panose="00000500000000000000" pitchFamily="2" charset="-52"/>
              </a:rPr>
              <a:t>ВЫПУСКНАЯ КВАЛИФИКАЦИОННАЯ РАБОТА</a:t>
            </a:r>
            <a:endParaRPr lang="ru-RU" sz="1600" dirty="0">
              <a:solidFill>
                <a:schemeClr val="bg1"/>
              </a:solidFill>
              <a:latin typeface="Montserrat" panose="00000500000000000000" pitchFamily="2" charset="-52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34963" y="2810061"/>
            <a:ext cx="11522075" cy="98488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ru-RU" sz="3200" b="1" dirty="0">
                <a:solidFill>
                  <a:schemeClr val="bg1"/>
                </a:solidFill>
                <a:latin typeface="Montserrat" panose="00000500000000000000" pitchFamily="2" charset="-52"/>
              </a:rPr>
              <a:t>«Разработка бизнес-плана</a:t>
            </a:r>
            <a:r>
              <a:rPr lang="en-US" sz="3200" b="1" dirty="0">
                <a:solidFill>
                  <a:schemeClr val="bg1"/>
                </a:solidFill>
                <a:latin typeface="Montserrat" panose="00000500000000000000" pitchFamily="2" charset="-52"/>
              </a:rPr>
              <a:t> </a:t>
            </a:r>
            <a:r>
              <a:rPr lang="ru-RU" sz="3200" b="1" dirty="0">
                <a:solidFill>
                  <a:schemeClr val="bg1"/>
                </a:solidFill>
                <a:latin typeface="Montserrat" panose="00000500000000000000" pitchFamily="2" charset="-52"/>
              </a:rPr>
              <a:t>для проекта-</a:t>
            </a:r>
            <a:r>
              <a:rPr lang="ru-RU" sz="3200" b="1" dirty="0" err="1">
                <a:solidFill>
                  <a:schemeClr val="bg1"/>
                </a:solidFill>
                <a:latin typeface="Montserrat" panose="00000500000000000000" pitchFamily="2" charset="-52"/>
              </a:rPr>
              <a:t>стартапа</a:t>
            </a:r>
            <a:endParaRPr lang="ru-RU" sz="3200" b="1" dirty="0">
              <a:solidFill>
                <a:schemeClr val="bg1"/>
              </a:solidFill>
              <a:latin typeface="Montserrat" panose="00000500000000000000" pitchFamily="2" charset="-52"/>
            </a:endParaRPr>
          </a:p>
          <a:p>
            <a:pPr algn="ctr"/>
            <a:r>
              <a:rPr lang="ru-RU" sz="3200" b="1" dirty="0">
                <a:solidFill>
                  <a:schemeClr val="bg1"/>
                </a:solidFill>
                <a:latin typeface="Montserrat" panose="00000500000000000000" pitchFamily="2" charset="-52"/>
              </a:rPr>
              <a:t>маникюрной студии</a:t>
            </a:r>
            <a:r>
              <a:rPr lang="en-US" sz="3200" b="1" dirty="0">
                <a:solidFill>
                  <a:schemeClr val="bg1"/>
                </a:solidFill>
                <a:latin typeface="Montserrat" panose="00000500000000000000" pitchFamily="2" charset="-52"/>
              </a:rPr>
              <a:t> </a:t>
            </a:r>
            <a:r>
              <a:rPr lang="ru-RU" sz="3200" b="1" dirty="0">
                <a:solidFill>
                  <a:schemeClr val="bg1"/>
                </a:solidFill>
                <a:latin typeface="Montserrat" panose="00000500000000000000" pitchFamily="2" charset="-52"/>
              </a:rPr>
              <a:t>«</a:t>
            </a:r>
            <a:r>
              <a:rPr lang="ru-RU" sz="3200" b="1" dirty="0" err="1">
                <a:solidFill>
                  <a:schemeClr val="bg1"/>
                </a:solidFill>
                <a:latin typeface="Montserrat" panose="00000500000000000000" pitchFamily="2" charset="-52"/>
              </a:rPr>
              <a:t>Magic</a:t>
            </a:r>
            <a:r>
              <a:rPr lang="ru-RU" sz="3200" b="1" dirty="0">
                <a:solidFill>
                  <a:schemeClr val="bg1"/>
                </a:solidFill>
                <a:latin typeface="Montserrat" panose="00000500000000000000" pitchFamily="2" charset="-52"/>
              </a:rPr>
              <a:t> </a:t>
            </a:r>
            <a:r>
              <a:rPr lang="ru-RU" sz="3200" b="1" dirty="0" err="1">
                <a:solidFill>
                  <a:schemeClr val="bg1"/>
                </a:solidFill>
                <a:latin typeface="Montserrat" panose="00000500000000000000" pitchFamily="2" charset="-52"/>
              </a:rPr>
              <a:t>nails</a:t>
            </a:r>
            <a:r>
              <a:rPr lang="ru-RU" sz="3200" b="1" dirty="0">
                <a:solidFill>
                  <a:schemeClr val="bg1"/>
                </a:solidFill>
                <a:latin typeface="Montserrat" panose="00000500000000000000" pitchFamily="2" charset="-52"/>
              </a:rPr>
              <a:t>»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334963" y="6269512"/>
            <a:ext cx="11522075" cy="31416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Montserrat" panose="00000500000000000000" pitchFamily="2" charset="-52"/>
              </a:rPr>
              <a:t>Тула 2024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6096000" y="4137618"/>
            <a:ext cx="5635039" cy="1038746"/>
            <a:chOff x="6096000" y="4158704"/>
            <a:chExt cx="5635039" cy="103874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6096000" y="4158704"/>
              <a:ext cx="965008" cy="184666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r>
                <a:rPr lang="ru-RU" sz="1200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Выполнила:</a:t>
              </a: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8403205" y="4158704"/>
              <a:ext cx="3327834" cy="1038746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ru-RU" sz="1200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Кочерова Наталья Юрьевна</a:t>
              </a:r>
              <a:endParaRPr lang="en-US" sz="1200" dirty="0">
                <a:solidFill>
                  <a:schemeClr val="bg1"/>
                </a:solidFill>
                <a:latin typeface="Montserrat" panose="00000500000000000000" pitchFamily="2" charset="-52"/>
              </a:endParaRPr>
            </a:p>
            <a:p>
              <a:pPr>
                <a:spcAft>
                  <a:spcPts val="300"/>
                </a:spcAft>
              </a:pPr>
              <a:r>
                <a:rPr lang="ru-RU" sz="1200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4 курса заочной ускоренной формы обучения</a:t>
              </a:r>
            </a:p>
            <a:p>
              <a:pPr>
                <a:spcAft>
                  <a:spcPts val="300"/>
                </a:spcAft>
              </a:pPr>
              <a:r>
                <a:rPr lang="ru-RU" sz="1200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направления «Экономика»</a:t>
              </a:r>
            </a:p>
            <a:p>
              <a:pPr>
                <a:spcAft>
                  <a:spcPts val="300"/>
                </a:spcAft>
              </a:pPr>
              <a:r>
                <a:rPr lang="ru-RU" sz="1200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профиль «Финансы и кредит» </a:t>
              </a: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6096000" y="5519036"/>
            <a:ext cx="4854376" cy="407804"/>
            <a:chOff x="6096000" y="5483413"/>
            <a:chExt cx="4854376" cy="407804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6096000" y="5483413"/>
              <a:ext cx="1925207" cy="184666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r>
                <a:rPr lang="ru-RU" sz="1200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Научный руководитель: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8403204" y="5483413"/>
              <a:ext cx="2547172" cy="407804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ru-RU" sz="1200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Бороухин Дмитрий Сергеевич, </a:t>
              </a:r>
            </a:p>
            <a:p>
              <a:pPr>
                <a:spcAft>
                  <a:spcPts val="300"/>
                </a:spcAft>
              </a:pPr>
              <a:r>
                <a:rPr lang="ru-RU" sz="1200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 старший преподаватель</a:t>
              </a:r>
            </a:p>
          </p:txBody>
        </p:sp>
      </p:grpSp>
      <p:pic>
        <p:nvPicPr>
          <p:cNvPr id="16" name="Picture 8">
            <a:extLst>
              <a:ext uri="{FF2B5EF4-FFF2-40B4-BE49-F238E27FC236}">
                <a16:creationId xmlns:a16="http://schemas.microsoft.com/office/drawing/2014/main" id="{E6FC81DD-827D-44A8-836D-3DA49487B1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 l="10521" t="15962" r="77292" b="69215"/>
          <a:stretch>
            <a:fillRect/>
          </a:stretch>
        </p:blipFill>
        <p:spPr bwMode="auto">
          <a:xfrm>
            <a:off x="10950376" y="46893"/>
            <a:ext cx="1160660" cy="991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6114465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480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4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/>
          <p:cNvSpPr/>
          <p:nvPr/>
        </p:nvSpPr>
        <p:spPr>
          <a:xfrm>
            <a:off x="204216" y="6598515"/>
            <a:ext cx="252990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ru-RU" sz="1200" b="1" i="1" dirty="0">
                <a:solidFill>
                  <a:srgbClr val="4950D0"/>
                </a:solidFill>
                <a:latin typeface="Montserrat" panose="00000500000000000000" pitchFamily="2" charset="-52"/>
              </a:rPr>
              <a:t>9</a:t>
            </a:r>
            <a:r>
              <a:rPr lang="en-US" sz="1200" dirty="0">
                <a:solidFill>
                  <a:srgbClr val="4950D0"/>
                </a:solidFill>
                <a:latin typeface="Montserrat" panose="00000500000000000000" pitchFamily="2" charset="-52"/>
              </a:rPr>
              <a:t>/</a:t>
            </a:r>
            <a:r>
              <a:rPr lang="en-US" sz="800" dirty="0">
                <a:solidFill>
                  <a:srgbClr val="4950D0"/>
                </a:solidFill>
                <a:latin typeface="Montserrat" panose="00000500000000000000" pitchFamily="2" charset="-52"/>
              </a:rPr>
              <a:t>13</a:t>
            </a:r>
            <a:endParaRPr lang="ru-RU" sz="800" dirty="0">
              <a:solidFill>
                <a:srgbClr val="4950D0"/>
              </a:solidFill>
              <a:latin typeface="Montserrat" panose="00000500000000000000" pitchFamily="2" charset="-52"/>
            </a:endParaRPr>
          </a:p>
        </p:txBody>
      </p:sp>
      <p:grpSp>
        <p:nvGrpSpPr>
          <p:cNvPr id="125" name="Группа 124"/>
          <p:cNvGrpSpPr/>
          <p:nvPr/>
        </p:nvGrpSpPr>
        <p:grpSpPr>
          <a:xfrm>
            <a:off x="70414" y="56746"/>
            <a:ext cx="11642162" cy="422119"/>
            <a:chOff x="70414" y="56746"/>
            <a:chExt cx="11642162" cy="422119"/>
          </a:xfrm>
        </p:grpSpPr>
        <p:sp>
          <p:nvSpPr>
            <p:cNvPr id="126" name="Скругленный прямоугольник 125"/>
            <p:cNvSpPr/>
            <p:nvPr/>
          </p:nvSpPr>
          <p:spPr>
            <a:xfrm>
              <a:off x="70414" y="56746"/>
              <a:ext cx="11642162" cy="422119"/>
            </a:xfrm>
            <a:prstGeom prst="roundRect">
              <a:avLst>
                <a:gd name="adj" fmla="val 17873"/>
              </a:avLst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7" name="Скругленный прямоугольник 126"/>
            <p:cNvSpPr/>
            <p:nvPr/>
          </p:nvSpPr>
          <p:spPr>
            <a:xfrm>
              <a:off x="108899" y="103316"/>
              <a:ext cx="710251" cy="328978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Введение</a:t>
              </a:r>
            </a:p>
          </p:txBody>
        </p:sp>
        <p:sp>
          <p:nvSpPr>
            <p:cNvPr id="128" name="Скругленный прямоугольник 127"/>
            <p:cNvSpPr/>
            <p:nvPr/>
          </p:nvSpPr>
          <p:spPr>
            <a:xfrm>
              <a:off x="938864" y="103317"/>
              <a:ext cx="949961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Методология разработки</a:t>
              </a:r>
            </a:p>
          </p:txBody>
        </p:sp>
        <p:sp>
          <p:nvSpPr>
            <p:cNvPr id="129" name="Скругленный прямоугольник 128"/>
            <p:cNvSpPr/>
            <p:nvPr/>
          </p:nvSpPr>
          <p:spPr>
            <a:xfrm>
              <a:off x="2008539" y="103317"/>
              <a:ext cx="190318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Бизнес-модель и бизнес-план </a:t>
              </a:r>
              <a:r>
                <a:rPr lang="ru-RU" sz="800" dirty="0" err="1">
                  <a:solidFill>
                    <a:schemeClr val="bg1"/>
                  </a:solidFill>
                  <a:latin typeface="Montserrat Light" panose="00000400000000000000" pitchFamily="2" charset="-52"/>
                </a:rPr>
                <a:t>стартап</a:t>
              </a:r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-проекта</a:t>
              </a:r>
            </a:p>
          </p:txBody>
        </p:sp>
        <p:sp>
          <p:nvSpPr>
            <p:cNvPr id="130" name="Скругленный прямоугольник 129"/>
            <p:cNvSpPr/>
            <p:nvPr/>
          </p:nvSpPr>
          <p:spPr>
            <a:xfrm>
              <a:off x="4031433" y="103317"/>
              <a:ext cx="171625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Маркетинговый анализ, стратегия и сбыт продукта</a:t>
              </a:r>
            </a:p>
          </p:txBody>
        </p:sp>
        <p:sp>
          <p:nvSpPr>
            <p:cNvPr id="131" name="Скругленный прямоугольник 130"/>
            <p:cNvSpPr/>
            <p:nvPr/>
          </p:nvSpPr>
          <p:spPr>
            <a:xfrm>
              <a:off x="5867397" y="103317"/>
              <a:ext cx="1290695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Производственный план</a:t>
              </a:r>
            </a:p>
          </p:txBody>
        </p:sp>
        <p:sp>
          <p:nvSpPr>
            <p:cNvPr id="132" name="Скругленный прямоугольник 131"/>
            <p:cNvSpPr/>
            <p:nvPr/>
          </p:nvSpPr>
          <p:spPr>
            <a:xfrm>
              <a:off x="7277806" y="103317"/>
              <a:ext cx="1177370" cy="328976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tx1"/>
                  </a:solidFill>
                  <a:latin typeface="Montserrat ExtraBold" panose="00000900000000000000" pitchFamily="2" charset="-52"/>
                </a:rPr>
                <a:t>Организационный план</a:t>
              </a:r>
            </a:p>
          </p:txBody>
        </p:sp>
        <p:sp>
          <p:nvSpPr>
            <p:cNvPr id="133" name="Скругленный прямоугольник 132"/>
            <p:cNvSpPr/>
            <p:nvPr/>
          </p:nvSpPr>
          <p:spPr>
            <a:xfrm>
              <a:off x="8574890" y="103317"/>
              <a:ext cx="871316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Финансовый план</a:t>
              </a:r>
            </a:p>
          </p:txBody>
        </p:sp>
        <p:sp>
          <p:nvSpPr>
            <p:cNvPr id="134" name="Скругленный прямоугольник 133"/>
            <p:cNvSpPr/>
            <p:nvPr/>
          </p:nvSpPr>
          <p:spPr>
            <a:xfrm>
              <a:off x="9565920" y="103317"/>
              <a:ext cx="73861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Риски</a:t>
              </a:r>
              <a:b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</a:br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и гарантии</a:t>
              </a:r>
            </a:p>
          </p:txBody>
        </p:sp>
        <p:sp>
          <p:nvSpPr>
            <p:cNvPr id="135" name="Скругленный прямоугольник 134"/>
            <p:cNvSpPr/>
            <p:nvPr/>
          </p:nvSpPr>
          <p:spPr>
            <a:xfrm>
              <a:off x="10424241" y="103317"/>
              <a:ext cx="802559" cy="328976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Заключение</a:t>
              </a:r>
            </a:p>
          </p:txBody>
        </p:sp>
        <p:grpSp>
          <p:nvGrpSpPr>
            <p:cNvPr id="136" name="Группа 135"/>
            <p:cNvGrpSpPr/>
            <p:nvPr/>
          </p:nvGrpSpPr>
          <p:grpSpPr>
            <a:xfrm>
              <a:off x="879007" y="109521"/>
              <a:ext cx="9485380" cy="316568"/>
              <a:chOff x="879007" y="69805"/>
              <a:chExt cx="9485380" cy="396000"/>
            </a:xfrm>
          </p:grpSpPr>
          <p:cxnSp>
            <p:nvCxnSpPr>
              <p:cNvPr id="137" name="Прямая соединительная линия 136"/>
              <p:cNvCxnSpPr/>
              <p:nvPr/>
            </p:nvCxnSpPr>
            <p:spPr>
              <a:xfrm>
                <a:off x="87900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Прямая соединительная линия 137"/>
              <p:cNvCxnSpPr/>
              <p:nvPr/>
            </p:nvCxnSpPr>
            <p:spPr>
              <a:xfrm>
                <a:off x="1948682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Прямая соединительная линия 138"/>
              <p:cNvCxnSpPr/>
              <p:nvPr/>
            </p:nvCxnSpPr>
            <p:spPr>
              <a:xfrm>
                <a:off x="3971576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Прямая соединительная линия 139"/>
              <p:cNvCxnSpPr/>
              <p:nvPr/>
            </p:nvCxnSpPr>
            <p:spPr>
              <a:xfrm>
                <a:off x="5807540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Прямая соединительная линия 140"/>
              <p:cNvCxnSpPr/>
              <p:nvPr/>
            </p:nvCxnSpPr>
            <p:spPr>
              <a:xfrm>
                <a:off x="7217949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Прямая соединительная линия 141"/>
              <p:cNvCxnSpPr/>
              <p:nvPr/>
            </p:nvCxnSpPr>
            <p:spPr>
              <a:xfrm>
                <a:off x="851503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Прямая соединительная линия 142"/>
              <p:cNvCxnSpPr/>
              <p:nvPr/>
            </p:nvCxnSpPr>
            <p:spPr>
              <a:xfrm>
                <a:off x="950606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Прямая соединительная линия 143"/>
              <p:cNvCxnSpPr/>
              <p:nvPr/>
            </p:nvCxnSpPr>
            <p:spPr>
              <a:xfrm>
                <a:off x="1036438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" name="Прямоугольник 40"/>
          <p:cNvSpPr/>
          <p:nvPr/>
        </p:nvSpPr>
        <p:spPr>
          <a:xfrm>
            <a:off x="351657" y="707484"/>
            <a:ext cx="11505381" cy="10259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4000"/>
              </a:lnSpc>
            </a:pPr>
            <a:r>
              <a:rPr lang="ru-RU" sz="3200" b="1" dirty="0">
                <a:solidFill>
                  <a:srgbClr val="D8294C"/>
                </a:solidFill>
                <a:latin typeface="Montserrat" panose="00000500000000000000" pitchFamily="2" charset="-52"/>
              </a:rPr>
              <a:t>Календарный план </a:t>
            </a:r>
            <a:r>
              <a:rPr lang="ru-RU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реализации бизнес-проекта маникюрной студии «</a:t>
            </a:r>
            <a:r>
              <a:rPr lang="ru-RU" sz="3200" b="1" dirty="0" err="1">
                <a:solidFill>
                  <a:srgbClr val="404040"/>
                </a:solidFill>
                <a:latin typeface="Montserrat" panose="00000500000000000000" pitchFamily="2" charset="-52"/>
              </a:rPr>
              <a:t>Magic</a:t>
            </a:r>
            <a:r>
              <a:rPr lang="ru-RU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 </a:t>
            </a:r>
            <a:r>
              <a:rPr lang="ru-RU" sz="3200" b="1" dirty="0" err="1">
                <a:solidFill>
                  <a:srgbClr val="404040"/>
                </a:solidFill>
                <a:latin typeface="Montserrat" panose="00000500000000000000" pitchFamily="2" charset="-52"/>
              </a:rPr>
              <a:t>nails</a:t>
            </a:r>
            <a:r>
              <a:rPr lang="ru-RU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»</a:t>
            </a:r>
          </a:p>
        </p:txBody>
      </p:sp>
      <p:grpSp>
        <p:nvGrpSpPr>
          <p:cNvPr id="27" name="Группа 26"/>
          <p:cNvGrpSpPr/>
          <p:nvPr/>
        </p:nvGrpSpPr>
        <p:grpSpPr>
          <a:xfrm>
            <a:off x="328914" y="2366364"/>
            <a:ext cx="11900196" cy="1622258"/>
            <a:chOff x="328914" y="1963357"/>
            <a:chExt cx="11900196" cy="1622258"/>
          </a:xfrm>
        </p:grpSpPr>
        <p:cxnSp>
          <p:nvCxnSpPr>
            <p:cNvPr id="3" name="Прямая со стрелкой 2"/>
            <p:cNvCxnSpPr/>
            <p:nvPr/>
          </p:nvCxnSpPr>
          <p:spPr>
            <a:xfrm>
              <a:off x="334963" y="2569113"/>
              <a:ext cx="11504973" cy="0"/>
            </a:xfrm>
            <a:prstGeom prst="straightConnector1">
              <a:avLst/>
            </a:prstGeom>
            <a:ln w="25400">
              <a:solidFill>
                <a:srgbClr val="969696"/>
              </a:solidFill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Группа 10"/>
            <p:cNvGrpSpPr/>
            <p:nvPr/>
          </p:nvGrpSpPr>
          <p:grpSpPr>
            <a:xfrm>
              <a:off x="328914" y="1963357"/>
              <a:ext cx="1939887" cy="1622258"/>
              <a:chOff x="708891" y="2358424"/>
              <a:chExt cx="1939887" cy="1622258"/>
            </a:xfrm>
          </p:grpSpPr>
          <p:grpSp>
            <p:nvGrpSpPr>
              <p:cNvPr id="7" name="Группа 6"/>
              <p:cNvGrpSpPr/>
              <p:nvPr/>
            </p:nvGrpSpPr>
            <p:grpSpPr>
              <a:xfrm>
                <a:off x="708891" y="2879122"/>
                <a:ext cx="170116" cy="170116"/>
                <a:chOff x="2437548" y="3589084"/>
                <a:chExt cx="310732" cy="310732"/>
              </a:xfrm>
            </p:grpSpPr>
            <p:sp>
              <p:nvSpPr>
                <p:cNvPr id="269" name="Овал 268"/>
                <p:cNvSpPr/>
                <p:nvPr/>
              </p:nvSpPr>
              <p:spPr>
                <a:xfrm>
                  <a:off x="2437548" y="3589084"/>
                  <a:ext cx="310732" cy="310732"/>
                </a:xfrm>
                <a:prstGeom prst="ellipse">
                  <a:avLst/>
                </a:prstGeom>
                <a:solidFill>
                  <a:srgbClr val="EAC1C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6" name="Овал 5"/>
                <p:cNvSpPr/>
                <p:nvPr/>
              </p:nvSpPr>
              <p:spPr>
                <a:xfrm>
                  <a:off x="2486234" y="3637770"/>
                  <a:ext cx="213360" cy="213360"/>
                </a:xfrm>
                <a:prstGeom prst="ellipse">
                  <a:avLst/>
                </a:prstGeom>
                <a:solidFill>
                  <a:srgbClr val="D829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sp>
            <p:nvSpPr>
              <p:cNvPr id="270" name="Прямоугольник 269"/>
              <p:cNvSpPr/>
              <p:nvPr/>
            </p:nvSpPr>
            <p:spPr>
              <a:xfrm>
                <a:off x="708891" y="3134296"/>
                <a:ext cx="1939887" cy="84638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pPr>
                  <a:spcAft>
                    <a:spcPts val="300"/>
                  </a:spcAft>
                  <a:buClr>
                    <a:srgbClr val="404040"/>
                  </a:buClr>
                </a:pPr>
                <a:r>
                  <a:rPr lang="ru-RU" sz="1100" dirty="0">
                    <a:solidFill>
                      <a:srgbClr val="404040"/>
                    </a:solidFill>
                    <a:latin typeface="Montserrat Medium" panose="00000600000000000000" pitchFamily="2" charset="-52"/>
                  </a:rPr>
                  <a:t>Исследование рынка</a:t>
                </a:r>
                <a:br>
                  <a:rPr lang="en-US" sz="1100" dirty="0">
                    <a:solidFill>
                      <a:srgbClr val="404040"/>
                    </a:solidFill>
                    <a:latin typeface="Montserrat Medium" panose="00000600000000000000" pitchFamily="2" charset="-52"/>
                  </a:rPr>
                </a:br>
                <a:r>
                  <a:rPr lang="ru-RU" sz="1100" dirty="0">
                    <a:solidFill>
                      <a:srgbClr val="404040"/>
                    </a:solidFill>
                    <a:latin typeface="Montserrat Medium" panose="00000600000000000000" pitchFamily="2" charset="-52"/>
                  </a:rPr>
                  <a:t>и анализ конкурентов, определение ниши</a:t>
                </a:r>
                <a:br>
                  <a:rPr lang="en-US" sz="1100" dirty="0">
                    <a:solidFill>
                      <a:srgbClr val="404040"/>
                    </a:solidFill>
                    <a:latin typeface="Montserrat Medium" panose="00000600000000000000" pitchFamily="2" charset="-52"/>
                  </a:rPr>
                </a:br>
                <a:r>
                  <a:rPr lang="ru-RU" sz="1100" dirty="0">
                    <a:solidFill>
                      <a:srgbClr val="404040"/>
                    </a:solidFill>
                    <a:latin typeface="Montserrat Medium" panose="00000600000000000000" pitchFamily="2" charset="-52"/>
                  </a:rPr>
                  <a:t>и целевой аудитории, разработка бизнес-плана</a:t>
                </a:r>
              </a:p>
            </p:txBody>
          </p:sp>
          <p:sp>
            <p:nvSpPr>
              <p:cNvPr id="271" name="Прямоугольник 270"/>
              <p:cNvSpPr/>
              <p:nvPr/>
            </p:nvSpPr>
            <p:spPr>
              <a:xfrm>
                <a:off x="708891" y="2358424"/>
                <a:ext cx="1179934" cy="49244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r>
                  <a:rPr lang="ru-RU" sz="1600" b="1" dirty="0">
                    <a:solidFill>
                      <a:srgbClr val="D8294C"/>
                    </a:solidFill>
                    <a:latin typeface="Montserrat" panose="00000500000000000000" pitchFamily="2" charset="-52"/>
                  </a:rPr>
                  <a:t>Декабрь</a:t>
                </a:r>
                <a:br>
                  <a:rPr lang="en-US" sz="1600" b="1" dirty="0">
                    <a:solidFill>
                      <a:srgbClr val="D8294C"/>
                    </a:solidFill>
                    <a:latin typeface="Montserrat" panose="00000500000000000000" pitchFamily="2" charset="-52"/>
                  </a:rPr>
                </a:br>
                <a:r>
                  <a:rPr lang="ru-RU" sz="1600" b="1" dirty="0">
                    <a:solidFill>
                      <a:srgbClr val="D8294C"/>
                    </a:solidFill>
                    <a:latin typeface="Montserrat" panose="00000500000000000000" pitchFamily="2" charset="-52"/>
                  </a:rPr>
                  <a:t>2023 года</a:t>
                </a:r>
              </a:p>
            </p:txBody>
          </p:sp>
        </p:grpSp>
        <p:grpSp>
          <p:nvGrpSpPr>
            <p:cNvPr id="12" name="Группа 11"/>
            <p:cNvGrpSpPr/>
            <p:nvPr/>
          </p:nvGrpSpPr>
          <p:grpSpPr>
            <a:xfrm>
              <a:off x="3129121" y="1963358"/>
              <a:ext cx="2571479" cy="1622257"/>
              <a:chOff x="3117477" y="2358425"/>
              <a:chExt cx="2571479" cy="1622257"/>
            </a:xfrm>
          </p:grpSpPr>
          <p:grpSp>
            <p:nvGrpSpPr>
              <p:cNvPr id="281" name="Группа 280"/>
              <p:cNvGrpSpPr/>
              <p:nvPr/>
            </p:nvGrpSpPr>
            <p:grpSpPr>
              <a:xfrm>
                <a:off x="3117477" y="2879122"/>
                <a:ext cx="170116" cy="170116"/>
                <a:chOff x="2437548" y="3589084"/>
                <a:chExt cx="310732" cy="310732"/>
              </a:xfrm>
            </p:grpSpPr>
            <p:sp>
              <p:nvSpPr>
                <p:cNvPr id="284" name="Овал 283"/>
                <p:cNvSpPr/>
                <p:nvPr/>
              </p:nvSpPr>
              <p:spPr>
                <a:xfrm>
                  <a:off x="2437548" y="3589084"/>
                  <a:ext cx="310732" cy="310732"/>
                </a:xfrm>
                <a:prstGeom prst="ellipse">
                  <a:avLst/>
                </a:prstGeom>
                <a:solidFill>
                  <a:srgbClr val="EAC1C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85" name="Овал 284"/>
                <p:cNvSpPr/>
                <p:nvPr/>
              </p:nvSpPr>
              <p:spPr>
                <a:xfrm>
                  <a:off x="2486234" y="3637770"/>
                  <a:ext cx="213360" cy="213360"/>
                </a:xfrm>
                <a:prstGeom prst="ellipse">
                  <a:avLst/>
                </a:prstGeom>
                <a:solidFill>
                  <a:srgbClr val="D829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sp>
            <p:nvSpPr>
              <p:cNvPr id="282" name="Прямоугольник 281"/>
              <p:cNvSpPr/>
              <p:nvPr/>
            </p:nvSpPr>
            <p:spPr>
              <a:xfrm>
                <a:off x="3117477" y="3134296"/>
                <a:ext cx="2571479" cy="84638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pPr>
                  <a:spcAft>
                    <a:spcPts val="300"/>
                  </a:spcAft>
                  <a:buClr>
                    <a:srgbClr val="404040"/>
                  </a:buClr>
                </a:pPr>
                <a:r>
                  <a:rPr lang="ru-RU" sz="1100" dirty="0">
                    <a:solidFill>
                      <a:srgbClr val="404040"/>
                    </a:solidFill>
                    <a:latin typeface="Montserrat Medium" panose="00000600000000000000" pitchFamily="2" charset="-52"/>
                  </a:rPr>
                  <a:t>Регистрация юридического лица, выбор логотипа и разработка фирменного стиля, создание</a:t>
                </a:r>
                <a:br>
                  <a:rPr lang="ru-RU" sz="1100" dirty="0">
                    <a:solidFill>
                      <a:srgbClr val="404040"/>
                    </a:solidFill>
                    <a:latin typeface="Montserrat Medium" panose="00000600000000000000" pitchFamily="2" charset="-52"/>
                  </a:rPr>
                </a:br>
                <a:r>
                  <a:rPr lang="ru-RU" sz="1100" dirty="0">
                    <a:solidFill>
                      <a:srgbClr val="404040"/>
                    </a:solidFill>
                    <a:latin typeface="Montserrat Medium" panose="00000600000000000000" pitchFamily="2" charset="-52"/>
                  </a:rPr>
                  <a:t>веб-сайта и присутствия</a:t>
                </a:r>
                <a:br>
                  <a:rPr lang="ru-RU" sz="1100" dirty="0">
                    <a:solidFill>
                      <a:srgbClr val="404040"/>
                    </a:solidFill>
                    <a:latin typeface="Montserrat Medium" panose="00000600000000000000" pitchFamily="2" charset="-52"/>
                  </a:rPr>
                </a:br>
                <a:r>
                  <a:rPr lang="ru-RU" sz="1100" dirty="0">
                    <a:solidFill>
                      <a:srgbClr val="404040"/>
                    </a:solidFill>
                    <a:latin typeface="Montserrat Medium" panose="00000600000000000000" pitchFamily="2" charset="-52"/>
                  </a:rPr>
                  <a:t>в социальных сетях</a:t>
                </a:r>
              </a:p>
            </p:txBody>
          </p:sp>
          <p:sp>
            <p:nvSpPr>
              <p:cNvPr id="283" name="Прямоугольник 282"/>
              <p:cNvSpPr/>
              <p:nvPr/>
            </p:nvSpPr>
            <p:spPr>
              <a:xfrm>
                <a:off x="3117477" y="2358425"/>
                <a:ext cx="1269083" cy="49244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r>
                  <a:rPr lang="ru-RU" sz="1600" b="1" dirty="0">
                    <a:solidFill>
                      <a:srgbClr val="D8294C"/>
                    </a:solidFill>
                    <a:latin typeface="Montserrat" panose="00000500000000000000" pitchFamily="2" charset="-52"/>
                  </a:rPr>
                  <a:t>Январь</a:t>
                </a:r>
                <a:br>
                  <a:rPr lang="en-US" sz="1600" b="1" dirty="0">
                    <a:solidFill>
                      <a:srgbClr val="D8294C"/>
                    </a:solidFill>
                    <a:latin typeface="Montserrat" panose="00000500000000000000" pitchFamily="2" charset="-52"/>
                  </a:rPr>
                </a:br>
                <a:r>
                  <a:rPr lang="ru-RU" sz="1600" b="1" dirty="0">
                    <a:solidFill>
                      <a:srgbClr val="D8294C"/>
                    </a:solidFill>
                    <a:latin typeface="Montserrat" panose="00000500000000000000" pitchFamily="2" charset="-52"/>
                  </a:rPr>
                  <a:t>2024 года</a:t>
                </a:r>
              </a:p>
            </p:txBody>
          </p:sp>
        </p:grpSp>
        <p:grpSp>
          <p:nvGrpSpPr>
            <p:cNvPr id="13" name="Группа 12"/>
            <p:cNvGrpSpPr/>
            <p:nvPr/>
          </p:nvGrpSpPr>
          <p:grpSpPr>
            <a:xfrm>
              <a:off x="6869663" y="1963358"/>
              <a:ext cx="2163665" cy="1622257"/>
              <a:chOff x="6511559" y="2358425"/>
              <a:chExt cx="2163665" cy="1622257"/>
            </a:xfrm>
          </p:grpSpPr>
          <p:grpSp>
            <p:nvGrpSpPr>
              <p:cNvPr id="286" name="Группа 285"/>
              <p:cNvGrpSpPr/>
              <p:nvPr/>
            </p:nvGrpSpPr>
            <p:grpSpPr>
              <a:xfrm>
                <a:off x="6511559" y="2879122"/>
                <a:ext cx="170116" cy="170116"/>
                <a:chOff x="2437548" y="3589084"/>
                <a:chExt cx="310732" cy="310732"/>
              </a:xfrm>
            </p:grpSpPr>
            <p:sp>
              <p:nvSpPr>
                <p:cNvPr id="287" name="Овал 286"/>
                <p:cNvSpPr/>
                <p:nvPr/>
              </p:nvSpPr>
              <p:spPr>
                <a:xfrm>
                  <a:off x="2437548" y="3589084"/>
                  <a:ext cx="310732" cy="310732"/>
                </a:xfrm>
                <a:prstGeom prst="ellipse">
                  <a:avLst/>
                </a:prstGeom>
                <a:solidFill>
                  <a:srgbClr val="EAC1C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88" name="Овал 287"/>
                <p:cNvSpPr/>
                <p:nvPr/>
              </p:nvSpPr>
              <p:spPr>
                <a:xfrm>
                  <a:off x="2486234" y="3637770"/>
                  <a:ext cx="213360" cy="213360"/>
                </a:xfrm>
                <a:prstGeom prst="ellipse">
                  <a:avLst/>
                </a:prstGeom>
                <a:solidFill>
                  <a:srgbClr val="D829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sp>
            <p:nvSpPr>
              <p:cNvPr id="289" name="Прямоугольник 288"/>
              <p:cNvSpPr/>
              <p:nvPr/>
            </p:nvSpPr>
            <p:spPr>
              <a:xfrm>
                <a:off x="6511559" y="3134296"/>
                <a:ext cx="2163665" cy="84638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pPr>
                  <a:spcAft>
                    <a:spcPts val="300"/>
                  </a:spcAft>
                  <a:buClr>
                    <a:srgbClr val="404040"/>
                  </a:buClr>
                </a:pPr>
                <a:r>
                  <a:rPr lang="ru-RU" sz="1100" dirty="0">
                    <a:solidFill>
                      <a:srgbClr val="404040"/>
                    </a:solidFill>
                    <a:latin typeface="Montserrat Medium" panose="00000600000000000000" pitchFamily="2" charset="-52"/>
                  </a:rPr>
                  <a:t>Поиск и </a:t>
                </a:r>
                <a:r>
                  <a:rPr lang="ru-RU" sz="1100" dirty="0" err="1">
                    <a:solidFill>
                      <a:srgbClr val="404040"/>
                    </a:solidFill>
                    <a:latin typeface="Montserrat Medium" panose="00000600000000000000" pitchFamily="2" charset="-52"/>
                  </a:rPr>
                  <a:t>найм</a:t>
                </a:r>
                <a:r>
                  <a:rPr lang="ru-RU" sz="1100" dirty="0">
                    <a:solidFill>
                      <a:srgbClr val="404040"/>
                    </a:solidFill>
                    <a:latin typeface="Montserrat Medium" panose="00000600000000000000" pitchFamily="2" charset="-52"/>
                  </a:rPr>
                  <a:t> команды, разработка и оптимизация продукта или услуги, проведение тестов</a:t>
                </a:r>
                <a:br>
                  <a:rPr lang="ru-RU" sz="1100" dirty="0">
                    <a:solidFill>
                      <a:srgbClr val="404040"/>
                    </a:solidFill>
                    <a:latin typeface="Montserrat Medium" panose="00000600000000000000" pitchFamily="2" charset="-52"/>
                  </a:rPr>
                </a:br>
                <a:r>
                  <a:rPr lang="ru-RU" sz="1100" dirty="0">
                    <a:solidFill>
                      <a:srgbClr val="404040"/>
                    </a:solidFill>
                    <a:latin typeface="Montserrat Medium" panose="00000600000000000000" pitchFamily="2" charset="-52"/>
                  </a:rPr>
                  <a:t>и модернизация</a:t>
                </a:r>
              </a:p>
            </p:txBody>
          </p:sp>
          <p:sp>
            <p:nvSpPr>
              <p:cNvPr id="290" name="Прямоугольник 289"/>
              <p:cNvSpPr/>
              <p:nvPr/>
            </p:nvSpPr>
            <p:spPr>
              <a:xfrm>
                <a:off x="6511559" y="2358425"/>
                <a:ext cx="2160538" cy="49244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r>
                  <a:rPr lang="ru-RU" sz="1600" b="1" dirty="0">
                    <a:solidFill>
                      <a:srgbClr val="D8294C"/>
                    </a:solidFill>
                    <a:latin typeface="Montserrat" panose="00000500000000000000" pitchFamily="2" charset="-52"/>
                  </a:rPr>
                  <a:t>Январь-февраль 2024 года</a:t>
                </a:r>
              </a:p>
            </p:txBody>
          </p:sp>
        </p:grpSp>
        <p:grpSp>
          <p:nvGrpSpPr>
            <p:cNvPr id="14" name="Группа 13"/>
            <p:cNvGrpSpPr/>
            <p:nvPr/>
          </p:nvGrpSpPr>
          <p:grpSpPr>
            <a:xfrm>
              <a:off x="10068572" y="1963357"/>
              <a:ext cx="2160538" cy="1114426"/>
              <a:chOff x="9282554" y="2358424"/>
              <a:chExt cx="2160538" cy="1114426"/>
            </a:xfrm>
          </p:grpSpPr>
          <p:grpSp>
            <p:nvGrpSpPr>
              <p:cNvPr id="291" name="Группа 290"/>
              <p:cNvGrpSpPr/>
              <p:nvPr/>
            </p:nvGrpSpPr>
            <p:grpSpPr>
              <a:xfrm>
                <a:off x="9282554" y="2879122"/>
                <a:ext cx="170116" cy="170116"/>
                <a:chOff x="2437548" y="3589084"/>
                <a:chExt cx="310732" cy="310732"/>
              </a:xfrm>
            </p:grpSpPr>
            <p:sp>
              <p:nvSpPr>
                <p:cNvPr id="292" name="Овал 291"/>
                <p:cNvSpPr/>
                <p:nvPr/>
              </p:nvSpPr>
              <p:spPr>
                <a:xfrm>
                  <a:off x="2437548" y="3589084"/>
                  <a:ext cx="310732" cy="310732"/>
                </a:xfrm>
                <a:prstGeom prst="ellipse">
                  <a:avLst/>
                </a:prstGeom>
                <a:solidFill>
                  <a:srgbClr val="EAC1C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93" name="Овал 292"/>
                <p:cNvSpPr/>
                <p:nvPr/>
              </p:nvSpPr>
              <p:spPr>
                <a:xfrm>
                  <a:off x="2486234" y="3637770"/>
                  <a:ext cx="213360" cy="213360"/>
                </a:xfrm>
                <a:prstGeom prst="ellipse">
                  <a:avLst/>
                </a:prstGeom>
                <a:solidFill>
                  <a:srgbClr val="D829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sp>
            <p:nvSpPr>
              <p:cNvPr id="294" name="Прямоугольник 293"/>
              <p:cNvSpPr/>
              <p:nvPr/>
            </p:nvSpPr>
            <p:spPr>
              <a:xfrm>
                <a:off x="9282554" y="3134296"/>
                <a:ext cx="1852292" cy="33855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pPr>
                  <a:spcAft>
                    <a:spcPts val="300"/>
                  </a:spcAft>
                  <a:buClr>
                    <a:srgbClr val="404040"/>
                  </a:buClr>
                </a:pPr>
                <a:r>
                  <a:rPr lang="ru-RU" sz="1100" dirty="0">
                    <a:solidFill>
                      <a:srgbClr val="404040"/>
                    </a:solidFill>
                    <a:latin typeface="Montserrat Medium" panose="00000600000000000000" pitchFamily="2" charset="-52"/>
                  </a:rPr>
                  <a:t>Покупка оборудования, расходных материалов</a:t>
                </a:r>
              </a:p>
            </p:txBody>
          </p:sp>
          <p:sp>
            <p:nvSpPr>
              <p:cNvPr id="295" name="Прямоугольник 294"/>
              <p:cNvSpPr/>
              <p:nvPr/>
            </p:nvSpPr>
            <p:spPr>
              <a:xfrm>
                <a:off x="9282554" y="2358424"/>
                <a:ext cx="2160538" cy="49244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r>
                  <a:rPr lang="ru-RU" sz="1600" b="1" dirty="0">
                    <a:solidFill>
                      <a:srgbClr val="D8294C"/>
                    </a:solidFill>
                    <a:latin typeface="Montserrat" panose="00000500000000000000" pitchFamily="2" charset="-52"/>
                  </a:rPr>
                  <a:t>Февраль</a:t>
                </a:r>
                <a:br>
                  <a:rPr lang="ru-RU" sz="1600" b="1" dirty="0">
                    <a:solidFill>
                      <a:srgbClr val="D8294C"/>
                    </a:solidFill>
                    <a:latin typeface="Montserrat" panose="00000500000000000000" pitchFamily="2" charset="-52"/>
                  </a:rPr>
                </a:br>
                <a:r>
                  <a:rPr lang="ru-RU" sz="1600" b="1" dirty="0">
                    <a:solidFill>
                      <a:srgbClr val="D8294C"/>
                    </a:solidFill>
                    <a:latin typeface="Montserrat" panose="00000500000000000000" pitchFamily="2" charset="-52"/>
                  </a:rPr>
                  <a:t>2024 года</a:t>
                </a:r>
              </a:p>
            </p:txBody>
          </p:sp>
        </p:grpSp>
      </p:grpSp>
      <p:grpSp>
        <p:nvGrpSpPr>
          <p:cNvPr id="26" name="Группа 25"/>
          <p:cNvGrpSpPr/>
          <p:nvPr/>
        </p:nvGrpSpPr>
        <p:grpSpPr>
          <a:xfrm>
            <a:off x="334963" y="4621580"/>
            <a:ext cx="11504973" cy="1791535"/>
            <a:chOff x="334963" y="4053606"/>
            <a:chExt cx="11504973" cy="1791535"/>
          </a:xfrm>
        </p:grpSpPr>
        <p:cxnSp>
          <p:nvCxnSpPr>
            <p:cNvPr id="296" name="Прямая со стрелкой 295"/>
            <p:cNvCxnSpPr/>
            <p:nvPr/>
          </p:nvCxnSpPr>
          <p:spPr>
            <a:xfrm>
              <a:off x="334963" y="4659362"/>
              <a:ext cx="11504973" cy="0"/>
            </a:xfrm>
            <a:prstGeom prst="straightConnector1">
              <a:avLst/>
            </a:prstGeom>
            <a:ln w="25400">
              <a:solidFill>
                <a:srgbClr val="969696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" name="Группа 14"/>
            <p:cNvGrpSpPr/>
            <p:nvPr/>
          </p:nvGrpSpPr>
          <p:grpSpPr>
            <a:xfrm>
              <a:off x="1600108" y="4053606"/>
              <a:ext cx="2197706" cy="1791535"/>
              <a:chOff x="981316" y="4053606"/>
              <a:chExt cx="2197706" cy="1791535"/>
            </a:xfrm>
          </p:grpSpPr>
          <p:grpSp>
            <p:nvGrpSpPr>
              <p:cNvPr id="298" name="Группа 297"/>
              <p:cNvGrpSpPr/>
              <p:nvPr/>
            </p:nvGrpSpPr>
            <p:grpSpPr>
              <a:xfrm>
                <a:off x="981316" y="4574304"/>
                <a:ext cx="170116" cy="170116"/>
                <a:chOff x="2437548" y="3589084"/>
                <a:chExt cx="310732" cy="310732"/>
              </a:xfrm>
            </p:grpSpPr>
            <p:sp>
              <p:nvSpPr>
                <p:cNvPr id="301" name="Овал 300"/>
                <p:cNvSpPr/>
                <p:nvPr/>
              </p:nvSpPr>
              <p:spPr>
                <a:xfrm>
                  <a:off x="2437548" y="3589084"/>
                  <a:ext cx="310732" cy="310732"/>
                </a:xfrm>
                <a:prstGeom prst="ellipse">
                  <a:avLst/>
                </a:prstGeom>
                <a:solidFill>
                  <a:srgbClr val="EAC1C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302" name="Овал 301"/>
                <p:cNvSpPr/>
                <p:nvPr/>
              </p:nvSpPr>
              <p:spPr>
                <a:xfrm>
                  <a:off x="2486234" y="3637770"/>
                  <a:ext cx="213360" cy="213360"/>
                </a:xfrm>
                <a:prstGeom prst="ellipse">
                  <a:avLst/>
                </a:prstGeom>
                <a:solidFill>
                  <a:srgbClr val="D829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sp>
            <p:nvSpPr>
              <p:cNvPr id="299" name="Прямоугольник 298"/>
              <p:cNvSpPr/>
              <p:nvPr/>
            </p:nvSpPr>
            <p:spPr>
              <a:xfrm>
                <a:off x="981316" y="4829478"/>
                <a:ext cx="2197706" cy="101566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pPr>
                  <a:spcAft>
                    <a:spcPts val="300"/>
                  </a:spcAft>
                  <a:buClr>
                    <a:srgbClr val="404040"/>
                  </a:buClr>
                </a:pPr>
                <a:r>
                  <a:rPr lang="ru-RU" sz="1100" dirty="0">
                    <a:solidFill>
                      <a:srgbClr val="404040"/>
                    </a:solidFill>
                    <a:latin typeface="Montserrat Medium" panose="00000600000000000000" pitchFamily="2" charset="-52"/>
                  </a:rPr>
                  <a:t>Проведение маркетинговой кампании для привлечения первых клиентов, установление партнерских отношений, получение обратной связи от рынка</a:t>
                </a:r>
              </a:p>
            </p:txBody>
          </p:sp>
          <p:sp>
            <p:nvSpPr>
              <p:cNvPr id="300" name="Прямоугольник 299"/>
              <p:cNvSpPr/>
              <p:nvPr/>
            </p:nvSpPr>
            <p:spPr>
              <a:xfrm>
                <a:off x="981316" y="4053606"/>
                <a:ext cx="1179934" cy="49244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r>
                  <a:rPr lang="ru-RU" sz="1600" b="1" dirty="0">
                    <a:solidFill>
                      <a:srgbClr val="D8294C"/>
                    </a:solidFill>
                    <a:latin typeface="Montserrat" panose="00000500000000000000" pitchFamily="2" charset="-52"/>
                  </a:rPr>
                  <a:t>Март-май </a:t>
                </a:r>
              </a:p>
              <a:p>
                <a:r>
                  <a:rPr lang="ru-RU" sz="1600" b="1" dirty="0">
                    <a:solidFill>
                      <a:srgbClr val="D8294C"/>
                    </a:solidFill>
                    <a:latin typeface="Montserrat" panose="00000500000000000000" pitchFamily="2" charset="-52"/>
                  </a:rPr>
                  <a:t>2024 года</a:t>
                </a:r>
              </a:p>
            </p:txBody>
          </p:sp>
        </p:grpSp>
        <p:grpSp>
          <p:nvGrpSpPr>
            <p:cNvPr id="24" name="Группа 23"/>
            <p:cNvGrpSpPr/>
            <p:nvPr/>
          </p:nvGrpSpPr>
          <p:grpSpPr>
            <a:xfrm>
              <a:off x="5031907" y="4053607"/>
              <a:ext cx="2506449" cy="1622257"/>
              <a:chOff x="3477791" y="4053607"/>
              <a:chExt cx="2506449" cy="1622257"/>
            </a:xfrm>
          </p:grpSpPr>
          <p:grpSp>
            <p:nvGrpSpPr>
              <p:cNvPr id="304" name="Группа 303"/>
              <p:cNvGrpSpPr/>
              <p:nvPr/>
            </p:nvGrpSpPr>
            <p:grpSpPr>
              <a:xfrm>
                <a:off x="3477791" y="4574304"/>
                <a:ext cx="170116" cy="170116"/>
                <a:chOff x="2437548" y="3589084"/>
                <a:chExt cx="310732" cy="310732"/>
              </a:xfrm>
            </p:grpSpPr>
            <p:sp>
              <p:nvSpPr>
                <p:cNvPr id="307" name="Овал 306"/>
                <p:cNvSpPr/>
                <p:nvPr/>
              </p:nvSpPr>
              <p:spPr>
                <a:xfrm>
                  <a:off x="2437548" y="3589084"/>
                  <a:ext cx="310732" cy="310732"/>
                </a:xfrm>
                <a:prstGeom prst="ellipse">
                  <a:avLst/>
                </a:prstGeom>
                <a:solidFill>
                  <a:srgbClr val="EAC1C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308" name="Овал 307"/>
                <p:cNvSpPr/>
                <p:nvPr/>
              </p:nvSpPr>
              <p:spPr>
                <a:xfrm>
                  <a:off x="2486234" y="3637770"/>
                  <a:ext cx="213360" cy="213360"/>
                </a:xfrm>
                <a:prstGeom prst="ellipse">
                  <a:avLst/>
                </a:prstGeom>
                <a:solidFill>
                  <a:srgbClr val="D829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sp>
            <p:nvSpPr>
              <p:cNvPr id="305" name="Прямоугольник 304"/>
              <p:cNvSpPr/>
              <p:nvPr/>
            </p:nvSpPr>
            <p:spPr>
              <a:xfrm>
                <a:off x="3477791" y="4829478"/>
                <a:ext cx="2506449" cy="84638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pPr>
                  <a:spcAft>
                    <a:spcPts val="300"/>
                  </a:spcAft>
                  <a:buClr>
                    <a:srgbClr val="404040"/>
                  </a:buClr>
                </a:pPr>
                <a:r>
                  <a:rPr lang="ru-RU" sz="1100" dirty="0">
                    <a:solidFill>
                      <a:srgbClr val="404040"/>
                    </a:solidFill>
                    <a:latin typeface="Montserrat Medium" panose="00000600000000000000" pitchFamily="2" charset="-52"/>
                  </a:rPr>
                  <a:t>Развитие и масштабирование бизнеса, запуск дополнительных продуктов или услуг, исследование новых рынков</a:t>
                </a:r>
                <a:br>
                  <a:rPr lang="ru-RU" sz="1100" dirty="0">
                    <a:solidFill>
                      <a:srgbClr val="404040"/>
                    </a:solidFill>
                    <a:latin typeface="Montserrat Medium" panose="00000600000000000000" pitchFamily="2" charset="-52"/>
                  </a:rPr>
                </a:br>
                <a:r>
                  <a:rPr lang="ru-RU" sz="1100" dirty="0">
                    <a:solidFill>
                      <a:srgbClr val="404040"/>
                    </a:solidFill>
                    <a:latin typeface="Montserrat Medium" panose="00000600000000000000" pitchFamily="2" charset="-52"/>
                  </a:rPr>
                  <a:t>и возможностей</a:t>
                </a:r>
              </a:p>
            </p:txBody>
          </p:sp>
          <p:sp>
            <p:nvSpPr>
              <p:cNvPr id="306" name="Прямоугольник 305"/>
              <p:cNvSpPr/>
              <p:nvPr/>
            </p:nvSpPr>
            <p:spPr>
              <a:xfrm>
                <a:off x="3477791" y="4053607"/>
                <a:ext cx="1269083" cy="49244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r>
                  <a:rPr lang="ru-RU" sz="1600" b="1" dirty="0">
                    <a:solidFill>
                      <a:srgbClr val="D8294C"/>
                    </a:solidFill>
                    <a:latin typeface="Montserrat" panose="00000500000000000000" pitchFamily="2" charset="-52"/>
                  </a:rPr>
                  <a:t>Июль</a:t>
                </a:r>
                <a:br>
                  <a:rPr lang="en-US" sz="1600" b="1" dirty="0">
                    <a:solidFill>
                      <a:srgbClr val="D8294C"/>
                    </a:solidFill>
                    <a:latin typeface="Montserrat" panose="00000500000000000000" pitchFamily="2" charset="-52"/>
                  </a:rPr>
                </a:br>
                <a:r>
                  <a:rPr lang="ru-RU" sz="1600" b="1" dirty="0">
                    <a:solidFill>
                      <a:srgbClr val="D8294C"/>
                    </a:solidFill>
                    <a:latin typeface="Montserrat" panose="00000500000000000000" pitchFamily="2" charset="-52"/>
                  </a:rPr>
                  <a:t>2024 года</a:t>
                </a:r>
              </a:p>
            </p:txBody>
          </p:sp>
        </p:grpSp>
        <p:grpSp>
          <p:nvGrpSpPr>
            <p:cNvPr id="25" name="Группа 24"/>
            <p:cNvGrpSpPr/>
            <p:nvPr/>
          </p:nvGrpSpPr>
          <p:grpSpPr>
            <a:xfrm>
              <a:off x="8364635" y="4053607"/>
              <a:ext cx="2372632" cy="1622257"/>
              <a:chOff x="6878283" y="4053607"/>
              <a:chExt cx="2372632" cy="1622257"/>
            </a:xfrm>
          </p:grpSpPr>
          <p:grpSp>
            <p:nvGrpSpPr>
              <p:cNvPr id="310" name="Группа 309"/>
              <p:cNvGrpSpPr/>
              <p:nvPr/>
            </p:nvGrpSpPr>
            <p:grpSpPr>
              <a:xfrm>
                <a:off x="6878283" y="4574304"/>
                <a:ext cx="170116" cy="170116"/>
                <a:chOff x="2437548" y="3589084"/>
                <a:chExt cx="310732" cy="310732"/>
              </a:xfrm>
            </p:grpSpPr>
            <p:sp>
              <p:nvSpPr>
                <p:cNvPr id="315" name="Овал 314"/>
                <p:cNvSpPr/>
                <p:nvPr/>
              </p:nvSpPr>
              <p:spPr>
                <a:xfrm>
                  <a:off x="2437548" y="3589084"/>
                  <a:ext cx="310732" cy="310732"/>
                </a:xfrm>
                <a:prstGeom prst="ellipse">
                  <a:avLst/>
                </a:prstGeom>
                <a:solidFill>
                  <a:srgbClr val="EAC1C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316" name="Овал 315"/>
                <p:cNvSpPr/>
                <p:nvPr/>
              </p:nvSpPr>
              <p:spPr>
                <a:xfrm>
                  <a:off x="2486234" y="3637770"/>
                  <a:ext cx="213360" cy="213360"/>
                </a:xfrm>
                <a:prstGeom prst="ellipse">
                  <a:avLst/>
                </a:prstGeom>
                <a:solidFill>
                  <a:srgbClr val="D829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sp>
            <p:nvSpPr>
              <p:cNvPr id="313" name="Прямоугольник 312"/>
              <p:cNvSpPr/>
              <p:nvPr/>
            </p:nvSpPr>
            <p:spPr>
              <a:xfrm>
                <a:off x="6878283" y="4829478"/>
                <a:ext cx="2372632" cy="84638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pPr>
                  <a:spcAft>
                    <a:spcPts val="300"/>
                  </a:spcAft>
                  <a:buClr>
                    <a:srgbClr val="404040"/>
                  </a:buClr>
                </a:pPr>
                <a:r>
                  <a:rPr lang="ru-RU" sz="1100" dirty="0">
                    <a:solidFill>
                      <a:srgbClr val="404040"/>
                    </a:solidFill>
                    <a:latin typeface="Montserrat Medium" panose="00000600000000000000" pitchFamily="2" charset="-52"/>
                  </a:rPr>
                  <a:t>Укрепление позиции на рынке, увеличение числа клиентов</a:t>
                </a:r>
                <a:br>
                  <a:rPr lang="ru-RU" sz="1100" dirty="0">
                    <a:solidFill>
                      <a:srgbClr val="404040"/>
                    </a:solidFill>
                    <a:latin typeface="Montserrat Medium" panose="00000600000000000000" pitchFamily="2" charset="-52"/>
                  </a:rPr>
                </a:br>
                <a:r>
                  <a:rPr lang="ru-RU" sz="1100" dirty="0">
                    <a:solidFill>
                      <a:srgbClr val="404040"/>
                    </a:solidFill>
                    <a:latin typeface="Montserrat Medium" panose="00000600000000000000" pitchFamily="2" charset="-52"/>
                  </a:rPr>
                  <a:t>и объемов продаж, развитие бренда и укрепление имиджа компании</a:t>
                </a:r>
              </a:p>
            </p:txBody>
          </p:sp>
          <p:sp>
            <p:nvSpPr>
              <p:cNvPr id="314" name="Прямоугольник 313"/>
              <p:cNvSpPr/>
              <p:nvPr/>
            </p:nvSpPr>
            <p:spPr>
              <a:xfrm>
                <a:off x="6878283" y="4053607"/>
                <a:ext cx="2160538" cy="49244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r>
                  <a:rPr lang="ru-RU" sz="1600" b="1" dirty="0">
                    <a:solidFill>
                      <a:srgbClr val="D8294C"/>
                    </a:solidFill>
                    <a:latin typeface="Montserrat" panose="00000500000000000000" pitchFamily="2" charset="-52"/>
                  </a:rPr>
                  <a:t>Март</a:t>
                </a:r>
                <a:br>
                  <a:rPr lang="ru-RU" sz="1600" b="1" dirty="0">
                    <a:solidFill>
                      <a:srgbClr val="D8294C"/>
                    </a:solidFill>
                    <a:latin typeface="Montserrat" panose="00000500000000000000" pitchFamily="2" charset="-52"/>
                  </a:rPr>
                </a:br>
                <a:r>
                  <a:rPr lang="ru-RU" sz="1600" b="1" dirty="0">
                    <a:solidFill>
                      <a:srgbClr val="D8294C"/>
                    </a:solidFill>
                    <a:latin typeface="Montserrat" panose="00000500000000000000" pitchFamily="2" charset="-52"/>
                  </a:rPr>
                  <a:t>2024 года</a:t>
                </a:r>
              </a:p>
            </p:txBody>
          </p:sp>
        </p:grpSp>
      </p:grpSp>
      <p:pic>
        <p:nvPicPr>
          <p:cNvPr id="1579" name="Picture 8">
            <a:extLst>
              <a:ext uri="{FF2B5EF4-FFF2-40B4-BE49-F238E27FC236}">
                <a16:creationId xmlns:a16="http://schemas.microsoft.com/office/drawing/2014/main" id="{41D148F9-25F7-4F76-926D-AAEC887D05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 l="10521" t="15962" r="77292" b="69215"/>
          <a:stretch>
            <a:fillRect/>
          </a:stretch>
        </p:blipFill>
        <p:spPr bwMode="auto">
          <a:xfrm>
            <a:off x="11353734" y="1"/>
            <a:ext cx="838266" cy="8675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3114570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4633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5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/>
          <p:cNvSpPr/>
          <p:nvPr/>
        </p:nvSpPr>
        <p:spPr>
          <a:xfrm>
            <a:off x="140208" y="6598515"/>
            <a:ext cx="316998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ru-RU" sz="1200" b="1" i="1" dirty="0">
                <a:solidFill>
                  <a:srgbClr val="4950D0"/>
                </a:solidFill>
                <a:latin typeface="Montserrat" panose="00000500000000000000" pitchFamily="2" charset="-52"/>
              </a:rPr>
              <a:t>10</a:t>
            </a:r>
            <a:r>
              <a:rPr lang="en-US" sz="1200" dirty="0">
                <a:solidFill>
                  <a:srgbClr val="4950D0"/>
                </a:solidFill>
                <a:latin typeface="Montserrat" panose="00000500000000000000" pitchFamily="2" charset="-52"/>
              </a:rPr>
              <a:t>/</a:t>
            </a:r>
            <a:r>
              <a:rPr lang="en-US" sz="800" dirty="0">
                <a:solidFill>
                  <a:srgbClr val="4950D0"/>
                </a:solidFill>
                <a:latin typeface="Montserrat" panose="00000500000000000000" pitchFamily="2" charset="-52"/>
              </a:rPr>
              <a:t>13</a:t>
            </a:r>
            <a:endParaRPr lang="ru-RU" sz="800" dirty="0">
              <a:solidFill>
                <a:srgbClr val="4950D0"/>
              </a:solidFill>
              <a:latin typeface="Montserrat" panose="00000500000000000000" pitchFamily="2" charset="-52"/>
            </a:endParaRPr>
          </a:p>
        </p:txBody>
      </p:sp>
      <p:grpSp>
        <p:nvGrpSpPr>
          <p:cNvPr id="125" name="Группа 124"/>
          <p:cNvGrpSpPr/>
          <p:nvPr/>
        </p:nvGrpSpPr>
        <p:grpSpPr>
          <a:xfrm>
            <a:off x="70414" y="56746"/>
            <a:ext cx="11642161" cy="422119"/>
            <a:chOff x="70414" y="56746"/>
            <a:chExt cx="11642161" cy="422119"/>
          </a:xfrm>
        </p:grpSpPr>
        <p:sp>
          <p:nvSpPr>
            <p:cNvPr id="126" name="Скругленный прямоугольник 125"/>
            <p:cNvSpPr/>
            <p:nvPr/>
          </p:nvSpPr>
          <p:spPr>
            <a:xfrm>
              <a:off x="70414" y="56746"/>
              <a:ext cx="11642161" cy="422119"/>
            </a:xfrm>
            <a:prstGeom prst="roundRect">
              <a:avLst>
                <a:gd name="adj" fmla="val 17873"/>
              </a:avLst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7" name="Скругленный прямоугольник 126"/>
            <p:cNvSpPr/>
            <p:nvPr/>
          </p:nvSpPr>
          <p:spPr>
            <a:xfrm>
              <a:off x="108899" y="103316"/>
              <a:ext cx="710251" cy="328978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Введение</a:t>
              </a:r>
            </a:p>
          </p:txBody>
        </p:sp>
        <p:sp>
          <p:nvSpPr>
            <p:cNvPr id="128" name="Скругленный прямоугольник 127"/>
            <p:cNvSpPr/>
            <p:nvPr/>
          </p:nvSpPr>
          <p:spPr>
            <a:xfrm>
              <a:off x="938864" y="103317"/>
              <a:ext cx="949961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Методология разработки</a:t>
              </a:r>
            </a:p>
          </p:txBody>
        </p:sp>
        <p:sp>
          <p:nvSpPr>
            <p:cNvPr id="129" name="Скругленный прямоугольник 128"/>
            <p:cNvSpPr/>
            <p:nvPr/>
          </p:nvSpPr>
          <p:spPr>
            <a:xfrm>
              <a:off x="2008539" y="103317"/>
              <a:ext cx="190318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Бизнес-модель и бизнес-план </a:t>
              </a:r>
              <a:r>
                <a:rPr lang="ru-RU" sz="800" dirty="0" err="1">
                  <a:solidFill>
                    <a:schemeClr val="bg1"/>
                  </a:solidFill>
                  <a:latin typeface="Montserrat Light" panose="00000400000000000000" pitchFamily="2" charset="-52"/>
                </a:rPr>
                <a:t>стартап</a:t>
              </a:r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-проекта</a:t>
              </a:r>
            </a:p>
          </p:txBody>
        </p:sp>
        <p:sp>
          <p:nvSpPr>
            <p:cNvPr id="130" name="Скругленный прямоугольник 129"/>
            <p:cNvSpPr/>
            <p:nvPr/>
          </p:nvSpPr>
          <p:spPr>
            <a:xfrm>
              <a:off x="4031433" y="103317"/>
              <a:ext cx="171625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Маркетинговый анализ, стратегия и сбыт продукта</a:t>
              </a:r>
            </a:p>
          </p:txBody>
        </p:sp>
        <p:sp>
          <p:nvSpPr>
            <p:cNvPr id="131" name="Скругленный прямоугольник 130"/>
            <p:cNvSpPr/>
            <p:nvPr/>
          </p:nvSpPr>
          <p:spPr>
            <a:xfrm>
              <a:off x="5867397" y="103317"/>
              <a:ext cx="1290695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Производственный план</a:t>
              </a:r>
            </a:p>
          </p:txBody>
        </p:sp>
        <p:sp>
          <p:nvSpPr>
            <p:cNvPr id="132" name="Скругленный прямоугольник 131"/>
            <p:cNvSpPr/>
            <p:nvPr/>
          </p:nvSpPr>
          <p:spPr>
            <a:xfrm>
              <a:off x="7277806" y="103317"/>
              <a:ext cx="1177370" cy="328976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Организационный план</a:t>
              </a:r>
            </a:p>
          </p:txBody>
        </p:sp>
        <p:sp>
          <p:nvSpPr>
            <p:cNvPr id="133" name="Скругленный прямоугольник 132"/>
            <p:cNvSpPr/>
            <p:nvPr/>
          </p:nvSpPr>
          <p:spPr>
            <a:xfrm>
              <a:off x="8574890" y="103317"/>
              <a:ext cx="871316" cy="328977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tx1"/>
                  </a:solidFill>
                  <a:latin typeface="Montserrat ExtraBold" panose="00000900000000000000" pitchFamily="2" charset="-52"/>
                </a:rPr>
                <a:t>Финансовый план</a:t>
              </a:r>
            </a:p>
          </p:txBody>
        </p:sp>
        <p:sp>
          <p:nvSpPr>
            <p:cNvPr id="134" name="Скругленный прямоугольник 133"/>
            <p:cNvSpPr/>
            <p:nvPr/>
          </p:nvSpPr>
          <p:spPr>
            <a:xfrm>
              <a:off x="9565920" y="103317"/>
              <a:ext cx="73861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Риски</a:t>
              </a:r>
              <a:b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</a:br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и гарантии</a:t>
              </a:r>
            </a:p>
          </p:txBody>
        </p:sp>
        <p:sp>
          <p:nvSpPr>
            <p:cNvPr id="135" name="Скругленный прямоугольник 134"/>
            <p:cNvSpPr/>
            <p:nvPr/>
          </p:nvSpPr>
          <p:spPr>
            <a:xfrm>
              <a:off x="10424241" y="103317"/>
              <a:ext cx="802559" cy="328976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Заключение</a:t>
              </a:r>
            </a:p>
          </p:txBody>
        </p:sp>
        <p:grpSp>
          <p:nvGrpSpPr>
            <p:cNvPr id="136" name="Группа 135"/>
            <p:cNvGrpSpPr/>
            <p:nvPr/>
          </p:nvGrpSpPr>
          <p:grpSpPr>
            <a:xfrm>
              <a:off x="879007" y="109521"/>
              <a:ext cx="9485380" cy="316568"/>
              <a:chOff x="879007" y="69805"/>
              <a:chExt cx="9485380" cy="396000"/>
            </a:xfrm>
          </p:grpSpPr>
          <p:cxnSp>
            <p:nvCxnSpPr>
              <p:cNvPr id="137" name="Прямая соединительная линия 136"/>
              <p:cNvCxnSpPr/>
              <p:nvPr/>
            </p:nvCxnSpPr>
            <p:spPr>
              <a:xfrm>
                <a:off x="87900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Прямая соединительная линия 137"/>
              <p:cNvCxnSpPr/>
              <p:nvPr/>
            </p:nvCxnSpPr>
            <p:spPr>
              <a:xfrm>
                <a:off x="1948682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Прямая соединительная линия 138"/>
              <p:cNvCxnSpPr/>
              <p:nvPr/>
            </p:nvCxnSpPr>
            <p:spPr>
              <a:xfrm>
                <a:off x="3971576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Прямая соединительная линия 139"/>
              <p:cNvCxnSpPr/>
              <p:nvPr/>
            </p:nvCxnSpPr>
            <p:spPr>
              <a:xfrm>
                <a:off x="5807540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Прямая соединительная линия 140"/>
              <p:cNvCxnSpPr/>
              <p:nvPr/>
            </p:nvCxnSpPr>
            <p:spPr>
              <a:xfrm>
                <a:off x="7217949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Прямая соединительная линия 141"/>
              <p:cNvCxnSpPr/>
              <p:nvPr/>
            </p:nvCxnSpPr>
            <p:spPr>
              <a:xfrm>
                <a:off x="851503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Прямая соединительная линия 142"/>
              <p:cNvCxnSpPr/>
              <p:nvPr/>
            </p:nvCxnSpPr>
            <p:spPr>
              <a:xfrm>
                <a:off x="950606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Прямая соединительная линия 143"/>
              <p:cNvCxnSpPr/>
              <p:nvPr/>
            </p:nvCxnSpPr>
            <p:spPr>
              <a:xfrm>
                <a:off x="1036438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" name="Прямоугольник 40"/>
          <p:cNvSpPr/>
          <p:nvPr/>
        </p:nvSpPr>
        <p:spPr>
          <a:xfrm>
            <a:off x="351657" y="707484"/>
            <a:ext cx="11505381" cy="10259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4000"/>
              </a:lnSpc>
            </a:pPr>
            <a:r>
              <a:rPr lang="ru-RU" sz="3200" b="1" dirty="0">
                <a:solidFill>
                  <a:srgbClr val="D8294C"/>
                </a:solidFill>
                <a:latin typeface="Montserrat" panose="00000500000000000000" pitchFamily="2" charset="-52"/>
              </a:rPr>
              <a:t>Чистая прибыль — 1 716 487 руб., </a:t>
            </a:r>
            <a:r>
              <a:rPr lang="ru-RU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а сам проект является прибыльным и окупиться через два года</a:t>
            </a:r>
          </a:p>
        </p:txBody>
      </p:sp>
      <p:sp>
        <p:nvSpPr>
          <p:cNvPr id="146" name="Скругленный прямоугольник 145"/>
          <p:cNvSpPr/>
          <p:nvPr/>
        </p:nvSpPr>
        <p:spPr>
          <a:xfrm>
            <a:off x="330711" y="1802491"/>
            <a:ext cx="4395345" cy="4722133"/>
          </a:xfrm>
          <a:prstGeom prst="roundRect">
            <a:avLst>
              <a:gd name="adj" fmla="val 276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47" name="Группа 146"/>
          <p:cNvGrpSpPr/>
          <p:nvPr/>
        </p:nvGrpSpPr>
        <p:grpSpPr>
          <a:xfrm>
            <a:off x="428887" y="1868715"/>
            <a:ext cx="4212000" cy="204624"/>
            <a:chOff x="516917" y="2114434"/>
            <a:chExt cx="5384313" cy="204624"/>
          </a:xfrm>
        </p:grpSpPr>
        <p:sp>
          <p:nvSpPr>
            <p:cNvPr id="148" name="Прямоугольник 147"/>
            <p:cNvSpPr/>
            <p:nvPr/>
          </p:nvSpPr>
          <p:spPr>
            <a:xfrm>
              <a:off x="516917" y="2114434"/>
              <a:ext cx="3411963" cy="1692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ru-RU" sz="1100" dirty="0">
                  <a:solidFill>
                    <a:srgbClr val="777777"/>
                  </a:solidFill>
                  <a:latin typeface="Montserrat Medium" panose="00000600000000000000" pitchFamily="2" charset="-52"/>
                </a:rPr>
                <a:t>Основные финансовые показатели</a:t>
              </a:r>
            </a:p>
          </p:txBody>
        </p:sp>
        <p:cxnSp>
          <p:nvCxnSpPr>
            <p:cNvPr id="149" name="Прямая соединительная линия 148"/>
            <p:cNvCxnSpPr/>
            <p:nvPr/>
          </p:nvCxnSpPr>
          <p:spPr>
            <a:xfrm>
              <a:off x="516917" y="2319058"/>
              <a:ext cx="5384313" cy="0"/>
            </a:xfrm>
            <a:prstGeom prst="line">
              <a:avLst/>
            </a:prstGeom>
            <a:ln w="12700" cap="rnd">
              <a:solidFill>
                <a:srgbClr val="969696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Группа 1"/>
          <p:cNvGrpSpPr/>
          <p:nvPr/>
        </p:nvGrpSpPr>
        <p:grpSpPr>
          <a:xfrm>
            <a:off x="428887" y="2216175"/>
            <a:ext cx="4228730" cy="666613"/>
            <a:chOff x="428887" y="2216175"/>
            <a:chExt cx="4228730" cy="666613"/>
          </a:xfrm>
        </p:grpSpPr>
        <p:grpSp>
          <p:nvGrpSpPr>
            <p:cNvPr id="150" name="Группа 149"/>
            <p:cNvGrpSpPr/>
            <p:nvPr/>
          </p:nvGrpSpPr>
          <p:grpSpPr>
            <a:xfrm>
              <a:off x="428887" y="2216175"/>
              <a:ext cx="1317356" cy="666613"/>
              <a:chOff x="430668" y="2576860"/>
              <a:chExt cx="1317356" cy="666613"/>
            </a:xfrm>
          </p:grpSpPr>
          <p:grpSp>
            <p:nvGrpSpPr>
              <p:cNvPr id="151" name="Группа 150"/>
              <p:cNvGrpSpPr/>
              <p:nvPr/>
            </p:nvGrpSpPr>
            <p:grpSpPr>
              <a:xfrm>
                <a:off x="516918" y="2576860"/>
                <a:ext cx="1231106" cy="666613"/>
                <a:chOff x="516918" y="2576860"/>
                <a:chExt cx="1231106" cy="666613"/>
              </a:xfrm>
            </p:grpSpPr>
            <p:sp>
              <p:nvSpPr>
                <p:cNvPr id="153" name="Прямоугольник 152"/>
                <p:cNvSpPr/>
                <p:nvPr/>
              </p:nvSpPr>
              <p:spPr>
                <a:xfrm>
                  <a:off x="516919" y="2874141"/>
                  <a:ext cx="1010519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>
                  <a:spAutoFit/>
                </a:bodyPr>
                <a:lstStyle/>
                <a:p>
                  <a:r>
                    <a:rPr lang="ru-RU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  <a:t>Размер инвестиций </a:t>
                  </a:r>
                </a:p>
              </p:txBody>
            </p:sp>
            <p:sp>
              <p:nvSpPr>
                <p:cNvPr id="154" name="Прямоугольник 153"/>
                <p:cNvSpPr/>
                <p:nvPr/>
              </p:nvSpPr>
              <p:spPr>
                <a:xfrm>
                  <a:off x="516918" y="2576860"/>
                  <a:ext cx="1231106" cy="27699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ctr">
                  <a:spAutoFit/>
                </a:bodyPr>
                <a:lstStyle/>
                <a:p>
                  <a:r>
                    <a:rPr lang="ru-RU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520 </a:t>
                  </a:r>
                  <a:r>
                    <a:rPr lang="ru-RU" sz="1200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тыс. руб.</a:t>
                  </a:r>
                </a:p>
              </p:txBody>
            </p:sp>
          </p:grpSp>
          <p:cxnSp>
            <p:nvCxnSpPr>
              <p:cNvPr id="152" name="Прямая соединительная линия 151"/>
              <p:cNvCxnSpPr/>
              <p:nvPr/>
            </p:nvCxnSpPr>
            <p:spPr>
              <a:xfrm rot="5400000">
                <a:off x="138270" y="2916412"/>
                <a:ext cx="584795" cy="0"/>
              </a:xfrm>
              <a:prstGeom prst="line">
                <a:avLst/>
              </a:prstGeom>
              <a:ln w="38100" cap="rnd">
                <a:solidFill>
                  <a:srgbClr val="4950D0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9" name="Группа 178"/>
            <p:cNvGrpSpPr/>
            <p:nvPr/>
          </p:nvGrpSpPr>
          <p:grpSpPr>
            <a:xfrm>
              <a:off x="2698233" y="2216175"/>
              <a:ext cx="1959384" cy="666613"/>
              <a:chOff x="430668" y="2576860"/>
              <a:chExt cx="1959384" cy="666613"/>
            </a:xfrm>
          </p:grpSpPr>
          <p:grpSp>
            <p:nvGrpSpPr>
              <p:cNvPr id="180" name="Группа 179"/>
              <p:cNvGrpSpPr/>
              <p:nvPr/>
            </p:nvGrpSpPr>
            <p:grpSpPr>
              <a:xfrm>
                <a:off x="516918" y="2576860"/>
                <a:ext cx="1873134" cy="666613"/>
                <a:chOff x="516918" y="2576860"/>
                <a:chExt cx="1873134" cy="666613"/>
              </a:xfrm>
            </p:grpSpPr>
            <p:sp>
              <p:nvSpPr>
                <p:cNvPr id="182" name="Прямоугольник 181"/>
                <p:cNvSpPr/>
                <p:nvPr/>
              </p:nvSpPr>
              <p:spPr>
                <a:xfrm>
                  <a:off x="516919" y="2874141"/>
                  <a:ext cx="1873133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>
                  <a:spAutoFit/>
                </a:bodyPr>
                <a:lstStyle/>
                <a:p>
                  <a:r>
                    <a:rPr lang="ru-RU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  <a:t>Ежемесячные затраты за первый квартал </a:t>
                  </a:r>
                </a:p>
              </p:txBody>
            </p:sp>
            <p:sp>
              <p:nvSpPr>
                <p:cNvPr id="183" name="Прямоугольник 182"/>
                <p:cNvSpPr/>
                <p:nvPr/>
              </p:nvSpPr>
              <p:spPr>
                <a:xfrm>
                  <a:off x="516918" y="2576860"/>
                  <a:ext cx="1287212" cy="27699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ctr">
                  <a:spAutoFit/>
                </a:bodyPr>
                <a:lstStyle/>
                <a:p>
                  <a:r>
                    <a:rPr lang="ru-RU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820 315 </a:t>
                  </a:r>
                  <a:r>
                    <a:rPr lang="ru-RU" sz="1200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руб.</a:t>
                  </a:r>
                </a:p>
              </p:txBody>
            </p:sp>
          </p:grpSp>
          <p:cxnSp>
            <p:nvCxnSpPr>
              <p:cNvPr id="181" name="Прямая соединительная линия 180"/>
              <p:cNvCxnSpPr/>
              <p:nvPr/>
            </p:nvCxnSpPr>
            <p:spPr>
              <a:xfrm rot="5400000">
                <a:off x="138270" y="2916412"/>
                <a:ext cx="584795" cy="0"/>
              </a:xfrm>
              <a:prstGeom prst="line">
                <a:avLst/>
              </a:prstGeom>
              <a:ln w="38100" cap="rnd">
                <a:solidFill>
                  <a:srgbClr val="4950D0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" name="Группа 4"/>
          <p:cNvGrpSpPr/>
          <p:nvPr/>
        </p:nvGrpSpPr>
        <p:grpSpPr>
          <a:xfrm>
            <a:off x="428887" y="3378306"/>
            <a:ext cx="4228730" cy="666613"/>
            <a:chOff x="428887" y="3423339"/>
            <a:chExt cx="4228730" cy="666613"/>
          </a:xfrm>
        </p:grpSpPr>
        <p:grpSp>
          <p:nvGrpSpPr>
            <p:cNvPr id="184" name="Группа 183"/>
            <p:cNvGrpSpPr/>
            <p:nvPr/>
          </p:nvGrpSpPr>
          <p:grpSpPr>
            <a:xfrm>
              <a:off x="428887" y="3423339"/>
              <a:ext cx="1923862" cy="666613"/>
              <a:chOff x="430668" y="2576860"/>
              <a:chExt cx="1923862" cy="666613"/>
            </a:xfrm>
          </p:grpSpPr>
          <p:grpSp>
            <p:nvGrpSpPr>
              <p:cNvPr id="185" name="Группа 184"/>
              <p:cNvGrpSpPr/>
              <p:nvPr/>
            </p:nvGrpSpPr>
            <p:grpSpPr>
              <a:xfrm>
                <a:off x="516918" y="2576860"/>
                <a:ext cx="1837612" cy="666613"/>
                <a:chOff x="516918" y="2576860"/>
                <a:chExt cx="1837612" cy="666613"/>
              </a:xfrm>
            </p:grpSpPr>
            <p:sp>
              <p:nvSpPr>
                <p:cNvPr id="187" name="Прямоугольник 186"/>
                <p:cNvSpPr/>
                <p:nvPr/>
              </p:nvSpPr>
              <p:spPr>
                <a:xfrm>
                  <a:off x="516919" y="2874141"/>
                  <a:ext cx="1837611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>
                  <a:spAutoFit/>
                </a:bodyPr>
                <a:lstStyle/>
                <a:p>
                  <a:r>
                    <a:rPr lang="ru-RU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  <a:t>Средний</a:t>
                  </a:r>
                  <a:br>
                    <a:rPr lang="ru-RU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</a:br>
                  <a:r>
                    <a:rPr lang="ru-RU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  <a:t>ежемесячная прибыль</a:t>
                  </a:r>
                </a:p>
              </p:txBody>
            </p:sp>
            <p:sp>
              <p:nvSpPr>
                <p:cNvPr id="188" name="Прямоугольник 187"/>
                <p:cNvSpPr/>
                <p:nvPr/>
              </p:nvSpPr>
              <p:spPr>
                <a:xfrm>
                  <a:off x="516918" y="2576860"/>
                  <a:ext cx="1141338" cy="27699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ctr">
                  <a:spAutoFit/>
                </a:bodyPr>
                <a:lstStyle/>
                <a:p>
                  <a:r>
                    <a:rPr lang="ru-RU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71 520 </a:t>
                  </a:r>
                  <a:r>
                    <a:rPr lang="ru-RU" sz="1200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руб.</a:t>
                  </a:r>
                </a:p>
              </p:txBody>
            </p:sp>
          </p:grpSp>
          <p:cxnSp>
            <p:nvCxnSpPr>
              <p:cNvPr id="186" name="Прямая соединительная линия 185"/>
              <p:cNvCxnSpPr/>
              <p:nvPr/>
            </p:nvCxnSpPr>
            <p:spPr>
              <a:xfrm rot="5400000">
                <a:off x="138270" y="2916412"/>
                <a:ext cx="584795" cy="0"/>
              </a:xfrm>
              <a:prstGeom prst="line">
                <a:avLst/>
              </a:prstGeom>
              <a:ln w="38100" cap="rnd">
                <a:solidFill>
                  <a:srgbClr val="4950D0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9" name="Группа 188"/>
            <p:cNvGrpSpPr/>
            <p:nvPr/>
          </p:nvGrpSpPr>
          <p:grpSpPr>
            <a:xfrm>
              <a:off x="2698233" y="3423339"/>
              <a:ext cx="1959384" cy="666613"/>
              <a:chOff x="430668" y="2576860"/>
              <a:chExt cx="1959384" cy="666613"/>
            </a:xfrm>
          </p:grpSpPr>
          <p:grpSp>
            <p:nvGrpSpPr>
              <p:cNvPr id="190" name="Группа 189"/>
              <p:cNvGrpSpPr/>
              <p:nvPr/>
            </p:nvGrpSpPr>
            <p:grpSpPr>
              <a:xfrm>
                <a:off x="516918" y="2576860"/>
                <a:ext cx="1873134" cy="666613"/>
                <a:chOff x="516918" y="2576860"/>
                <a:chExt cx="1873134" cy="666613"/>
              </a:xfrm>
            </p:grpSpPr>
            <p:sp>
              <p:nvSpPr>
                <p:cNvPr id="192" name="Прямоугольник 191"/>
                <p:cNvSpPr/>
                <p:nvPr/>
              </p:nvSpPr>
              <p:spPr>
                <a:xfrm>
                  <a:off x="516919" y="2874141"/>
                  <a:ext cx="1873133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>
                  <a:spAutoFit/>
                </a:bodyPr>
                <a:lstStyle/>
                <a:p>
                  <a:r>
                    <a:rPr lang="ru-RU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  <a:t>Ежедневная</a:t>
                  </a:r>
                  <a:br>
                    <a:rPr lang="ru-RU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</a:br>
                  <a:r>
                    <a:rPr lang="ru-RU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  <a:t>загрузка</a:t>
                  </a:r>
                </a:p>
              </p:txBody>
            </p:sp>
            <p:sp>
              <p:nvSpPr>
                <p:cNvPr id="193" name="Прямоугольник 192"/>
                <p:cNvSpPr/>
                <p:nvPr/>
              </p:nvSpPr>
              <p:spPr>
                <a:xfrm>
                  <a:off x="516918" y="2576860"/>
                  <a:ext cx="1351332" cy="27699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ctr">
                  <a:spAutoFit/>
                </a:bodyPr>
                <a:lstStyle/>
                <a:p>
                  <a:r>
                    <a:rPr lang="ru-RU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450 </a:t>
                  </a:r>
                  <a:r>
                    <a:rPr lang="ru-RU" sz="1200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процедур</a:t>
                  </a:r>
                </a:p>
              </p:txBody>
            </p:sp>
          </p:grpSp>
          <p:cxnSp>
            <p:nvCxnSpPr>
              <p:cNvPr id="191" name="Прямая соединительная линия 190"/>
              <p:cNvCxnSpPr/>
              <p:nvPr/>
            </p:nvCxnSpPr>
            <p:spPr>
              <a:xfrm rot="5400000">
                <a:off x="138270" y="2916412"/>
                <a:ext cx="584795" cy="0"/>
              </a:xfrm>
              <a:prstGeom prst="line">
                <a:avLst/>
              </a:prstGeom>
              <a:ln w="38100" cap="rnd">
                <a:solidFill>
                  <a:srgbClr val="4950D0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" name="Группа 7"/>
          <p:cNvGrpSpPr/>
          <p:nvPr/>
        </p:nvGrpSpPr>
        <p:grpSpPr>
          <a:xfrm>
            <a:off x="428887" y="4540437"/>
            <a:ext cx="4228730" cy="666613"/>
            <a:chOff x="428887" y="4499785"/>
            <a:chExt cx="4228730" cy="666613"/>
          </a:xfrm>
        </p:grpSpPr>
        <p:grpSp>
          <p:nvGrpSpPr>
            <p:cNvPr id="194" name="Группа 193"/>
            <p:cNvGrpSpPr/>
            <p:nvPr/>
          </p:nvGrpSpPr>
          <p:grpSpPr>
            <a:xfrm>
              <a:off x="428887" y="4499785"/>
              <a:ext cx="1923862" cy="666613"/>
              <a:chOff x="430668" y="2576860"/>
              <a:chExt cx="1923862" cy="666613"/>
            </a:xfrm>
          </p:grpSpPr>
          <p:grpSp>
            <p:nvGrpSpPr>
              <p:cNvPr id="195" name="Группа 194"/>
              <p:cNvGrpSpPr/>
              <p:nvPr/>
            </p:nvGrpSpPr>
            <p:grpSpPr>
              <a:xfrm>
                <a:off x="516918" y="2576860"/>
                <a:ext cx="1837612" cy="666613"/>
                <a:chOff x="516918" y="2576860"/>
                <a:chExt cx="1837612" cy="666613"/>
              </a:xfrm>
            </p:grpSpPr>
            <p:sp>
              <p:nvSpPr>
                <p:cNvPr id="197" name="Прямоугольник 196"/>
                <p:cNvSpPr/>
                <p:nvPr/>
              </p:nvSpPr>
              <p:spPr>
                <a:xfrm>
                  <a:off x="516919" y="2874141"/>
                  <a:ext cx="1837611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>
                  <a:spAutoFit/>
                </a:bodyPr>
                <a:lstStyle/>
                <a:p>
                  <a:r>
                    <a:rPr lang="ru-RU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  <a:t>Выручка</a:t>
                  </a:r>
                  <a:br>
                    <a:rPr lang="ru-RU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</a:br>
                  <a:r>
                    <a:rPr lang="ru-RU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  <a:t>за </a:t>
                  </a:r>
                  <a:r>
                    <a:rPr lang="en-US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  <a:t>1-</a:t>
                  </a:r>
                  <a:r>
                    <a:rPr lang="ru-RU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  <a:t>й квартал</a:t>
                  </a:r>
                </a:p>
              </p:txBody>
            </p:sp>
            <p:sp>
              <p:nvSpPr>
                <p:cNvPr id="198" name="Прямоугольник 197"/>
                <p:cNvSpPr/>
                <p:nvPr/>
              </p:nvSpPr>
              <p:spPr>
                <a:xfrm>
                  <a:off x="516918" y="2576860"/>
                  <a:ext cx="1378583" cy="27699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ctr">
                  <a:spAutoFit/>
                </a:bodyPr>
                <a:lstStyle/>
                <a:p>
                  <a:r>
                    <a:rPr lang="ru-RU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785 480 </a:t>
                  </a:r>
                  <a:r>
                    <a:rPr lang="ru-RU" sz="1200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руб.</a:t>
                  </a:r>
                </a:p>
              </p:txBody>
            </p:sp>
          </p:grpSp>
          <p:cxnSp>
            <p:nvCxnSpPr>
              <p:cNvPr id="196" name="Прямая соединительная линия 195"/>
              <p:cNvCxnSpPr/>
              <p:nvPr/>
            </p:nvCxnSpPr>
            <p:spPr>
              <a:xfrm rot="5400000">
                <a:off x="138270" y="2916412"/>
                <a:ext cx="584795" cy="0"/>
              </a:xfrm>
              <a:prstGeom prst="line">
                <a:avLst/>
              </a:prstGeom>
              <a:ln w="38100" cap="rnd">
                <a:solidFill>
                  <a:srgbClr val="4950D0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9" name="Группа 198"/>
            <p:cNvGrpSpPr/>
            <p:nvPr/>
          </p:nvGrpSpPr>
          <p:grpSpPr>
            <a:xfrm>
              <a:off x="2698233" y="4499785"/>
              <a:ext cx="1959384" cy="666613"/>
              <a:chOff x="430668" y="2576860"/>
              <a:chExt cx="1959384" cy="666613"/>
            </a:xfrm>
          </p:grpSpPr>
          <p:grpSp>
            <p:nvGrpSpPr>
              <p:cNvPr id="200" name="Группа 199"/>
              <p:cNvGrpSpPr/>
              <p:nvPr/>
            </p:nvGrpSpPr>
            <p:grpSpPr>
              <a:xfrm>
                <a:off x="516918" y="2576860"/>
                <a:ext cx="1873134" cy="666613"/>
                <a:chOff x="516918" y="2576860"/>
                <a:chExt cx="1873134" cy="666613"/>
              </a:xfrm>
            </p:grpSpPr>
            <p:sp>
              <p:nvSpPr>
                <p:cNvPr id="202" name="Прямоугольник 201"/>
                <p:cNvSpPr/>
                <p:nvPr/>
              </p:nvSpPr>
              <p:spPr>
                <a:xfrm>
                  <a:off x="516919" y="2874141"/>
                  <a:ext cx="1873133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>
                  <a:spAutoFit/>
                </a:bodyPr>
                <a:lstStyle/>
                <a:p>
                  <a:r>
                    <a:rPr lang="ru-RU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  <a:t>Общая выручка</a:t>
                  </a:r>
                  <a:br>
                    <a:rPr lang="ru-RU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</a:br>
                  <a:r>
                    <a:rPr lang="ru-RU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  <a:t>за 2 года</a:t>
                  </a:r>
                </a:p>
              </p:txBody>
            </p:sp>
            <p:sp>
              <p:nvSpPr>
                <p:cNvPr id="203" name="Прямоугольник 202"/>
                <p:cNvSpPr/>
                <p:nvPr/>
              </p:nvSpPr>
              <p:spPr>
                <a:xfrm>
                  <a:off x="516918" y="2576860"/>
                  <a:ext cx="1840247" cy="27699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ctr">
                  <a:spAutoFit/>
                </a:bodyPr>
                <a:lstStyle/>
                <a:p>
                  <a:r>
                    <a:rPr lang="ru-RU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9 </a:t>
                  </a:r>
                  <a:r>
                    <a:rPr lang="ru-RU" sz="1200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млн</a:t>
                  </a:r>
                  <a:r>
                    <a:rPr lang="ru-RU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 927 </a:t>
                  </a:r>
                  <a:r>
                    <a:rPr lang="ru-RU" sz="1200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тыс. руб.</a:t>
                  </a:r>
                </a:p>
              </p:txBody>
            </p:sp>
          </p:grpSp>
          <p:cxnSp>
            <p:nvCxnSpPr>
              <p:cNvPr id="201" name="Прямая соединительная линия 200"/>
              <p:cNvCxnSpPr/>
              <p:nvPr/>
            </p:nvCxnSpPr>
            <p:spPr>
              <a:xfrm rot="5400000">
                <a:off x="138270" y="2916412"/>
                <a:ext cx="584795" cy="0"/>
              </a:xfrm>
              <a:prstGeom prst="line">
                <a:avLst/>
              </a:prstGeom>
              <a:ln w="38100" cap="rnd">
                <a:solidFill>
                  <a:srgbClr val="4950D0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9" name="Группа 8"/>
          <p:cNvGrpSpPr/>
          <p:nvPr/>
        </p:nvGrpSpPr>
        <p:grpSpPr>
          <a:xfrm>
            <a:off x="428887" y="5702569"/>
            <a:ext cx="4228730" cy="666613"/>
            <a:chOff x="428887" y="5445595"/>
            <a:chExt cx="4228730" cy="666613"/>
          </a:xfrm>
        </p:grpSpPr>
        <p:grpSp>
          <p:nvGrpSpPr>
            <p:cNvPr id="204" name="Группа 203"/>
            <p:cNvGrpSpPr/>
            <p:nvPr/>
          </p:nvGrpSpPr>
          <p:grpSpPr>
            <a:xfrm>
              <a:off x="428887" y="5445595"/>
              <a:ext cx="1923862" cy="666613"/>
              <a:chOff x="430668" y="2576860"/>
              <a:chExt cx="1923862" cy="666613"/>
            </a:xfrm>
          </p:grpSpPr>
          <p:grpSp>
            <p:nvGrpSpPr>
              <p:cNvPr id="205" name="Группа 204"/>
              <p:cNvGrpSpPr/>
              <p:nvPr/>
            </p:nvGrpSpPr>
            <p:grpSpPr>
              <a:xfrm>
                <a:off x="516918" y="2576860"/>
                <a:ext cx="1837612" cy="666613"/>
                <a:chOff x="516918" y="2576860"/>
                <a:chExt cx="1837612" cy="666613"/>
              </a:xfrm>
            </p:grpSpPr>
            <p:sp>
              <p:nvSpPr>
                <p:cNvPr id="207" name="Прямоугольник 206"/>
                <p:cNvSpPr/>
                <p:nvPr/>
              </p:nvSpPr>
              <p:spPr>
                <a:xfrm>
                  <a:off x="516919" y="2874141"/>
                  <a:ext cx="1837611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>
                  <a:spAutoFit/>
                </a:bodyPr>
                <a:lstStyle/>
                <a:p>
                  <a:r>
                    <a:rPr lang="ru-RU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  <a:t>Расчётная точка безубыточности</a:t>
                  </a:r>
                </a:p>
              </p:txBody>
            </p:sp>
            <p:sp>
              <p:nvSpPr>
                <p:cNvPr id="208" name="Прямоугольник 207"/>
                <p:cNvSpPr/>
                <p:nvPr/>
              </p:nvSpPr>
              <p:spPr>
                <a:xfrm>
                  <a:off x="516918" y="2576860"/>
                  <a:ext cx="641201" cy="27699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ctr">
                  <a:spAutoFit/>
                </a:bodyPr>
                <a:lstStyle/>
                <a:p>
                  <a:r>
                    <a:rPr lang="ru-RU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4 </a:t>
                  </a:r>
                  <a:r>
                    <a:rPr lang="ru-RU" sz="1200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мес.</a:t>
                  </a:r>
                  <a:r>
                    <a:rPr lang="ru-RU" sz="1200" b="1" baseline="30000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1</a:t>
                  </a:r>
                </a:p>
              </p:txBody>
            </p:sp>
          </p:grpSp>
          <p:cxnSp>
            <p:nvCxnSpPr>
              <p:cNvPr id="206" name="Прямая соединительная линия 205"/>
              <p:cNvCxnSpPr/>
              <p:nvPr/>
            </p:nvCxnSpPr>
            <p:spPr>
              <a:xfrm rot="5400000">
                <a:off x="138270" y="2916412"/>
                <a:ext cx="584795" cy="0"/>
              </a:xfrm>
              <a:prstGeom prst="line">
                <a:avLst/>
              </a:prstGeom>
              <a:ln w="38100" cap="rnd">
                <a:solidFill>
                  <a:srgbClr val="4950D0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9" name="Группа 208"/>
            <p:cNvGrpSpPr/>
            <p:nvPr/>
          </p:nvGrpSpPr>
          <p:grpSpPr>
            <a:xfrm>
              <a:off x="2698233" y="5445595"/>
              <a:ext cx="1959384" cy="666613"/>
              <a:chOff x="430668" y="2576860"/>
              <a:chExt cx="1959384" cy="666613"/>
            </a:xfrm>
          </p:grpSpPr>
          <p:grpSp>
            <p:nvGrpSpPr>
              <p:cNvPr id="210" name="Группа 209"/>
              <p:cNvGrpSpPr/>
              <p:nvPr/>
            </p:nvGrpSpPr>
            <p:grpSpPr>
              <a:xfrm>
                <a:off x="516918" y="2576860"/>
                <a:ext cx="1873134" cy="666613"/>
                <a:chOff x="516918" y="2576860"/>
                <a:chExt cx="1873134" cy="666613"/>
              </a:xfrm>
            </p:grpSpPr>
            <p:sp>
              <p:nvSpPr>
                <p:cNvPr id="273" name="Прямоугольник 272"/>
                <p:cNvSpPr/>
                <p:nvPr/>
              </p:nvSpPr>
              <p:spPr>
                <a:xfrm>
                  <a:off x="516919" y="2874141"/>
                  <a:ext cx="1873133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>
                  <a:spAutoFit/>
                </a:bodyPr>
                <a:lstStyle/>
                <a:p>
                  <a:r>
                    <a:rPr lang="ru-RU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  <a:t>Срок окупаемости инвестиций </a:t>
                  </a:r>
                </a:p>
              </p:txBody>
            </p:sp>
            <p:sp>
              <p:nvSpPr>
                <p:cNvPr id="274" name="Прямоугольник 273"/>
                <p:cNvSpPr/>
                <p:nvPr/>
              </p:nvSpPr>
              <p:spPr>
                <a:xfrm>
                  <a:off x="516918" y="2576860"/>
                  <a:ext cx="668453" cy="27699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ctr">
                  <a:spAutoFit/>
                </a:bodyPr>
                <a:lstStyle/>
                <a:p>
                  <a:r>
                    <a:rPr lang="ru-RU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10 </a:t>
                  </a:r>
                  <a:r>
                    <a:rPr lang="ru-RU" sz="1200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мес.</a:t>
                  </a:r>
                </a:p>
              </p:txBody>
            </p:sp>
          </p:grpSp>
          <p:cxnSp>
            <p:nvCxnSpPr>
              <p:cNvPr id="272" name="Прямая соединительная линия 271"/>
              <p:cNvCxnSpPr/>
              <p:nvPr/>
            </p:nvCxnSpPr>
            <p:spPr>
              <a:xfrm rot="5400000">
                <a:off x="138270" y="2916412"/>
                <a:ext cx="584795" cy="0"/>
              </a:xfrm>
              <a:prstGeom prst="line">
                <a:avLst/>
              </a:prstGeom>
              <a:ln w="38100" cap="rnd">
                <a:solidFill>
                  <a:srgbClr val="4950D0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5" name="Прямоугольник 274"/>
          <p:cNvSpPr/>
          <p:nvPr/>
        </p:nvSpPr>
        <p:spPr>
          <a:xfrm>
            <a:off x="697897" y="6602440"/>
            <a:ext cx="5983319" cy="1947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800" dirty="0">
                <a:solidFill>
                  <a:srgbClr val="404040"/>
                </a:solidFill>
                <a:latin typeface="Montserrat Medium" panose="00000600000000000000" pitchFamily="2" charset="-52"/>
              </a:rPr>
              <a:t>1. Точка безубыточности = Постоянные издержки / (Цена за услугу — Переменные издержки за единицу)</a:t>
            </a:r>
          </a:p>
        </p:txBody>
      </p:sp>
      <p:grpSp>
        <p:nvGrpSpPr>
          <p:cNvPr id="30" name="Группа 29"/>
          <p:cNvGrpSpPr/>
          <p:nvPr/>
        </p:nvGrpSpPr>
        <p:grpSpPr>
          <a:xfrm>
            <a:off x="4824231" y="1802492"/>
            <a:ext cx="7039336" cy="2118496"/>
            <a:chOff x="4824231" y="1802492"/>
            <a:chExt cx="7039336" cy="2118496"/>
          </a:xfrm>
        </p:grpSpPr>
        <p:sp>
          <p:nvSpPr>
            <p:cNvPr id="276" name="Скругленный прямоугольник 275"/>
            <p:cNvSpPr/>
            <p:nvPr/>
          </p:nvSpPr>
          <p:spPr>
            <a:xfrm>
              <a:off x="4824231" y="1802492"/>
              <a:ext cx="7039336" cy="2118496"/>
            </a:xfrm>
            <a:prstGeom prst="roundRect">
              <a:avLst>
                <a:gd name="adj" fmla="val 534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277" name="Группа 276"/>
            <p:cNvGrpSpPr/>
            <p:nvPr/>
          </p:nvGrpSpPr>
          <p:grpSpPr>
            <a:xfrm>
              <a:off x="4922407" y="1868715"/>
              <a:ext cx="6844786" cy="204624"/>
              <a:chOff x="516917" y="2114434"/>
              <a:chExt cx="5228536" cy="204624"/>
            </a:xfrm>
          </p:grpSpPr>
          <p:sp>
            <p:nvSpPr>
              <p:cNvPr id="278" name="Прямоугольник 277"/>
              <p:cNvSpPr/>
              <p:nvPr/>
            </p:nvSpPr>
            <p:spPr>
              <a:xfrm>
                <a:off x="516917" y="2114434"/>
                <a:ext cx="5201759" cy="16927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r>
                  <a:rPr lang="ru-RU" sz="1100" dirty="0">
                    <a:solidFill>
                      <a:srgbClr val="777777"/>
                    </a:solidFill>
                    <a:latin typeface="Montserrat Medium" panose="00000600000000000000" pitchFamily="2" charset="-52"/>
                  </a:rPr>
                  <a:t>Планируемая структура спроса услуг</a:t>
                </a:r>
              </a:p>
            </p:txBody>
          </p:sp>
          <p:cxnSp>
            <p:nvCxnSpPr>
              <p:cNvPr id="279" name="Прямая соединительная линия 278"/>
              <p:cNvCxnSpPr/>
              <p:nvPr/>
            </p:nvCxnSpPr>
            <p:spPr>
              <a:xfrm>
                <a:off x="516917" y="2319058"/>
                <a:ext cx="5228536" cy="0"/>
              </a:xfrm>
              <a:prstGeom prst="line">
                <a:avLst/>
              </a:prstGeom>
              <a:ln w="12700" cap="rnd">
                <a:solidFill>
                  <a:srgbClr val="969696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" name="Скругленный прямоугольник 22"/>
            <p:cNvSpPr/>
            <p:nvPr/>
          </p:nvSpPr>
          <p:spPr>
            <a:xfrm>
              <a:off x="6681216" y="2198209"/>
              <a:ext cx="4912780" cy="309392"/>
            </a:xfrm>
            <a:prstGeom prst="roundRect">
              <a:avLst/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3" name="Скругленный прямоугольник 332"/>
            <p:cNvSpPr/>
            <p:nvPr/>
          </p:nvSpPr>
          <p:spPr>
            <a:xfrm>
              <a:off x="6681216" y="2614454"/>
              <a:ext cx="4125863" cy="309392"/>
            </a:xfrm>
            <a:prstGeom prst="roundRect">
              <a:avLst/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4" name="Скругленный прямоугольник 333"/>
            <p:cNvSpPr/>
            <p:nvPr/>
          </p:nvSpPr>
          <p:spPr>
            <a:xfrm>
              <a:off x="6681216" y="3030699"/>
              <a:ext cx="3340080" cy="309392"/>
            </a:xfrm>
            <a:prstGeom prst="roundRect">
              <a:avLst/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5" name="Скругленный прямоугольник 334"/>
            <p:cNvSpPr/>
            <p:nvPr/>
          </p:nvSpPr>
          <p:spPr>
            <a:xfrm>
              <a:off x="6681216" y="3446944"/>
              <a:ext cx="1679917" cy="309392"/>
            </a:xfrm>
            <a:prstGeom prst="roundRect">
              <a:avLst/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6" name="Прямоугольник 335"/>
            <p:cNvSpPr/>
            <p:nvPr/>
          </p:nvSpPr>
          <p:spPr>
            <a:xfrm>
              <a:off x="4922407" y="2245183"/>
              <a:ext cx="937757" cy="2154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1400" b="1" dirty="0">
                  <a:solidFill>
                    <a:srgbClr val="404040"/>
                  </a:solidFill>
                  <a:latin typeface="Montserrat" panose="00000500000000000000" pitchFamily="2" charset="-52"/>
                </a:rPr>
                <a:t>Маникюр</a:t>
              </a:r>
            </a:p>
          </p:txBody>
        </p:sp>
        <p:sp>
          <p:nvSpPr>
            <p:cNvPr id="337" name="Прямоугольник 336"/>
            <p:cNvSpPr/>
            <p:nvPr/>
          </p:nvSpPr>
          <p:spPr>
            <a:xfrm>
              <a:off x="4922407" y="2661428"/>
              <a:ext cx="1609415" cy="2154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1400" b="1" dirty="0">
                  <a:solidFill>
                    <a:srgbClr val="404040"/>
                  </a:solidFill>
                  <a:latin typeface="Montserrat" panose="00000500000000000000" pitchFamily="2" charset="-52"/>
                </a:rPr>
                <a:t>Уход за ногтями</a:t>
              </a:r>
            </a:p>
          </p:txBody>
        </p:sp>
        <p:sp>
          <p:nvSpPr>
            <p:cNvPr id="338" name="Прямоугольник 337"/>
            <p:cNvSpPr/>
            <p:nvPr/>
          </p:nvSpPr>
          <p:spPr>
            <a:xfrm>
              <a:off x="4922407" y="3077673"/>
              <a:ext cx="1554913" cy="2154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1400" b="1" dirty="0" err="1">
                  <a:solidFill>
                    <a:srgbClr val="404040"/>
                  </a:solidFill>
                  <a:latin typeface="Montserrat" panose="00000500000000000000" pitchFamily="2" charset="-52"/>
                </a:rPr>
                <a:t>Спа</a:t>
              </a:r>
              <a:r>
                <a:rPr lang="ru-RU" sz="1400" b="1" dirty="0">
                  <a:solidFill>
                    <a:srgbClr val="404040"/>
                  </a:solidFill>
                  <a:latin typeface="Montserrat" panose="00000500000000000000" pitchFamily="2" charset="-52"/>
                </a:rPr>
                <a:t>-процедуры</a:t>
              </a:r>
            </a:p>
          </p:txBody>
        </p:sp>
        <p:sp>
          <p:nvSpPr>
            <p:cNvPr id="339" name="Прямоугольник 338"/>
            <p:cNvSpPr/>
            <p:nvPr/>
          </p:nvSpPr>
          <p:spPr>
            <a:xfrm>
              <a:off x="4922407" y="3493918"/>
              <a:ext cx="918521" cy="2154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1400" b="1" dirty="0">
                  <a:solidFill>
                    <a:srgbClr val="404040"/>
                  </a:solidFill>
                  <a:latin typeface="Montserrat" panose="00000500000000000000" pitchFamily="2" charset="-52"/>
                </a:rPr>
                <a:t>Педикюр</a:t>
              </a:r>
            </a:p>
          </p:txBody>
        </p:sp>
        <p:sp>
          <p:nvSpPr>
            <p:cNvPr id="340" name="Прямоугольник 339"/>
            <p:cNvSpPr/>
            <p:nvPr/>
          </p:nvSpPr>
          <p:spPr>
            <a:xfrm>
              <a:off x="11065642" y="2245183"/>
              <a:ext cx="421590" cy="2154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14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  <a:t>35 %</a:t>
              </a:r>
            </a:p>
          </p:txBody>
        </p:sp>
        <p:sp>
          <p:nvSpPr>
            <p:cNvPr id="341" name="Прямоугольник 340"/>
            <p:cNvSpPr/>
            <p:nvPr/>
          </p:nvSpPr>
          <p:spPr>
            <a:xfrm>
              <a:off x="10275457" y="2661428"/>
              <a:ext cx="428002" cy="2154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14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  <a:t>29 %</a:t>
              </a:r>
            </a:p>
          </p:txBody>
        </p:sp>
        <p:sp>
          <p:nvSpPr>
            <p:cNvPr id="342" name="Прямоугольник 341"/>
            <p:cNvSpPr/>
            <p:nvPr/>
          </p:nvSpPr>
          <p:spPr>
            <a:xfrm>
              <a:off x="9497605" y="3077673"/>
              <a:ext cx="437620" cy="2154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14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  <a:t>24 %</a:t>
              </a:r>
            </a:p>
          </p:txBody>
        </p:sp>
        <p:sp>
          <p:nvSpPr>
            <p:cNvPr id="343" name="Прямоугольник 342"/>
            <p:cNvSpPr/>
            <p:nvPr/>
          </p:nvSpPr>
          <p:spPr>
            <a:xfrm>
              <a:off x="7901827" y="3493918"/>
              <a:ext cx="384721" cy="2154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14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  <a:t>12 %</a:t>
              </a:r>
            </a:p>
          </p:txBody>
        </p:sp>
      </p:grpSp>
      <p:sp>
        <p:nvSpPr>
          <p:cNvPr id="345" name="Скругленный прямоугольник 344"/>
          <p:cNvSpPr/>
          <p:nvPr/>
        </p:nvSpPr>
        <p:spPr>
          <a:xfrm>
            <a:off x="4824231" y="4028500"/>
            <a:ext cx="7039336" cy="2496124"/>
          </a:xfrm>
          <a:prstGeom prst="roundRect">
            <a:avLst>
              <a:gd name="adj" fmla="val 534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5" name="Группа 34"/>
          <p:cNvGrpSpPr/>
          <p:nvPr/>
        </p:nvGrpSpPr>
        <p:grpSpPr>
          <a:xfrm>
            <a:off x="4922407" y="4094723"/>
            <a:ext cx="6844786" cy="204624"/>
            <a:chOff x="4922407" y="4094723"/>
            <a:chExt cx="6844786" cy="204624"/>
          </a:xfrm>
        </p:grpSpPr>
        <p:sp>
          <p:nvSpPr>
            <p:cNvPr id="359" name="Прямоугольник 358"/>
            <p:cNvSpPr/>
            <p:nvPr/>
          </p:nvSpPr>
          <p:spPr>
            <a:xfrm>
              <a:off x="4922407" y="4094723"/>
              <a:ext cx="6809732" cy="1692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ru-RU" sz="1100" dirty="0">
                  <a:solidFill>
                    <a:srgbClr val="777777"/>
                  </a:solidFill>
                  <a:latin typeface="Montserrat Medium" panose="00000600000000000000" pitchFamily="2" charset="-52"/>
                </a:rPr>
                <a:t>Чистая прибыль маникюрной студии за 2 года нарастающим итогом</a:t>
              </a:r>
              <a:endParaRPr lang="ru-RU" sz="1100" dirty="0">
                <a:solidFill>
                  <a:srgbClr val="4950D0"/>
                </a:solidFill>
                <a:latin typeface="Montserrat Medium" panose="00000600000000000000" pitchFamily="2" charset="-52"/>
              </a:endParaRPr>
            </a:p>
          </p:txBody>
        </p:sp>
        <p:cxnSp>
          <p:nvCxnSpPr>
            <p:cNvPr id="360" name="Прямая соединительная линия 359"/>
            <p:cNvCxnSpPr/>
            <p:nvPr/>
          </p:nvCxnSpPr>
          <p:spPr>
            <a:xfrm>
              <a:off x="4922407" y="4299347"/>
              <a:ext cx="6844786" cy="0"/>
            </a:xfrm>
            <a:prstGeom prst="line">
              <a:avLst/>
            </a:prstGeom>
            <a:ln w="12700" cap="rnd">
              <a:solidFill>
                <a:srgbClr val="969696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1" name="Прямоугольник 350"/>
          <p:cNvSpPr/>
          <p:nvPr/>
        </p:nvSpPr>
        <p:spPr>
          <a:xfrm>
            <a:off x="5003411" y="6118919"/>
            <a:ext cx="5610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1</a:t>
            </a:r>
          </a:p>
        </p:txBody>
      </p:sp>
      <p:sp>
        <p:nvSpPr>
          <p:cNvPr id="362" name="Скругленный прямоугольник 361"/>
          <p:cNvSpPr/>
          <p:nvPr/>
        </p:nvSpPr>
        <p:spPr>
          <a:xfrm rot="16200000">
            <a:off x="4964154" y="5879844"/>
            <a:ext cx="134620" cy="170691"/>
          </a:xfrm>
          <a:prstGeom prst="roundRect">
            <a:avLst/>
          </a:prstGeom>
          <a:solidFill>
            <a:srgbClr val="D829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4" name="Скругленный прямоугольник 363"/>
          <p:cNvSpPr/>
          <p:nvPr/>
        </p:nvSpPr>
        <p:spPr>
          <a:xfrm rot="16200000">
            <a:off x="5227818" y="5896354"/>
            <a:ext cx="167640" cy="170691"/>
          </a:xfrm>
          <a:prstGeom prst="roundRect">
            <a:avLst/>
          </a:prstGeom>
          <a:solidFill>
            <a:srgbClr val="D829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5" name="Скругленный прямоугольник 364"/>
          <p:cNvSpPr/>
          <p:nvPr/>
        </p:nvSpPr>
        <p:spPr>
          <a:xfrm rot="16200000">
            <a:off x="5550968" y="5853378"/>
            <a:ext cx="81688" cy="170691"/>
          </a:xfrm>
          <a:prstGeom prst="roundRect">
            <a:avLst/>
          </a:prstGeom>
          <a:solidFill>
            <a:srgbClr val="D829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6" name="Скругленный прямоугольник 365"/>
          <p:cNvSpPr/>
          <p:nvPr/>
        </p:nvSpPr>
        <p:spPr>
          <a:xfrm rot="16200000">
            <a:off x="5844046" y="5775347"/>
            <a:ext cx="55880" cy="170691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7" name="Скругленный прямоугольник 366"/>
          <p:cNvSpPr/>
          <p:nvPr/>
        </p:nvSpPr>
        <p:spPr>
          <a:xfrm rot="16200000">
            <a:off x="6109285" y="5760413"/>
            <a:ext cx="85749" cy="170691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8" name="Скругленный прямоугольник 367"/>
          <p:cNvSpPr/>
          <p:nvPr/>
        </p:nvSpPr>
        <p:spPr>
          <a:xfrm rot="16200000">
            <a:off x="6365329" y="5736283"/>
            <a:ext cx="134009" cy="170691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9" name="Скругленный прямоугольник 368"/>
          <p:cNvSpPr/>
          <p:nvPr/>
        </p:nvSpPr>
        <p:spPr>
          <a:xfrm rot="16200000">
            <a:off x="6617487" y="5708266"/>
            <a:ext cx="190042" cy="170691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0" name="Скругленный прямоугольник 369"/>
          <p:cNvSpPr/>
          <p:nvPr/>
        </p:nvSpPr>
        <p:spPr>
          <a:xfrm rot="16200000">
            <a:off x="6874174" y="5684779"/>
            <a:ext cx="237016" cy="170691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1" name="Скругленный прямоугольник 370"/>
          <p:cNvSpPr/>
          <p:nvPr/>
        </p:nvSpPr>
        <p:spPr>
          <a:xfrm rot="16200000">
            <a:off x="7125842" y="5656273"/>
            <a:ext cx="294028" cy="170691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2" name="Скругленный прямоугольник 371"/>
          <p:cNvSpPr/>
          <p:nvPr/>
        </p:nvSpPr>
        <p:spPr>
          <a:xfrm rot="16200000">
            <a:off x="7357609" y="5607867"/>
            <a:ext cx="390841" cy="170691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3" name="Скругленный прямоугольник 372"/>
          <p:cNvSpPr/>
          <p:nvPr/>
        </p:nvSpPr>
        <p:spPr>
          <a:xfrm rot="16200000">
            <a:off x="7611260" y="5581343"/>
            <a:ext cx="443888" cy="170691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4" name="Скругленный прямоугольник 373"/>
          <p:cNvSpPr/>
          <p:nvPr/>
        </p:nvSpPr>
        <p:spPr>
          <a:xfrm rot="16200000">
            <a:off x="7862224" y="5552133"/>
            <a:ext cx="502308" cy="170691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5" name="Скругленный прямоугольник 374"/>
          <p:cNvSpPr/>
          <p:nvPr/>
        </p:nvSpPr>
        <p:spPr>
          <a:xfrm rot="16200000">
            <a:off x="8116998" y="5526733"/>
            <a:ext cx="553108" cy="170691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6" name="Скругленный прямоугольник 375"/>
          <p:cNvSpPr/>
          <p:nvPr/>
        </p:nvSpPr>
        <p:spPr>
          <a:xfrm rot="16200000">
            <a:off x="8370582" y="5500144"/>
            <a:ext cx="606287" cy="170691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7" name="Скругленный прямоугольник 376"/>
          <p:cNvSpPr/>
          <p:nvPr/>
        </p:nvSpPr>
        <p:spPr>
          <a:xfrm rot="16200000">
            <a:off x="8627269" y="5476657"/>
            <a:ext cx="653261" cy="170691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8" name="Скругленный прямоугольник 377"/>
          <p:cNvSpPr/>
          <p:nvPr/>
        </p:nvSpPr>
        <p:spPr>
          <a:xfrm rot="16200000">
            <a:off x="8882615" y="5451829"/>
            <a:ext cx="702917" cy="170691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9" name="Скругленный прямоугольник 378"/>
          <p:cNvSpPr/>
          <p:nvPr/>
        </p:nvSpPr>
        <p:spPr>
          <a:xfrm rot="16200000">
            <a:off x="9145458" y="5434498"/>
            <a:ext cx="737579" cy="170691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0" name="Скругленный прямоугольник 379"/>
          <p:cNvSpPr/>
          <p:nvPr/>
        </p:nvSpPr>
        <p:spPr>
          <a:xfrm rot="16200000">
            <a:off x="9390879" y="5399745"/>
            <a:ext cx="807085" cy="170691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1" name="Скругленный прямоугольник 380"/>
          <p:cNvSpPr/>
          <p:nvPr/>
        </p:nvSpPr>
        <p:spPr>
          <a:xfrm rot="16200000">
            <a:off x="9650724" y="5379415"/>
            <a:ext cx="847744" cy="170691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2" name="Скругленный прямоугольник 381"/>
          <p:cNvSpPr/>
          <p:nvPr/>
        </p:nvSpPr>
        <p:spPr>
          <a:xfrm rot="16200000">
            <a:off x="9901688" y="5350205"/>
            <a:ext cx="906164" cy="170691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3" name="Скругленный прямоугольник 382"/>
          <p:cNvSpPr/>
          <p:nvPr/>
        </p:nvSpPr>
        <p:spPr>
          <a:xfrm rot="16200000">
            <a:off x="10152652" y="5320995"/>
            <a:ext cx="964584" cy="170691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4" name="Скругленный прямоугольник 383"/>
          <p:cNvSpPr/>
          <p:nvPr/>
        </p:nvSpPr>
        <p:spPr>
          <a:xfrm rot="16200000">
            <a:off x="10378995" y="5267164"/>
            <a:ext cx="1072246" cy="170691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5" name="Скругленный прямоугольник 384"/>
          <p:cNvSpPr/>
          <p:nvPr/>
        </p:nvSpPr>
        <p:spPr>
          <a:xfrm rot="16200000">
            <a:off x="10630450" y="5238445"/>
            <a:ext cx="1129684" cy="170691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6" name="Скругленный прямоугольник 385"/>
          <p:cNvSpPr/>
          <p:nvPr/>
        </p:nvSpPr>
        <p:spPr>
          <a:xfrm rot="16200000">
            <a:off x="10863810" y="5191623"/>
            <a:ext cx="1223329" cy="170691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4880602" y="5897879"/>
            <a:ext cx="6806581" cy="0"/>
          </a:xfrm>
          <a:prstGeom prst="line">
            <a:avLst/>
          </a:prstGeom>
          <a:ln w="12700" cap="rnd">
            <a:solidFill>
              <a:srgbClr val="969696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7" name="Прямоугольник 386"/>
          <p:cNvSpPr/>
          <p:nvPr/>
        </p:nvSpPr>
        <p:spPr>
          <a:xfrm>
            <a:off x="5280824" y="6118919"/>
            <a:ext cx="8816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2</a:t>
            </a:r>
          </a:p>
        </p:txBody>
      </p:sp>
      <p:sp>
        <p:nvSpPr>
          <p:cNvPr id="388" name="Прямоугольник 387"/>
          <p:cNvSpPr/>
          <p:nvPr/>
        </p:nvSpPr>
        <p:spPr>
          <a:xfrm>
            <a:off x="5546123" y="6118919"/>
            <a:ext cx="88166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3</a:t>
            </a:r>
          </a:p>
        </p:txBody>
      </p:sp>
      <p:sp>
        <p:nvSpPr>
          <p:cNvPr id="389" name="Прямоугольник 388"/>
          <p:cNvSpPr/>
          <p:nvPr/>
        </p:nvSpPr>
        <p:spPr>
          <a:xfrm>
            <a:off x="5823314" y="6118919"/>
            <a:ext cx="100990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4</a:t>
            </a:r>
          </a:p>
        </p:txBody>
      </p:sp>
      <p:sp>
        <p:nvSpPr>
          <p:cNvPr id="390" name="Прямоугольник 389"/>
          <p:cNvSpPr/>
          <p:nvPr/>
        </p:nvSpPr>
        <p:spPr>
          <a:xfrm>
            <a:off x="6101664" y="6118919"/>
            <a:ext cx="86562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5</a:t>
            </a:r>
          </a:p>
        </p:txBody>
      </p:sp>
      <p:sp>
        <p:nvSpPr>
          <p:cNvPr id="391" name="Прямоугольник 390"/>
          <p:cNvSpPr/>
          <p:nvPr/>
        </p:nvSpPr>
        <p:spPr>
          <a:xfrm>
            <a:off x="6383850" y="6118919"/>
            <a:ext cx="9297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6</a:t>
            </a:r>
          </a:p>
        </p:txBody>
      </p:sp>
      <p:sp>
        <p:nvSpPr>
          <p:cNvPr id="393" name="Прямоугольник 392"/>
          <p:cNvSpPr/>
          <p:nvPr/>
        </p:nvSpPr>
        <p:spPr>
          <a:xfrm>
            <a:off x="6666021" y="6118919"/>
            <a:ext cx="9297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7</a:t>
            </a:r>
          </a:p>
        </p:txBody>
      </p:sp>
      <p:sp>
        <p:nvSpPr>
          <p:cNvPr id="394" name="Прямоугольник 393"/>
          <p:cNvSpPr/>
          <p:nvPr/>
        </p:nvSpPr>
        <p:spPr>
          <a:xfrm>
            <a:off x="6949004" y="6118919"/>
            <a:ext cx="9778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8</a:t>
            </a:r>
          </a:p>
        </p:txBody>
      </p:sp>
      <p:sp>
        <p:nvSpPr>
          <p:cNvPr id="395" name="Прямоугольник 394"/>
          <p:cNvSpPr/>
          <p:nvPr/>
        </p:nvSpPr>
        <p:spPr>
          <a:xfrm>
            <a:off x="7226369" y="6118919"/>
            <a:ext cx="9297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9</a:t>
            </a:r>
          </a:p>
        </p:txBody>
      </p:sp>
      <p:sp>
        <p:nvSpPr>
          <p:cNvPr id="396" name="Прямоугольник 395"/>
          <p:cNvSpPr/>
          <p:nvPr/>
        </p:nvSpPr>
        <p:spPr>
          <a:xfrm>
            <a:off x="7473680" y="6118919"/>
            <a:ext cx="158698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10</a:t>
            </a:r>
          </a:p>
        </p:txBody>
      </p:sp>
      <p:sp>
        <p:nvSpPr>
          <p:cNvPr id="397" name="Прямоугольник 396"/>
          <p:cNvSpPr/>
          <p:nvPr/>
        </p:nvSpPr>
        <p:spPr>
          <a:xfrm>
            <a:off x="7747858" y="6118919"/>
            <a:ext cx="170691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11</a:t>
            </a:r>
          </a:p>
        </p:txBody>
      </p:sp>
      <p:sp>
        <p:nvSpPr>
          <p:cNvPr id="398" name="Прямоугольник 397"/>
          <p:cNvSpPr/>
          <p:nvPr/>
        </p:nvSpPr>
        <p:spPr>
          <a:xfrm>
            <a:off x="8028032" y="6118919"/>
            <a:ext cx="170691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12</a:t>
            </a:r>
          </a:p>
        </p:txBody>
      </p:sp>
      <p:sp>
        <p:nvSpPr>
          <p:cNvPr id="399" name="Прямоугольник 398"/>
          <p:cNvSpPr/>
          <p:nvPr/>
        </p:nvSpPr>
        <p:spPr>
          <a:xfrm>
            <a:off x="8308207" y="6118919"/>
            <a:ext cx="170691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13</a:t>
            </a:r>
          </a:p>
        </p:txBody>
      </p:sp>
      <p:sp>
        <p:nvSpPr>
          <p:cNvPr id="400" name="Прямоугольник 399"/>
          <p:cNvSpPr/>
          <p:nvPr/>
        </p:nvSpPr>
        <p:spPr>
          <a:xfrm>
            <a:off x="8588380" y="6118919"/>
            <a:ext cx="170691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14</a:t>
            </a:r>
          </a:p>
        </p:txBody>
      </p:sp>
      <p:sp>
        <p:nvSpPr>
          <p:cNvPr id="401" name="Прямоугольник 400"/>
          <p:cNvSpPr/>
          <p:nvPr/>
        </p:nvSpPr>
        <p:spPr>
          <a:xfrm>
            <a:off x="8868554" y="6118919"/>
            <a:ext cx="170691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15</a:t>
            </a:r>
          </a:p>
        </p:txBody>
      </p:sp>
      <p:sp>
        <p:nvSpPr>
          <p:cNvPr id="402" name="Прямоугольник 401"/>
          <p:cNvSpPr/>
          <p:nvPr/>
        </p:nvSpPr>
        <p:spPr>
          <a:xfrm>
            <a:off x="9148728" y="6118919"/>
            <a:ext cx="170691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16</a:t>
            </a:r>
          </a:p>
        </p:txBody>
      </p:sp>
      <p:sp>
        <p:nvSpPr>
          <p:cNvPr id="403" name="Прямоугольник 402"/>
          <p:cNvSpPr/>
          <p:nvPr/>
        </p:nvSpPr>
        <p:spPr>
          <a:xfrm>
            <a:off x="9428902" y="6118919"/>
            <a:ext cx="170691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17</a:t>
            </a:r>
          </a:p>
        </p:txBody>
      </p:sp>
      <p:sp>
        <p:nvSpPr>
          <p:cNvPr id="404" name="Прямоугольник 403"/>
          <p:cNvSpPr/>
          <p:nvPr/>
        </p:nvSpPr>
        <p:spPr>
          <a:xfrm>
            <a:off x="9709076" y="6118919"/>
            <a:ext cx="170691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18</a:t>
            </a:r>
          </a:p>
        </p:txBody>
      </p:sp>
      <p:sp>
        <p:nvSpPr>
          <p:cNvPr id="405" name="Прямоугольник 404"/>
          <p:cNvSpPr/>
          <p:nvPr/>
        </p:nvSpPr>
        <p:spPr>
          <a:xfrm>
            <a:off x="9989251" y="6118919"/>
            <a:ext cx="170691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19</a:t>
            </a:r>
          </a:p>
        </p:txBody>
      </p:sp>
      <p:sp>
        <p:nvSpPr>
          <p:cNvPr id="406" name="Прямоугольник 405"/>
          <p:cNvSpPr/>
          <p:nvPr/>
        </p:nvSpPr>
        <p:spPr>
          <a:xfrm>
            <a:off x="10258987" y="6118919"/>
            <a:ext cx="19156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20</a:t>
            </a:r>
          </a:p>
        </p:txBody>
      </p:sp>
      <p:sp>
        <p:nvSpPr>
          <p:cNvPr id="407" name="Прямоугольник 406"/>
          <p:cNvSpPr/>
          <p:nvPr/>
        </p:nvSpPr>
        <p:spPr>
          <a:xfrm>
            <a:off x="10539161" y="6118919"/>
            <a:ext cx="19156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21</a:t>
            </a:r>
          </a:p>
        </p:txBody>
      </p:sp>
      <p:sp>
        <p:nvSpPr>
          <p:cNvPr id="408" name="Прямоугольник 407"/>
          <p:cNvSpPr/>
          <p:nvPr/>
        </p:nvSpPr>
        <p:spPr>
          <a:xfrm>
            <a:off x="10820258" y="6118919"/>
            <a:ext cx="19156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22</a:t>
            </a:r>
          </a:p>
        </p:txBody>
      </p:sp>
      <p:sp>
        <p:nvSpPr>
          <p:cNvPr id="409" name="Прямоугольник 408"/>
          <p:cNvSpPr/>
          <p:nvPr/>
        </p:nvSpPr>
        <p:spPr>
          <a:xfrm>
            <a:off x="11099509" y="6118919"/>
            <a:ext cx="19156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23</a:t>
            </a:r>
          </a:p>
        </p:txBody>
      </p:sp>
      <p:sp>
        <p:nvSpPr>
          <p:cNvPr id="410" name="Прямоугольник 409"/>
          <p:cNvSpPr/>
          <p:nvPr/>
        </p:nvSpPr>
        <p:spPr>
          <a:xfrm>
            <a:off x="11378760" y="6118919"/>
            <a:ext cx="191565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24</a:t>
            </a:r>
          </a:p>
        </p:txBody>
      </p:sp>
      <p:sp>
        <p:nvSpPr>
          <p:cNvPr id="412" name="Прямоугольник 411"/>
          <p:cNvSpPr/>
          <p:nvPr/>
        </p:nvSpPr>
        <p:spPr>
          <a:xfrm>
            <a:off x="4922407" y="4414858"/>
            <a:ext cx="652423" cy="1692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1100" dirty="0">
                <a:solidFill>
                  <a:srgbClr val="4950D0"/>
                </a:solidFill>
                <a:latin typeface="Montserrat Medium" panose="00000600000000000000" pitchFamily="2" charset="-52"/>
              </a:rPr>
              <a:t>Тыс. руб.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4929183" y="5554072"/>
            <a:ext cx="452205" cy="342661"/>
            <a:chOff x="4860021" y="5352509"/>
            <a:chExt cx="452205" cy="342661"/>
          </a:xfrm>
        </p:grpSpPr>
        <p:sp>
          <p:nvSpPr>
            <p:cNvPr id="411" name="Скругленный прямоугольник 410"/>
            <p:cNvSpPr/>
            <p:nvPr/>
          </p:nvSpPr>
          <p:spPr>
            <a:xfrm>
              <a:off x="4860021" y="5352509"/>
              <a:ext cx="452205" cy="192506"/>
            </a:xfrm>
            <a:prstGeom prst="roundRect">
              <a:avLst/>
            </a:prstGeom>
            <a:noFill/>
            <a:ln>
              <a:solidFill>
                <a:srgbClr val="D8294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  <a:t>– 84,1</a:t>
              </a:r>
            </a:p>
          </p:txBody>
        </p:sp>
        <p:sp>
          <p:nvSpPr>
            <p:cNvPr id="36" name="Полилиния 35"/>
            <p:cNvSpPr/>
            <p:nvPr/>
          </p:nvSpPr>
          <p:spPr>
            <a:xfrm>
              <a:off x="4960620" y="5551170"/>
              <a:ext cx="0" cy="144000"/>
            </a:xfrm>
            <a:custGeom>
              <a:avLst/>
              <a:gdLst>
                <a:gd name="connsiteX0" fmla="*/ 0 w 0"/>
                <a:gd name="connsiteY0" fmla="*/ 0 h 306705"/>
                <a:gd name="connsiteX1" fmla="*/ 0 w 0"/>
                <a:gd name="connsiteY1" fmla="*/ 306705 h 306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06705">
                  <a:moveTo>
                    <a:pt x="0" y="0"/>
                  </a:moveTo>
                  <a:lnTo>
                    <a:pt x="0" y="306705"/>
                  </a:lnTo>
                </a:path>
              </a:pathLst>
            </a:custGeom>
            <a:noFill/>
            <a:ln w="6350">
              <a:solidFill>
                <a:srgbClr val="96969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00"/>
            </a:p>
          </p:txBody>
        </p:sp>
      </p:grpSp>
      <p:grpSp>
        <p:nvGrpSpPr>
          <p:cNvPr id="413" name="Группа 412"/>
          <p:cNvGrpSpPr/>
          <p:nvPr/>
        </p:nvGrpSpPr>
        <p:grpSpPr>
          <a:xfrm>
            <a:off x="5771045" y="5442703"/>
            <a:ext cx="354369" cy="342661"/>
            <a:chOff x="4860021" y="5352509"/>
            <a:chExt cx="354369" cy="342661"/>
          </a:xfrm>
        </p:grpSpPr>
        <p:sp>
          <p:nvSpPr>
            <p:cNvPr id="414" name="Скругленный прямоугольник 413"/>
            <p:cNvSpPr/>
            <p:nvPr/>
          </p:nvSpPr>
          <p:spPr>
            <a:xfrm>
              <a:off x="4860021" y="5352509"/>
              <a:ext cx="354369" cy="192506"/>
            </a:xfrm>
            <a:prstGeom prst="roundRect">
              <a:avLst/>
            </a:prstGeom>
            <a:noFill/>
            <a:ln>
              <a:solidFill>
                <a:srgbClr val="4950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000" b="1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22,3</a:t>
              </a:r>
            </a:p>
          </p:txBody>
        </p:sp>
        <p:sp>
          <p:nvSpPr>
            <p:cNvPr id="415" name="Полилиния 414"/>
            <p:cNvSpPr/>
            <p:nvPr/>
          </p:nvSpPr>
          <p:spPr>
            <a:xfrm>
              <a:off x="4960620" y="5551170"/>
              <a:ext cx="0" cy="144000"/>
            </a:xfrm>
            <a:custGeom>
              <a:avLst/>
              <a:gdLst>
                <a:gd name="connsiteX0" fmla="*/ 0 w 0"/>
                <a:gd name="connsiteY0" fmla="*/ 0 h 306705"/>
                <a:gd name="connsiteX1" fmla="*/ 0 w 0"/>
                <a:gd name="connsiteY1" fmla="*/ 306705 h 306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06705">
                  <a:moveTo>
                    <a:pt x="0" y="0"/>
                  </a:moveTo>
                  <a:lnTo>
                    <a:pt x="0" y="306705"/>
                  </a:lnTo>
                </a:path>
              </a:pathLst>
            </a:custGeom>
            <a:noFill/>
            <a:ln w="6350">
              <a:solidFill>
                <a:srgbClr val="96969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00"/>
            </a:p>
          </p:txBody>
        </p:sp>
      </p:grpSp>
      <p:grpSp>
        <p:nvGrpSpPr>
          <p:cNvPr id="416" name="Группа 415"/>
          <p:cNvGrpSpPr/>
          <p:nvPr/>
        </p:nvGrpSpPr>
        <p:grpSpPr>
          <a:xfrm>
            <a:off x="10636229" y="4341631"/>
            <a:ext cx="926560" cy="274906"/>
            <a:chOff x="4860022" y="5334046"/>
            <a:chExt cx="926560" cy="274906"/>
          </a:xfrm>
        </p:grpSpPr>
        <p:sp>
          <p:nvSpPr>
            <p:cNvPr id="417" name="Скругленный прямоугольник 416"/>
            <p:cNvSpPr/>
            <p:nvPr/>
          </p:nvSpPr>
          <p:spPr>
            <a:xfrm>
              <a:off x="4860022" y="5334046"/>
              <a:ext cx="926560" cy="210970"/>
            </a:xfrm>
            <a:prstGeom prst="roundRect">
              <a:avLst/>
            </a:prstGeom>
            <a:noFill/>
            <a:ln>
              <a:solidFill>
                <a:srgbClr val="4950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1400" b="1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1 716 487</a:t>
              </a:r>
            </a:p>
          </p:txBody>
        </p:sp>
        <p:sp>
          <p:nvSpPr>
            <p:cNvPr id="418" name="Полилиния 417"/>
            <p:cNvSpPr/>
            <p:nvPr/>
          </p:nvSpPr>
          <p:spPr>
            <a:xfrm flipH="1">
              <a:off x="5603482" y="5551169"/>
              <a:ext cx="60028" cy="57783"/>
            </a:xfrm>
            <a:custGeom>
              <a:avLst/>
              <a:gdLst>
                <a:gd name="connsiteX0" fmla="*/ 0 w 0"/>
                <a:gd name="connsiteY0" fmla="*/ 0 h 306705"/>
                <a:gd name="connsiteX1" fmla="*/ 0 w 0"/>
                <a:gd name="connsiteY1" fmla="*/ 306705 h 306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06705">
                  <a:moveTo>
                    <a:pt x="0" y="0"/>
                  </a:moveTo>
                  <a:lnTo>
                    <a:pt x="0" y="306705"/>
                  </a:lnTo>
                </a:path>
              </a:pathLst>
            </a:custGeom>
            <a:noFill/>
            <a:ln w="6350">
              <a:solidFill>
                <a:srgbClr val="96969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4" name="Полилиния 33"/>
          <p:cNvSpPr/>
          <p:nvPr/>
        </p:nvSpPr>
        <p:spPr>
          <a:xfrm>
            <a:off x="5788152" y="4608576"/>
            <a:ext cx="5644896" cy="1191768"/>
          </a:xfrm>
          <a:custGeom>
            <a:avLst/>
            <a:gdLst>
              <a:gd name="connsiteX0" fmla="*/ 0 w 5644896"/>
              <a:gd name="connsiteY0" fmla="*/ 1191768 h 1191768"/>
              <a:gd name="connsiteX1" fmla="*/ 298704 w 5644896"/>
              <a:gd name="connsiteY1" fmla="*/ 1152144 h 1191768"/>
              <a:gd name="connsiteX2" fmla="*/ 560832 w 5644896"/>
              <a:gd name="connsiteY2" fmla="*/ 1103376 h 1191768"/>
              <a:gd name="connsiteX3" fmla="*/ 886968 w 5644896"/>
              <a:gd name="connsiteY3" fmla="*/ 1048512 h 1191768"/>
              <a:gd name="connsiteX4" fmla="*/ 1176528 w 5644896"/>
              <a:gd name="connsiteY4" fmla="*/ 993648 h 1191768"/>
              <a:gd name="connsiteX5" fmla="*/ 1456944 w 5644896"/>
              <a:gd name="connsiteY5" fmla="*/ 923544 h 1191768"/>
              <a:gd name="connsiteX6" fmla="*/ 1722120 w 5644896"/>
              <a:gd name="connsiteY6" fmla="*/ 835152 h 1191768"/>
              <a:gd name="connsiteX7" fmla="*/ 2045208 w 5644896"/>
              <a:gd name="connsiteY7" fmla="*/ 777240 h 1191768"/>
              <a:gd name="connsiteX8" fmla="*/ 2353056 w 5644896"/>
              <a:gd name="connsiteY8" fmla="*/ 716280 h 1191768"/>
              <a:gd name="connsiteX9" fmla="*/ 2673096 w 5644896"/>
              <a:gd name="connsiteY9" fmla="*/ 652272 h 1191768"/>
              <a:gd name="connsiteX10" fmla="*/ 2956560 w 5644896"/>
              <a:gd name="connsiteY10" fmla="*/ 603504 h 1191768"/>
              <a:gd name="connsiteX11" fmla="*/ 3224784 w 5644896"/>
              <a:gd name="connsiteY11" fmla="*/ 566928 h 1191768"/>
              <a:gd name="connsiteX12" fmla="*/ 3517392 w 5644896"/>
              <a:gd name="connsiteY12" fmla="*/ 515112 h 1191768"/>
              <a:gd name="connsiteX13" fmla="*/ 3813048 w 5644896"/>
              <a:gd name="connsiteY13" fmla="*/ 472440 h 1191768"/>
              <a:gd name="connsiteX14" fmla="*/ 4059936 w 5644896"/>
              <a:gd name="connsiteY14" fmla="*/ 420624 h 1191768"/>
              <a:gd name="connsiteX15" fmla="*/ 4361688 w 5644896"/>
              <a:gd name="connsiteY15" fmla="*/ 371856 h 1191768"/>
              <a:gd name="connsiteX16" fmla="*/ 4632960 w 5644896"/>
              <a:gd name="connsiteY16" fmla="*/ 304800 h 1191768"/>
              <a:gd name="connsiteX17" fmla="*/ 4828032 w 5644896"/>
              <a:gd name="connsiteY17" fmla="*/ 265176 h 1191768"/>
              <a:gd name="connsiteX18" fmla="*/ 4910328 w 5644896"/>
              <a:gd name="connsiteY18" fmla="*/ 256032 h 1191768"/>
              <a:gd name="connsiteX19" fmla="*/ 5050536 w 5644896"/>
              <a:gd name="connsiteY19" fmla="*/ 164592 h 1191768"/>
              <a:gd name="connsiteX20" fmla="*/ 5343144 w 5644896"/>
              <a:gd name="connsiteY20" fmla="*/ 106680 h 1191768"/>
              <a:gd name="connsiteX21" fmla="*/ 5495544 w 5644896"/>
              <a:gd name="connsiteY21" fmla="*/ 64008 h 1191768"/>
              <a:gd name="connsiteX22" fmla="*/ 5644896 w 5644896"/>
              <a:gd name="connsiteY22" fmla="*/ 0 h 1191768"/>
              <a:gd name="connsiteX0" fmla="*/ 0 w 5644896"/>
              <a:gd name="connsiteY0" fmla="*/ 1191768 h 1191768"/>
              <a:gd name="connsiteX1" fmla="*/ 298704 w 5644896"/>
              <a:gd name="connsiteY1" fmla="*/ 1152144 h 1191768"/>
              <a:gd name="connsiteX2" fmla="*/ 560832 w 5644896"/>
              <a:gd name="connsiteY2" fmla="*/ 1103376 h 1191768"/>
              <a:gd name="connsiteX3" fmla="*/ 886968 w 5644896"/>
              <a:gd name="connsiteY3" fmla="*/ 1048512 h 1191768"/>
              <a:gd name="connsiteX4" fmla="*/ 1176528 w 5644896"/>
              <a:gd name="connsiteY4" fmla="*/ 993648 h 1191768"/>
              <a:gd name="connsiteX5" fmla="*/ 1456944 w 5644896"/>
              <a:gd name="connsiteY5" fmla="*/ 923544 h 1191768"/>
              <a:gd name="connsiteX6" fmla="*/ 1722120 w 5644896"/>
              <a:gd name="connsiteY6" fmla="*/ 835152 h 1191768"/>
              <a:gd name="connsiteX7" fmla="*/ 2045208 w 5644896"/>
              <a:gd name="connsiteY7" fmla="*/ 777240 h 1191768"/>
              <a:gd name="connsiteX8" fmla="*/ 2353056 w 5644896"/>
              <a:gd name="connsiteY8" fmla="*/ 716280 h 1191768"/>
              <a:gd name="connsiteX9" fmla="*/ 2673096 w 5644896"/>
              <a:gd name="connsiteY9" fmla="*/ 652272 h 1191768"/>
              <a:gd name="connsiteX10" fmla="*/ 2956560 w 5644896"/>
              <a:gd name="connsiteY10" fmla="*/ 603504 h 1191768"/>
              <a:gd name="connsiteX11" fmla="*/ 3224784 w 5644896"/>
              <a:gd name="connsiteY11" fmla="*/ 566928 h 1191768"/>
              <a:gd name="connsiteX12" fmla="*/ 3517392 w 5644896"/>
              <a:gd name="connsiteY12" fmla="*/ 515112 h 1191768"/>
              <a:gd name="connsiteX13" fmla="*/ 3813048 w 5644896"/>
              <a:gd name="connsiteY13" fmla="*/ 472440 h 1191768"/>
              <a:gd name="connsiteX14" fmla="*/ 4059936 w 5644896"/>
              <a:gd name="connsiteY14" fmla="*/ 420624 h 1191768"/>
              <a:gd name="connsiteX15" fmla="*/ 4361688 w 5644896"/>
              <a:gd name="connsiteY15" fmla="*/ 371856 h 1191768"/>
              <a:gd name="connsiteX16" fmla="*/ 4632960 w 5644896"/>
              <a:gd name="connsiteY16" fmla="*/ 304800 h 1191768"/>
              <a:gd name="connsiteX17" fmla="*/ 4828032 w 5644896"/>
              <a:gd name="connsiteY17" fmla="*/ 265176 h 1191768"/>
              <a:gd name="connsiteX18" fmla="*/ 5050536 w 5644896"/>
              <a:gd name="connsiteY18" fmla="*/ 164592 h 1191768"/>
              <a:gd name="connsiteX19" fmla="*/ 5343144 w 5644896"/>
              <a:gd name="connsiteY19" fmla="*/ 106680 h 1191768"/>
              <a:gd name="connsiteX20" fmla="*/ 5495544 w 5644896"/>
              <a:gd name="connsiteY20" fmla="*/ 64008 h 1191768"/>
              <a:gd name="connsiteX21" fmla="*/ 5644896 w 5644896"/>
              <a:gd name="connsiteY21" fmla="*/ 0 h 1191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644896" h="1191768">
                <a:moveTo>
                  <a:pt x="0" y="1191768"/>
                </a:moveTo>
                <a:cubicBezTo>
                  <a:pt x="102616" y="1179322"/>
                  <a:pt x="205232" y="1166876"/>
                  <a:pt x="298704" y="1152144"/>
                </a:cubicBezTo>
                <a:cubicBezTo>
                  <a:pt x="392176" y="1137412"/>
                  <a:pt x="560832" y="1103376"/>
                  <a:pt x="560832" y="1103376"/>
                </a:cubicBezTo>
                <a:lnTo>
                  <a:pt x="886968" y="1048512"/>
                </a:lnTo>
                <a:cubicBezTo>
                  <a:pt x="989584" y="1030224"/>
                  <a:pt x="1081532" y="1014476"/>
                  <a:pt x="1176528" y="993648"/>
                </a:cubicBezTo>
                <a:cubicBezTo>
                  <a:pt x="1271524" y="972820"/>
                  <a:pt x="1366012" y="949960"/>
                  <a:pt x="1456944" y="923544"/>
                </a:cubicBezTo>
                <a:cubicBezTo>
                  <a:pt x="1547876" y="897128"/>
                  <a:pt x="1624076" y="859536"/>
                  <a:pt x="1722120" y="835152"/>
                </a:cubicBezTo>
                <a:cubicBezTo>
                  <a:pt x="1820164" y="810768"/>
                  <a:pt x="2045208" y="777240"/>
                  <a:pt x="2045208" y="777240"/>
                </a:cubicBezTo>
                <a:lnTo>
                  <a:pt x="2353056" y="716280"/>
                </a:lnTo>
                <a:lnTo>
                  <a:pt x="2673096" y="652272"/>
                </a:lnTo>
                <a:cubicBezTo>
                  <a:pt x="2773680" y="633476"/>
                  <a:pt x="2864612" y="617728"/>
                  <a:pt x="2956560" y="603504"/>
                </a:cubicBezTo>
                <a:cubicBezTo>
                  <a:pt x="3048508" y="589280"/>
                  <a:pt x="3131312" y="581660"/>
                  <a:pt x="3224784" y="566928"/>
                </a:cubicBezTo>
                <a:cubicBezTo>
                  <a:pt x="3318256" y="552196"/>
                  <a:pt x="3419348" y="530860"/>
                  <a:pt x="3517392" y="515112"/>
                </a:cubicBezTo>
                <a:cubicBezTo>
                  <a:pt x="3615436" y="499364"/>
                  <a:pt x="3722624" y="488188"/>
                  <a:pt x="3813048" y="472440"/>
                </a:cubicBezTo>
                <a:cubicBezTo>
                  <a:pt x="3903472" y="456692"/>
                  <a:pt x="3968496" y="437388"/>
                  <a:pt x="4059936" y="420624"/>
                </a:cubicBezTo>
                <a:cubicBezTo>
                  <a:pt x="4151376" y="403860"/>
                  <a:pt x="4266184" y="391160"/>
                  <a:pt x="4361688" y="371856"/>
                </a:cubicBezTo>
                <a:cubicBezTo>
                  <a:pt x="4457192" y="352552"/>
                  <a:pt x="4555236" y="322580"/>
                  <a:pt x="4632960" y="304800"/>
                </a:cubicBezTo>
                <a:cubicBezTo>
                  <a:pt x="4710684" y="287020"/>
                  <a:pt x="4758436" y="288544"/>
                  <a:pt x="4828032" y="265176"/>
                </a:cubicBezTo>
                <a:cubicBezTo>
                  <a:pt x="4897628" y="241808"/>
                  <a:pt x="4964684" y="191008"/>
                  <a:pt x="5050536" y="164592"/>
                </a:cubicBezTo>
                <a:cubicBezTo>
                  <a:pt x="5136388" y="138176"/>
                  <a:pt x="5268976" y="123444"/>
                  <a:pt x="5343144" y="106680"/>
                </a:cubicBezTo>
                <a:cubicBezTo>
                  <a:pt x="5417312" y="89916"/>
                  <a:pt x="5445252" y="81788"/>
                  <a:pt x="5495544" y="64008"/>
                </a:cubicBezTo>
                <a:cubicBezTo>
                  <a:pt x="5545836" y="46228"/>
                  <a:pt x="5595366" y="23114"/>
                  <a:pt x="5644896" y="0"/>
                </a:cubicBezTo>
              </a:path>
            </a:pathLst>
          </a:custGeom>
          <a:noFill/>
          <a:ln w="25400" cap="rnd">
            <a:solidFill>
              <a:srgbClr val="4950D0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89" name="Picture 8">
            <a:extLst>
              <a:ext uri="{FF2B5EF4-FFF2-40B4-BE49-F238E27FC236}">
                <a16:creationId xmlns:a16="http://schemas.microsoft.com/office/drawing/2014/main" id="{1B8F6BD8-304F-40E8-A11E-811F626164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 l="10521" t="15962" r="77292" b="69215"/>
          <a:stretch>
            <a:fillRect/>
          </a:stretch>
        </p:blipFill>
        <p:spPr bwMode="auto">
          <a:xfrm>
            <a:off x="11332452" y="0"/>
            <a:ext cx="859548" cy="889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3752435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4633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2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/>
          <p:cNvSpPr/>
          <p:nvPr/>
        </p:nvSpPr>
        <p:spPr>
          <a:xfrm>
            <a:off x="140208" y="6598515"/>
            <a:ext cx="316998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ru-RU" sz="1200" b="1" i="1" dirty="0">
                <a:solidFill>
                  <a:srgbClr val="4950D0"/>
                </a:solidFill>
                <a:latin typeface="Montserrat" panose="00000500000000000000" pitchFamily="2" charset="-52"/>
              </a:rPr>
              <a:t>11</a:t>
            </a:r>
            <a:r>
              <a:rPr lang="en-US" sz="1200" dirty="0">
                <a:solidFill>
                  <a:srgbClr val="4950D0"/>
                </a:solidFill>
                <a:latin typeface="Montserrat" panose="00000500000000000000" pitchFamily="2" charset="-52"/>
              </a:rPr>
              <a:t>/</a:t>
            </a:r>
            <a:r>
              <a:rPr lang="en-US" sz="800" dirty="0">
                <a:solidFill>
                  <a:srgbClr val="4950D0"/>
                </a:solidFill>
                <a:latin typeface="Montserrat" panose="00000500000000000000" pitchFamily="2" charset="-52"/>
              </a:rPr>
              <a:t>13</a:t>
            </a:r>
            <a:endParaRPr lang="ru-RU" sz="800" dirty="0">
              <a:solidFill>
                <a:srgbClr val="4950D0"/>
              </a:solidFill>
              <a:latin typeface="Montserrat" panose="00000500000000000000" pitchFamily="2" charset="-52"/>
            </a:endParaRPr>
          </a:p>
        </p:txBody>
      </p:sp>
      <p:grpSp>
        <p:nvGrpSpPr>
          <p:cNvPr id="125" name="Группа 124"/>
          <p:cNvGrpSpPr/>
          <p:nvPr/>
        </p:nvGrpSpPr>
        <p:grpSpPr>
          <a:xfrm>
            <a:off x="70414" y="56746"/>
            <a:ext cx="11642162" cy="422119"/>
            <a:chOff x="70414" y="56746"/>
            <a:chExt cx="11642162" cy="422119"/>
          </a:xfrm>
        </p:grpSpPr>
        <p:sp>
          <p:nvSpPr>
            <p:cNvPr id="126" name="Скругленный прямоугольник 125"/>
            <p:cNvSpPr/>
            <p:nvPr/>
          </p:nvSpPr>
          <p:spPr>
            <a:xfrm>
              <a:off x="70414" y="56746"/>
              <a:ext cx="11642162" cy="422119"/>
            </a:xfrm>
            <a:prstGeom prst="roundRect">
              <a:avLst>
                <a:gd name="adj" fmla="val 17873"/>
              </a:avLst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7" name="Скругленный прямоугольник 126"/>
            <p:cNvSpPr/>
            <p:nvPr/>
          </p:nvSpPr>
          <p:spPr>
            <a:xfrm>
              <a:off x="108899" y="103316"/>
              <a:ext cx="710251" cy="328978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Введение</a:t>
              </a:r>
            </a:p>
          </p:txBody>
        </p:sp>
        <p:sp>
          <p:nvSpPr>
            <p:cNvPr id="128" name="Скругленный прямоугольник 127"/>
            <p:cNvSpPr/>
            <p:nvPr/>
          </p:nvSpPr>
          <p:spPr>
            <a:xfrm>
              <a:off x="938864" y="103317"/>
              <a:ext cx="949961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Методология разработки</a:t>
              </a:r>
            </a:p>
          </p:txBody>
        </p:sp>
        <p:sp>
          <p:nvSpPr>
            <p:cNvPr id="129" name="Скругленный прямоугольник 128"/>
            <p:cNvSpPr/>
            <p:nvPr/>
          </p:nvSpPr>
          <p:spPr>
            <a:xfrm>
              <a:off x="2008539" y="103317"/>
              <a:ext cx="190318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Бизнес-модель и бизнес-план </a:t>
              </a:r>
              <a:r>
                <a:rPr lang="ru-RU" sz="800" dirty="0" err="1">
                  <a:solidFill>
                    <a:schemeClr val="bg1"/>
                  </a:solidFill>
                  <a:latin typeface="Montserrat Light" panose="00000400000000000000" pitchFamily="2" charset="-52"/>
                </a:rPr>
                <a:t>стартап</a:t>
              </a:r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-проекта</a:t>
              </a:r>
            </a:p>
          </p:txBody>
        </p:sp>
        <p:sp>
          <p:nvSpPr>
            <p:cNvPr id="130" name="Скругленный прямоугольник 129"/>
            <p:cNvSpPr/>
            <p:nvPr/>
          </p:nvSpPr>
          <p:spPr>
            <a:xfrm>
              <a:off x="4031433" y="103317"/>
              <a:ext cx="171625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Маркетинговый анализ, стратегия и сбыт продукта</a:t>
              </a:r>
            </a:p>
          </p:txBody>
        </p:sp>
        <p:sp>
          <p:nvSpPr>
            <p:cNvPr id="131" name="Скругленный прямоугольник 130"/>
            <p:cNvSpPr/>
            <p:nvPr/>
          </p:nvSpPr>
          <p:spPr>
            <a:xfrm>
              <a:off x="5867397" y="103317"/>
              <a:ext cx="1290695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Производственный план</a:t>
              </a:r>
            </a:p>
          </p:txBody>
        </p:sp>
        <p:sp>
          <p:nvSpPr>
            <p:cNvPr id="132" name="Скругленный прямоугольник 131"/>
            <p:cNvSpPr/>
            <p:nvPr/>
          </p:nvSpPr>
          <p:spPr>
            <a:xfrm>
              <a:off x="7277806" y="103317"/>
              <a:ext cx="1177370" cy="328976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Организационный план</a:t>
              </a:r>
            </a:p>
          </p:txBody>
        </p:sp>
        <p:sp>
          <p:nvSpPr>
            <p:cNvPr id="133" name="Скругленный прямоугольник 132"/>
            <p:cNvSpPr/>
            <p:nvPr/>
          </p:nvSpPr>
          <p:spPr>
            <a:xfrm>
              <a:off x="8574890" y="103317"/>
              <a:ext cx="871316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Финансовый план</a:t>
              </a:r>
            </a:p>
          </p:txBody>
        </p:sp>
        <p:sp>
          <p:nvSpPr>
            <p:cNvPr id="134" name="Скругленный прямоугольник 133"/>
            <p:cNvSpPr/>
            <p:nvPr/>
          </p:nvSpPr>
          <p:spPr>
            <a:xfrm>
              <a:off x="9565920" y="103317"/>
              <a:ext cx="738610" cy="328977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tx1"/>
                  </a:solidFill>
                  <a:latin typeface="Montserrat ExtraBold" panose="00000900000000000000" pitchFamily="2" charset="-52"/>
                </a:rPr>
                <a:t>Риски</a:t>
              </a:r>
              <a:br>
                <a:rPr lang="ru-RU" sz="800" dirty="0">
                  <a:solidFill>
                    <a:schemeClr val="tx1"/>
                  </a:solidFill>
                  <a:latin typeface="Montserrat ExtraBold" panose="00000900000000000000" pitchFamily="2" charset="-52"/>
                </a:rPr>
              </a:br>
              <a:r>
                <a:rPr lang="ru-RU" sz="800" dirty="0">
                  <a:solidFill>
                    <a:schemeClr val="tx1"/>
                  </a:solidFill>
                  <a:latin typeface="Montserrat ExtraBold" panose="00000900000000000000" pitchFamily="2" charset="-52"/>
                </a:rPr>
                <a:t>и гарантии</a:t>
              </a:r>
            </a:p>
          </p:txBody>
        </p:sp>
        <p:sp>
          <p:nvSpPr>
            <p:cNvPr id="135" name="Скругленный прямоугольник 134"/>
            <p:cNvSpPr/>
            <p:nvPr/>
          </p:nvSpPr>
          <p:spPr>
            <a:xfrm>
              <a:off x="10424241" y="103317"/>
              <a:ext cx="802559" cy="328976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Заключение</a:t>
              </a:r>
            </a:p>
          </p:txBody>
        </p:sp>
        <p:grpSp>
          <p:nvGrpSpPr>
            <p:cNvPr id="136" name="Группа 135"/>
            <p:cNvGrpSpPr/>
            <p:nvPr/>
          </p:nvGrpSpPr>
          <p:grpSpPr>
            <a:xfrm>
              <a:off x="879007" y="109521"/>
              <a:ext cx="9485380" cy="316568"/>
              <a:chOff x="879007" y="69805"/>
              <a:chExt cx="9485380" cy="396000"/>
            </a:xfrm>
          </p:grpSpPr>
          <p:cxnSp>
            <p:nvCxnSpPr>
              <p:cNvPr id="137" name="Прямая соединительная линия 136"/>
              <p:cNvCxnSpPr/>
              <p:nvPr/>
            </p:nvCxnSpPr>
            <p:spPr>
              <a:xfrm>
                <a:off x="87900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Прямая соединительная линия 137"/>
              <p:cNvCxnSpPr/>
              <p:nvPr/>
            </p:nvCxnSpPr>
            <p:spPr>
              <a:xfrm>
                <a:off x="1948682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Прямая соединительная линия 138"/>
              <p:cNvCxnSpPr/>
              <p:nvPr/>
            </p:nvCxnSpPr>
            <p:spPr>
              <a:xfrm>
                <a:off x="3971576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Прямая соединительная линия 139"/>
              <p:cNvCxnSpPr/>
              <p:nvPr/>
            </p:nvCxnSpPr>
            <p:spPr>
              <a:xfrm>
                <a:off x="5807540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Прямая соединительная линия 140"/>
              <p:cNvCxnSpPr/>
              <p:nvPr/>
            </p:nvCxnSpPr>
            <p:spPr>
              <a:xfrm>
                <a:off x="7217949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Прямая соединительная линия 141"/>
              <p:cNvCxnSpPr/>
              <p:nvPr/>
            </p:nvCxnSpPr>
            <p:spPr>
              <a:xfrm>
                <a:off x="851503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Прямая соединительная линия 142"/>
              <p:cNvCxnSpPr/>
              <p:nvPr/>
            </p:nvCxnSpPr>
            <p:spPr>
              <a:xfrm>
                <a:off x="950606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Прямая соединительная линия 143"/>
              <p:cNvCxnSpPr/>
              <p:nvPr/>
            </p:nvCxnSpPr>
            <p:spPr>
              <a:xfrm>
                <a:off x="1036438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" name="Прямоугольник 40"/>
          <p:cNvSpPr/>
          <p:nvPr/>
        </p:nvSpPr>
        <p:spPr>
          <a:xfrm>
            <a:off x="351657" y="707484"/>
            <a:ext cx="11505381" cy="15388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4000"/>
              </a:lnSpc>
            </a:pPr>
            <a:r>
              <a:rPr lang="ru-RU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Для успеха в отрасли необходимо тщательно анализировать рынок, разрабатывать уникальные предложения, </a:t>
            </a:r>
            <a:r>
              <a:rPr lang="ru-RU" sz="3200" b="1" dirty="0">
                <a:solidFill>
                  <a:srgbClr val="D8294C"/>
                </a:solidFill>
                <a:latin typeface="Montserrat" panose="00000500000000000000" pitchFamily="2" charset="-52"/>
              </a:rPr>
              <a:t>учитывая возможные риски</a:t>
            </a:r>
          </a:p>
        </p:txBody>
      </p:sp>
      <p:sp>
        <p:nvSpPr>
          <p:cNvPr id="271" name="Скругленный прямоугольник 270"/>
          <p:cNvSpPr/>
          <p:nvPr/>
        </p:nvSpPr>
        <p:spPr>
          <a:xfrm>
            <a:off x="330711" y="2474986"/>
            <a:ext cx="6947095" cy="4033043"/>
          </a:xfrm>
          <a:prstGeom prst="roundRect">
            <a:avLst>
              <a:gd name="adj" fmla="val 308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80" name="Группа 279"/>
          <p:cNvGrpSpPr/>
          <p:nvPr/>
        </p:nvGrpSpPr>
        <p:grpSpPr>
          <a:xfrm>
            <a:off x="391963" y="2541210"/>
            <a:ext cx="6766128" cy="204624"/>
            <a:chOff x="516916" y="2114434"/>
            <a:chExt cx="11072573" cy="204624"/>
          </a:xfrm>
        </p:grpSpPr>
        <p:sp>
          <p:nvSpPr>
            <p:cNvPr id="443" name="Прямоугольник 442"/>
            <p:cNvSpPr/>
            <p:nvPr/>
          </p:nvSpPr>
          <p:spPr>
            <a:xfrm>
              <a:off x="516916" y="2114434"/>
              <a:ext cx="10494727" cy="1692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ru-RU" sz="1100" dirty="0">
                  <a:solidFill>
                    <a:srgbClr val="777777"/>
                  </a:solidFill>
                  <a:latin typeface="Montserrat Medium" panose="00000600000000000000" pitchFamily="2" charset="-52"/>
                </a:rPr>
                <a:t>Риски, которые стоит учесть при открытии маникюрной студии</a:t>
              </a:r>
            </a:p>
          </p:txBody>
        </p:sp>
        <p:cxnSp>
          <p:nvCxnSpPr>
            <p:cNvPr id="444" name="Прямая соединительная линия 443"/>
            <p:cNvCxnSpPr/>
            <p:nvPr/>
          </p:nvCxnSpPr>
          <p:spPr>
            <a:xfrm>
              <a:off x="516918" y="2319058"/>
              <a:ext cx="11072571" cy="0"/>
            </a:xfrm>
            <a:prstGeom prst="line">
              <a:avLst/>
            </a:prstGeom>
            <a:ln w="12700" cap="rnd">
              <a:solidFill>
                <a:srgbClr val="969696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1" name="Скругленный прямоугольник 280"/>
          <p:cNvSpPr/>
          <p:nvPr/>
        </p:nvSpPr>
        <p:spPr>
          <a:xfrm>
            <a:off x="452256" y="2909839"/>
            <a:ext cx="6705835" cy="572952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282" name="Прямоугольник 281"/>
          <p:cNvSpPr/>
          <p:nvPr/>
        </p:nvSpPr>
        <p:spPr>
          <a:xfrm>
            <a:off x="1010669" y="3111675"/>
            <a:ext cx="1175943" cy="1692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Конкуренция</a:t>
            </a:r>
          </a:p>
        </p:txBody>
      </p:sp>
      <p:sp>
        <p:nvSpPr>
          <p:cNvPr id="461" name="Скругленный прямоугольник 460"/>
          <p:cNvSpPr/>
          <p:nvPr/>
        </p:nvSpPr>
        <p:spPr>
          <a:xfrm>
            <a:off x="452256" y="3646796"/>
            <a:ext cx="6705835" cy="572952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462" name="Прямоугольник 461"/>
          <p:cNvSpPr/>
          <p:nvPr/>
        </p:nvSpPr>
        <p:spPr>
          <a:xfrm>
            <a:off x="1010669" y="3763994"/>
            <a:ext cx="1511551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Законодательство и лицензирование</a:t>
            </a:r>
          </a:p>
        </p:txBody>
      </p:sp>
      <p:sp>
        <p:nvSpPr>
          <p:cNvPr id="477" name="Скругленный прямоугольник 476"/>
          <p:cNvSpPr/>
          <p:nvPr/>
        </p:nvSpPr>
        <p:spPr>
          <a:xfrm>
            <a:off x="452256" y="4383753"/>
            <a:ext cx="6705835" cy="572952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478" name="Прямоугольник 477"/>
          <p:cNvSpPr/>
          <p:nvPr/>
        </p:nvSpPr>
        <p:spPr>
          <a:xfrm>
            <a:off x="1010669" y="4500951"/>
            <a:ext cx="1240607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Гигиена</a:t>
            </a:r>
            <a:b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</a:br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и безопасность</a:t>
            </a:r>
          </a:p>
        </p:txBody>
      </p:sp>
      <p:sp>
        <p:nvSpPr>
          <p:cNvPr id="493" name="Скругленный прямоугольник 492"/>
          <p:cNvSpPr/>
          <p:nvPr/>
        </p:nvSpPr>
        <p:spPr>
          <a:xfrm>
            <a:off x="452256" y="5122818"/>
            <a:ext cx="6705835" cy="572952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494" name="Прямоугольник 493"/>
          <p:cNvSpPr/>
          <p:nvPr/>
        </p:nvSpPr>
        <p:spPr>
          <a:xfrm>
            <a:off x="1010669" y="5238000"/>
            <a:ext cx="1175943" cy="338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Финансовые риски</a:t>
            </a:r>
          </a:p>
        </p:txBody>
      </p:sp>
      <p:sp>
        <p:nvSpPr>
          <p:cNvPr id="509" name="Скругленный прямоугольник 508"/>
          <p:cNvSpPr/>
          <p:nvPr/>
        </p:nvSpPr>
        <p:spPr>
          <a:xfrm>
            <a:off x="452256" y="5857665"/>
            <a:ext cx="6705835" cy="572952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510" name="Прямоугольник 509"/>
          <p:cNvSpPr/>
          <p:nvPr/>
        </p:nvSpPr>
        <p:spPr>
          <a:xfrm>
            <a:off x="1010669" y="5974955"/>
            <a:ext cx="1175943" cy="338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Управление персоналом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2518410" y="2992008"/>
            <a:ext cx="0" cy="408615"/>
          </a:xfrm>
          <a:prstGeom prst="line">
            <a:avLst/>
          </a:prstGeom>
          <a:ln w="25400" cap="rnd">
            <a:solidFill>
              <a:srgbClr val="D829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5" name="Прямая соединительная линия 524"/>
          <p:cNvCxnSpPr/>
          <p:nvPr/>
        </p:nvCxnSpPr>
        <p:spPr>
          <a:xfrm>
            <a:off x="2518410" y="3728965"/>
            <a:ext cx="0" cy="408615"/>
          </a:xfrm>
          <a:prstGeom prst="line">
            <a:avLst/>
          </a:prstGeom>
          <a:ln w="25400" cap="rnd">
            <a:solidFill>
              <a:srgbClr val="D829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6" name="Прямая соединительная линия 525"/>
          <p:cNvCxnSpPr/>
          <p:nvPr/>
        </p:nvCxnSpPr>
        <p:spPr>
          <a:xfrm>
            <a:off x="2518410" y="4465922"/>
            <a:ext cx="0" cy="408615"/>
          </a:xfrm>
          <a:prstGeom prst="line">
            <a:avLst/>
          </a:prstGeom>
          <a:ln w="25400" cap="rnd">
            <a:solidFill>
              <a:srgbClr val="D829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7" name="Прямая соединительная линия 526"/>
          <p:cNvCxnSpPr/>
          <p:nvPr/>
        </p:nvCxnSpPr>
        <p:spPr>
          <a:xfrm>
            <a:off x="2518410" y="5202879"/>
            <a:ext cx="0" cy="408615"/>
          </a:xfrm>
          <a:prstGeom prst="line">
            <a:avLst/>
          </a:prstGeom>
          <a:ln w="25400" cap="rnd">
            <a:solidFill>
              <a:srgbClr val="D829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8" name="Прямая соединительная линия 527"/>
          <p:cNvCxnSpPr/>
          <p:nvPr/>
        </p:nvCxnSpPr>
        <p:spPr>
          <a:xfrm>
            <a:off x="2518410" y="5939834"/>
            <a:ext cx="0" cy="408615"/>
          </a:xfrm>
          <a:prstGeom prst="line">
            <a:avLst/>
          </a:prstGeom>
          <a:ln w="25400" cap="rnd">
            <a:solidFill>
              <a:srgbClr val="D829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9" name="Прямоугольник 528"/>
          <p:cNvSpPr/>
          <p:nvPr/>
        </p:nvSpPr>
        <p:spPr>
          <a:xfrm>
            <a:off x="2644674" y="3042426"/>
            <a:ext cx="4838166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  <a:buClr>
                <a:srgbClr val="404040"/>
              </a:buClr>
            </a:pPr>
            <a:r>
              <a:rPr lang="ru-RU" sz="1000" dirty="0">
                <a:solidFill>
                  <a:srgbClr val="404040"/>
                </a:solidFill>
                <a:latin typeface="Montserrat Medium" panose="00000600000000000000" pitchFamily="2" charset="-52"/>
              </a:rPr>
              <a:t>В индустрии красоты существует высокая конкуренция,</a:t>
            </a:r>
            <a:br>
              <a:rPr lang="ru-RU" sz="1000" dirty="0">
                <a:solidFill>
                  <a:srgbClr val="404040"/>
                </a:solidFill>
                <a:latin typeface="Montserrat Medium" panose="00000600000000000000" pitchFamily="2" charset="-52"/>
              </a:rPr>
            </a:br>
            <a:r>
              <a:rPr lang="ru-RU" sz="1000" dirty="0">
                <a:solidFill>
                  <a:srgbClr val="404040"/>
                </a:solidFill>
                <a:latin typeface="Montserrat Medium" panose="00000600000000000000" pitchFamily="2" charset="-52"/>
              </a:rPr>
              <a:t>что может затруднить привлечение клиентов</a:t>
            </a:r>
          </a:p>
        </p:txBody>
      </p:sp>
      <p:sp>
        <p:nvSpPr>
          <p:cNvPr id="530" name="Прямоугольник 529"/>
          <p:cNvSpPr/>
          <p:nvPr/>
        </p:nvSpPr>
        <p:spPr>
          <a:xfrm>
            <a:off x="2644674" y="3698962"/>
            <a:ext cx="4411446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  <a:buClr>
                <a:srgbClr val="404040"/>
              </a:buClr>
            </a:pPr>
            <a:r>
              <a:rPr lang="ru-RU" sz="1000" dirty="0">
                <a:solidFill>
                  <a:srgbClr val="404040"/>
                </a:solidFill>
                <a:latin typeface="Montserrat Medium" panose="00000600000000000000" pitchFamily="2" charset="-52"/>
              </a:rPr>
              <a:t>Для открытия студии требуются разрешения, лицензии</a:t>
            </a:r>
            <a:br>
              <a:rPr lang="ru-RU" sz="1000" dirty="0">
                <a:solidFill>
                  <a:srgbClr val="404040"/>
                </a:solidFill>
                <a:latin typeface="Montserrat Medium" panose="00000600000000000000" pitchFamily="2" charset="-52"/>
              </a:rPr>
            </a:br>
            <a:r>
              <a:rPr lang="ru-RU" sz="1000" dirty="0">
                <a:solidFill>
                  <a:srgbClr val="404040"/>
                </a:solidFill>
                <a:latin typeface="Montserrat Medium" panose="00000600000000000000" pitchFamily="2" charset="-52"/>
              </a:rPr>
              <a:t>и соответствие стандартам безопасности и гигиены. Несоблюдение может привести к штрафам и закрытию бизнеса</a:t>
            </a:r>
          </a:p>
        </p:txBody>
      </p:sp>
      <p:sp>
        <p:nvSpPr>
          <p:cNvPr id="531" name="Прямоугольник 530"/>
          <p:cNvSpPr/>
          <p:nvPr/>
        </p:nvSpPr>
        <p:spPr>
          <a:xfrm>
            <a:off x="2644674" y="4439397"/>
            <a:ext cx="4411446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  <a:buClr>
                <a:srgbClr val="404040"/>
              </a:buClr>
            </a:pPr>
            <a:r>
              <a:rPr lang="ru-RU" sz="1000" dirty="0">
                <a:solidFill>
                  <a:srgbClr val="404040"/>
                </a:solidFill>
                <a:latin typeface="Montserrat Medium" panose="00000600000000000000" pitchFamily="2" charset="-52"/>
              </a:rPr>
              <a:t>Важно строго соблюдать правила гигиены и безопасности</a:t>
            </a:r>
            <a:br>
              <a:rPr lang="ru-RU" sz="1000" dirty="0">
                <a:solidFill>
                  <a:srgbClr val="404040"/>
                </a:solidFill>
                <a:latin typeface="Montserrat Medium" panose="00000600000000000000" pitchFamily="2" charset="-52"/>
              </a:rPr>
            </a:br>
            <a:r>
              <a:rPr lang="ru-RU" sz="1000" dirty="0">
                <a:solidFill>
                  <a:srgbClr val="404040"/>
                </a:solidFill>
                <a:latin typeface="Montserrat Medium" panose="00000600000000000000" pitchFamily="2" charset="-52"/>
              </a:rPr>
              <a:t>при работе с клиентами, чтобы избежать передачи инфекций</a:t>
            </a:r>
            <a:br>
              <a:rPr lang="ru-RU" sz="1000" dirty="0">
                <a:solidFill>
                  <a:srgbClr val="404040"/>
                </a:solidFill>
                <a:latin typeface="Montserrat Medium" panose="00000600000000000000" pitchFamily="2" charset="-52"/>
              </a:rPr>
            </a:br>
            <a:r>
              <a:rPr lang="ru-RU" sz="1000" dirty="0">
                <a:solidFill>
                  <a:srgbClr val="404040"/>
                </a:solidFill>
                <a:latin typeface="Montserrat Medium" panose="00000600000000000000" pitchFamily="2" charset="-52"/>
              </a:rPr>
              <a:t>и болезней</a:t>
            </a:r>
          </a:p>
        </p:txBody>
      </p:sp>
      <p:sp>
        <p:nvSpPr>
          <p:cNvPr id="532" name="Прямоугольник 531"/>
          <p:cNvSpPr/>
          <p:nvPr/>
        </p:nvSpPr>
        <p:spPr>
          <a:xfrm>
            <a:off x="2644674" y="5178462"/>
            <a:ext cx="3683929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  <a:buClr>
                <a:srgbClr val="404040"/>
              </a:buClr>
            </a:pPr>
            <a:r>
              <a:rPr lang="ru-RU" sz="1000" dirty="0">
                <a:solidFill>
                  <a:srgbClr val="404040"/>
                </a:solidFill>
                <a:latin typeface="Montserrat Medium" panose="00000600000000000000" pitchFamily="2" charset="-52"/>
              </a:rPr>
              <a:t>Открытие студии требует значительных инвестиций в аренду помещения, покупку оборудования, закупку инвентаря и оплату персонала</a:t>
            </a:r>
          </a:p>
        </p:txBody>
      </p:sp>
      <p:sp>
        <p:nvSpPr>
          <p:cNvPr id="533" name="Прямоугольник 532"/>
          <p:cNvSpPr/>
          <p:nvPr/>
        </p:nvSpPr>
        <p:spPr>
          <a:xfrm>
            <a:off x="2644674" y="5913309"/>
            <a:ext cx="4411446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300"/>
              </a:spcAft>
              <a:buClr>
                <a:srgbClr val="404040"/>
              </a:buClr>
            </a:pPr>
            <a:r>
              <a:rPr lang="ru-RU" sz="1000" dirty="0" err="1">
                <a:solidFill>
                  <a:srgbClr val="404040"/>
                </a:solidFill>
                <a:latin typeface="Montserrat Medium" panose="00000600000000000000" pitchFamily="2" charset="-52"/>
              </a:rPr>
              <a:t>Найм</a:t>
            </a:r>
            <a:r>
              <a:rPr lang="ru-RU" sz="1000" dirty="0">
                <a:solidFill>
                  <a:srgbClr val="404040"/>
                </a:solidFill>
                <a:latin typeface="Montserrat Medium" panose="00000600000000000000" pitchFamily="2" charset="-52"/>
              </a:rPr>
              <a:t> и управление квалифицированным персоналом может быть сложной задачей, их обучение и мотивация важно</a:t>
            </a:r>
            <a:br>
              <a:rPr lang="ru-RU" sz="1000" dirty="0">
                <a:solidFill>
                  <a:srgbClr val="404040"/>
                </a:solidFill>
                <a:latin typeface="Montserrat Medium" panose="00000600000000000000" pitchFamily="2" charset="-52"/>
              </a:rPr>
            </a:br>
            <a:r>
              <a:rPr lang="ru-RU" sz="1000" dirty="0">
                <a:solidFill>
                  <a:srgbClr val="404040"/>
                </a:solidFill>
                <a:latin typeface="Montserrat Medium" panose="00000600000000000000" pitchFamily="2" charset="-52"/>
              </a:rPr>
              <a:t>для успеха бизнеса </a:t>
            </a:r>
          </a:p>
        </p:txBody>
      </p:sp>
      <p:grpSp>
        <p:nvGrpSpPr>
          <p:cNvPr id="20" name="Группа 19"/>
          <p:cNvGrpSpPr/>
          <p:nvPr/>
        </p:nvGrpSpPr>
        <p:grpSpPr>
          <a:xfrm>
            <a:off x="494997" y="2978475"/>
            <a:ext cx="452439" cy="435683"/>
            <a:chOff x="494997" y="2978475"/>
            <a:chExt cx="452439" cy="435683"/>
          </a:xfrm>
        </p:grpSpPr>
        <p:sp>
          <p:nvSpPr>
            <p:cNvPr id="283" name="Скругленный прямоугольник 282"/>
            <p:cNvSpPr/>
            <p:nvPr/>
          </p:nvSpPr>
          <p:spPr>
            <a:xfrm>
              <a:off x="494997" y="2978475"/>
              <a:ext cx="452439" cy="435683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534" name="Group 4312">
              <a:extLst>
                <a:ext uri="{FF2B5EF4-FFF2-40B4-BE49-F238E27FC236}">
                  <a16:creationId xmlns:a16="http://schemas.microsoft.com/office/drawing/2014/main" id="{C1D9BFC4-B84B-48E7-9A71-8CD7CBA7F838}"/>
                </a:ext>
              </a:extLst>
            </p:cNvPr>
            <p:cNvGrpSpPr/>
            <p:nvPr/>
          </p:nvGrpSpPr>
          <p:grpSpPr>
            <a:xfrm>
              <a:off x="546505" y="3057220"/>
              <a:ext cx="349422" cy="278193"/>
              <a:chOff x="4300538" y="5889625"/>
              <a:chExt cx="825501" cy="657225"/>
            </a:xfrm>
          </p:grpSpPr>
          <p:sp>
            <p:nvSpPr>
              <p:cNvPr id="535" name="Freeform 150">
                <a:extLst>
                  <a:ext uri="{FF2B5EF4-FFF2-40B4-BE49-F238E27FC236}">
                    <a16:creationId xmlns:a16="http://schemas.microsoft.com/office/drawing/2014/main" id="{94F36FA0-D2E3-4239-9EBA-BCBE31D988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0538" y="5949950"/>
                <a:ext cx="690563" cy="596900"/>
              </a:xfrm>
              <a:custGeom>
                <a:avLst/>
                <a:gdLst>
                  <a:gd name="T0" fmla="*/ 0 w 435"/>
                  <a:gd name="T1" fmla="*/ 255 h 376"/>
                  <a:gd name="T2" fmla="*/ 435 w 435"/>
                  <a:gd name="T3" fmla="*/ 376 h 376"/>
                  <a:gd name="T4" fmla="*/ 435 w 435"/>
                  <a:gd name="T5" fmla="*/ 225 h 376"/>
                  <a:gd name="T6" fmla="*/ 291 w 435"/>
                  <a:gd name="T7" fmla="*/ 188 h 376"/>
                  <a:gd name="T8" fmla="*/ 291 w 435"/>
                  <a:gd name="T9" fmla="*/ 32 h 376"/>
                  <a:gd name="T10" fmla="*/ 140 w 435"/>
                  <a:gd name="T11" fmla="*/ 0 h 376"/>
                  <a:gd name="T12" fmla="*/ 140 w 435"/>
                  <a:gd name="T13" fmla="*/ 109 h 376"/>
                  <a:gd name="T14" fmla="*/ 0 w 435"/>
                  <a:gd name="T15" fmla="*/ 76 h 376"/>
                  <a:gd name="T16" fmla="*/ 0 w 435"/>
                  <a:gd name="T17" fmla="*/ 255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35" h="376">
                    <a:moveTo>
                      <a:pt x="0" y="255"/>
                    </a:moveTo>
                    <a:lnTo>
                      <a:pt x="435" y="376"/>
                    </a:lnTo>
                    <a:lnTo>
                      <a:pt x="435" y="225"/>
                    </a:lnTo>
                    <a:lnTo>
                      <a:pt x="291" y="188"/>
                    </a:lnTo>
                    <a:lnTo>
                      <a:pt x="291" y="32"/>
                    </a:lnTo>
                    <a:lnTo>
                      <a:pt x="140" y="0"/>
                    </a:lnTo>
                    <a:lnTo>
                      <a:pt x="140" y="109"/>
                    </a:lnTo>
                    <a:lnTo>
                      <a:pt x="0" y="76"/>
                    </a:lnTo>
                    <a:lnTo>
                      <a:pt x="0" y="255"/>
                    </a:lnTo>
                    <a:close/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36" name="Freeform 151">
                <a:extLst>
                  <a:ext uri="{FF2B5EF4-FFF2-40B4-BE49-F238E27FC236}">
                    <a16:creationId xmlns:a16="http://schemas.microsoft.com/office/drawing/2014/main" id="{973023C4-95E9-4843-88B4-47AF7790ED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0101" y="6046788"/>
                <a:ext cx="41275" cy="103188"/>
              </a:xfrm>
              <a:custGeom>
                <a:avLst/>
                <a:gdLst>
                  <a:gd name="T0" fmla="*/ 0 w 26"/>
                  <a:gd name="T1" fmla="*/ 13 h 65"/>
                  <a:gd name="T2" fmla="*/ 26 w 26"/>
                  <a:gd name="T3" fmla="*/ 0 h 65"/>
                  <a:gd name="T4" fmla="*/ 26 w 26"/>
                  <a:gd name="T5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6" h="65">
                    <a:moveTo>
                      <a:pt x="0" y="13"/>
                    </a:moveTo>
                    <a:lnTo>
                      <a:pt x="26" y="0"/>
                    </a:lnTo>
                    <a:lnTo>
                      <a:pt x="26" y="65"/>
                    </a:ln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37" name="Freeform 152">
                <a:extLst>
                  <a:ext uri="{FF2B5EF4-FFF2-40B4-BE49-F238E27FC236}">
                    <a16:creationId xmlns:a16="http://schemas.microsoft.com/office/drawing/2014/main" id="{9FE71DA7-1956-4D5E-AD32-E8D3100C19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4676" y="6157913"/>
                <a:ext cx="55563" cy="120650"/>
              </a:xfrm>
              <a:custGeom>
                <a:avLst/>
                <a:gdLst>
                  <a:gd name="T0" fmla="*/ 35 w 35"/>
                  <a:gd name="T1" fmla="*/ 76 h 76"/>
                  <a:gd name="T2" fmla="*/ 0 w 35"/>
                  <a:gd name="T3" fmla="*/ 66 h 76"/>
                  <a:gd name="T4" fmla="*/ 0 w 35"/>
                  <a:gd name="T5" fmla="*/ 33 h 76"/>
                  <a:gd name="T6" fmla="*/ 35 w 35"/>
                  <a:gd name="T7" fmla="*/ 42 h 76"/>
                  <a:gd name="T8" fmla="*/ 35 w 35"/>
                  <a:gd name="T9" fmla="*/ 11 h 76"/>
                  <a:gd name="T10" fmla="*/ 0 w 35"/>
                  <a:gd name="T11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76">
                    <a:moveTo>
                      <a:pt x="35" y="76"/>
                    </a:moveTo>
                    <a:lnTo>
                      <a:pt x="0" y="66"/>
                    </a:lnTo>
                    <a:lnTo>
                      <a:pt x="0" y="33"/>
                    </a:lnTo>
                    <a:lnTo>
                      <a:pt x="35" y="42"/>
                    </a:lnTo>
                    <a:lnTo>
                      <a:pt x="35" y="11"/>
                    </a:ln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38" name="Freeform 153">
                <a:extLst>
                  <a:ext uri="{FF2B5EF4-FFF2-40B4-BE49-F238E27FC236}">
                    <a16:creationId xmlns:a16="http://schemas.microsoft.com/office/drawing/2014/main" id="{2156E221-3A0D-4D40-9D7F-2B849F8F64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7588" y="6330950"/>
                <a:ext cx="55563" cy="119063"/>
              </a:xfrm>
              <a:custGeom>
                <a:avLst/>
                <a:gdLst>
                  <a:gd name="T0" fmla="*/ 0 w 35"/>
                  <a:gd name="T1" fmla="*/ 66 h 75"/>
                  <a:gd name="T2" fmla="*/ 35 w 35"/>
                  <a:gd name="T3" fmla="*/ 75 h 75"/>
                  <a:gd name="T4" fmla="*/ 35 w 35"/>
                  <a:gd name="T5" fmla="*/ 9 h 75"/>
                  <a:gd name="T6" fmla="*/ 0 w 35"/>
                  <a:gd name="T7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5" h="75">
                    <a:moveTo>
                      <a:pt x="0" y="66"/>
                    </a:moveTo>
                    <a:lnTo>
                      <a:pt x="35" y="75"/>
                    </a:lnTo>
                    <a:lnTo>
                      <a:pt x="35" y="9"/>
                    </a:ln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39" name="Line 154">
                <a:extLst>
                  <a:ext uri="{FF2B5EF4-FFF2-40B4-BE49-F238E27FC236}">
                    <a16:creationId xmlns:a16="http://schemas.microsoft.com/office/drawing/2014/main" id="{BEB6FABB-3270-427A-A5B8-93B64437F9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827588" y="6383338"/>
                <a:ext cx="55563" cy="14288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40" name="Line 155">
                <a:extLst>
                  <a:ext uri="{FF2B5EF4-FFF2-40B4-BE49-F238E27FC236}">
                    <a16:creationId xmlns:a16="http://schemas.microsoft.com/office/drawing/2014/main" id="{6E17753F-E624-4710-B030-7FA205B6C5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2501" y="6184900"/>
                <a:ext cx="150813" cy="63500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41" name="Line 156">
                <a:extLst>
                  <a:ext uri="{FF2B5EF4-FFF2-40B4-BE49-F238E27FC236}">
                    <a16:creationId xmlns:a16="http://schemas.microsoft.com/office/drawing/2014/main" id="{F1A3653C-A2D2-45CC-BA17-61A93857AED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2501" y="5935663"/>
                <a:ext cx="150813" cy="65088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42" name="Line 157">
                <a:extLst>
                  <a:ext uri="{FF2B5EF4-FFF2-40B4-BE49-F238E27FC236}">
                    <a16:creationId xmlns:a16="http://schemas.microsoft.com/office/drawing/2014/main" id="{862A6596-4BED-4F09-A352-5268691EA8E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300538" y="6015038"/>
                <a:ext cx="160338" cy="55563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43" name="Line 158">
                <a:extLst>
                  <a:ext uri="{FF2B5EF4-FFF2-40B4-BE49-F238E27FC236}">
                    <a16:creationId xmlns:a16="http://schemas.microsoft.com/office/drawing/2014/main" id="{1672D206-787D-43C7-AA76-DC04B878959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991101" y="6240463"/>
                <a:ext cx="134938" cy="66675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44" name="Freeform 159">
                <a:extLst>
                  <a:ext uri="{FF2B5EF4-FFF2-40B4-BE49-F238E27FC236}">
                    <a16:creationId xmlns:a16="http://schemas.microsoft.com/office/drawing/2014/main" id="{ADCF7E4C-1243-49CB-AFAC-270C60DBE3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2788" y="5889625"/>
                <a:ext cx="603250" cy="654050"/>
              </a:xfrm>
              <a:custGeom>
                <a:avLst/>
                <a:gdLst>
                  <a:gd name="T0" fmla="*/ 295 w 380"/>
                  <a:gd name="T1" fmla="*/ 412 h 412"/>
                  <a:gd name="T2" fmla="*/ 380 w 380"/>
                  <a:gd name="T3" fmla="*/ 361 h 412"/>
                  <a:gd name="T4" fmla="*/ 380 w 380"/>
                  <a:gd name="T5" fmla="*/ 221 h 412"/>
                  <a:gd name="T6" fmla="*/ 246 w 380"/>
                  <a:gd name="T7" fmla="*/ 186 h 412"/>
                  <a:gd name="T8" fmla="*/ 246 w 380"/>
                  <a:gd name="T9" fmla="*/ 29 h 412"/>
                  <a:gd name="T10" fmla="*/ 103 w 380"/>
                  <a:gd name="T11" fmla="*/ 0 h 412"/>
                  <a:gd name="T12" fmla="*/ 0 w 380"/>
                  <a:gd name="T13" fmla="*/ 38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0" h="412">
                    <a:moveTo>
                      <a:pt x="295" y="412"/>
                    </a:moveTo>
                    <a:lnTo>
                      <a:pt x="380" y="361"/>
                    </a:lnTo>
                    <a:lnTo>
                      <a:pt x="380" y="221"/>
                    </a:lnTo>
                    <a:lnTo>
                      <a:pt x="246" y="186"/>
                    </a:lnTo>
                    <a:lnTo>
                      <a:pt x="246" y="29"/>
                    </a:lnTo>
                    <a:lnTo>
                      <a:pt x="103" y="0"/>
                    </a:lnTo>
                    <a:lnTo>
                      <a:pt x="0" y="38"/>
                    </a:ln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21" name="Группа 20"/>
          <p:cNvGrpSpPr/>
          <p:nvPr/>
        </p:nvGrpSpPr>
        <p:grpSpPr>
          <a:xfrm>
            <a:off x="494997" y="3715432"/>
            <a:ext cx="452439" cy="435683"/>
            <a:chOff x="494997" y="3715432"/>
            <a:chExt cx="452439" cy="435683"/>
          </a:xfrm>
        </p:grpSpPr>
        <p:sp>
          <p:nvSpPr>
            <p:cNvPr id="463" name="Скругленный прямоугольник 462"/>
            <p:cNvSpPr/>
            <p:nvPr/>
          </p:nvSpPr>
          <p:spPr>
            <a:xfrm>
              <a:off x="494997" y="3715432"/>
              <a:ext cx="452439" cy="435683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545" name="Group 4192">
              <a:extLst>
                <a:ext uri="{FF2B5EF4-FFF2-40B4-BE49-F238E27FC236}">
                  <a16:creationId xmlns:a16="http://schemas.microsoft.com/office/drawing/2014/main" id="{F57F381F-CA71-47B8-9609-72E7AEDA73D3}"/>
                </a:ext>
              </a:extLst>
            </p:cNvPr>
            <p:cNvGrpSpPr/>
            <p:nvPr/>
          </p:nvGrpSpPr>
          <p:grpSpPr>
            <a:xfrm>
              <a:off x="524776" y="3801503"/>
              <a:ext cx="392881" cy="263540"/>
              <a:chOff x="4764088" y="5983288"/>
              <a:chExt cx="1027112" cy="688975"/>
            </a:xfrm>
          </p:grpSpPr>
          <p:sp>
            <p:nvSpPr>
              <p:cNvPr id="546" name="Line 247">
                <a:extLst>
                  <a:ext uri="{FF2B5EF4-FFF2-40B4-BE49-F238E27FC236}">
                    <a16:creationId xmlns:a16="http://schemas.microsoft.com/office/drawing/2014/main" id="{90C36B18-F107-4B23-AB10-AE0369682F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045075" y="6200775"/>
                <a:ext cx="0" cy="323850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47" name="Line 248">
                <a:extLst>
                  <a:ext uri="{FF2B5EF4-FFF2-40B4-BE49-F238E27FC236}">
                    <a16:creationId xmlns:a16="http://schemas.microsoft.com/office/drawing/2014/main" id="{C192FE99-5993-40BF-9EAE-7AFE43356A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200650" y="6200775"/>
                <a:ext cx="0" cy="323850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48" name="Line 249">
                <a:extLst>
                  <a:ext uri="{FF2B5EF4-FFF2-40B4-BE49-F238E27FC236}">
                    <a16:creationId xmlns:a16="http://schemas.microsoft.com/office/drawing/2014/main" id="{1A3BA8E2-8669-44DF-9882-C6CA0B48CB1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356225" y="6200775"/>
                <a:ext cx="0" cy="323850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49" name="Line 250">
                <a:extLst>
                  <a:ext uri="{FF2B5EF4-FFF2-40B4-BE49-F238E27FC236}">
                    <a16:creationId xmlns:a16="http://schemas.microsoft.com/office/drawing/2014/main" id="{983B1555-B5D8-49E2-A1EB-85E134796BF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07038" y="6200775"/>
                <a:ext cx="0" cy="323850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0" name="Line 251">
                <a:extLst>
                  <a:ext uri="{FF2B5EF4-FFF2-40B4-BE49-F238E27FC236}">
                    <a16:creationId xmlns:a16="http://schemas.microsoft.com/office/drawing/2014/main" id="{46F15DD3-86BF-4752-9E66-A39B5002BAD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764088" y="6672263"/>
                <a:ext cx="1027112" cy="0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1" name="Freeform 252">
                <a:extLst>
                  <a:ext uri="{FF2B5EF4-FFF2-40B4-BE49-F238E27FC236}">
                    <a16:creationId xmlns:a16="http://schemas.microsoft.com/office/drawing/2014/main" id="{14C21238-63A7-4FE9-AB15-216AAD5B10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8875" y="5983288"/>
                <a:ext cx="617537" cy="211138"/>
              </a:xfrm>
              <a:custGeom>
                <a:avLst/>
                <a:gdLst>
                  <a:gd name="T0" fmla="*/ 0 w 389"/>
                  <a:gd name="T1" fmla="*/ 133 h 133"/>
                  <a:gd name="T2" fmla="*/ 389 w 389"/>
                  <a:gd name="T3" fmla="*/ 133 h 133"/>
                  <a:gd name="T4" fmla="*/ 389 w 389"/>
                  <a:gd name="T5" fmla="*/ 91 h 133"/>
                  <a:gd name="T6" fmla="*/ 194 w 389"/>
                  <a:gd name="T7" fmla="*/ 0 h 133"/>
                  <a:gd name="T8" fmla="*/ 0 w 389"/>
                  <a:gd name="T9" fmla="*/ 91 h 133"/>
                  <a:gd name="T10" fmla="*/ 0 w 389"/>
                  <a:gd name="T11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9" h="133">
                    <a:moveTo>
                      <a:pt x="0" y="133"/>
                    </a:moveTo>
                    <a:lnTo>
                      <a:pt x="389" y="133"/>
                    </a:lnTo>
                    <a:lnTo>
                      <a:pt x="389" y="91"/>
                    </a:lnTo>
                    <a:lnTo>
                      <a:pt x="194" y="0"/>
                    </a:lnTo>
                    <a:lnTo>
                      <a:pt x="0" y="91"/>
                    </a:lnTo>
                    <a:lnTo>
                      <a:pt x="0" y="133"/>
                    </a:lnTo>
                    <a:close/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2" name="Line 253">
                <a:extLst>
                  <a:ext uri="{FF2B5EF4-FFF2-40B4-BE49-F238E27FC236}">
                    <a16:creationId xmlns:a16="http://schemas.microsoft.com/office/drawing/2014/main" id="{B86D79DA-76A0-4C8B-B8F5-58AD2485E50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818063" y="6586538"/>
                <a:ext cx="917575" cy="0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3" name="Line 254">
                <a:extLst>
                  <a:ext uri="{FF2B5EF4-FFF2-40B4-BE49-F238E27FC236}">
                    <a16:creationId xmlns:a16="http://schemas.microsoft.com/office/drawing/2014/main" id="{D45BA7AF-53AA-4577-B1A8-889228FBD21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94263" y="6405563"/>
                <a:ext cx="0" cy="119063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4" name="Freeform 255">
                <a:extLst>
                  <a:ext uri="{FF2B5EF4-FFF2-40B4-BE49-F238E27FC236}">
                    <a16:creationId xmlns:a16="http://schemas.microsoft.com/office/drawing/2014/main" id="{25E07364-3D8C-4186-921B-110975285C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3938" y="6319838"/>
                <a:ext cx="149225" cy="79375"/>
              </a:xfrm>
              <a:custGeom>
                <a:avLst/>
                <a:gdLst>
                  <a:gd name="T0" fmla="*/ 94 w 94"/>
                  <a:gd name="T1" fmla="*/ 0 h 50"/>
                  <a:gd name="T2" fmla="*/ 0 w 94"/>
                  <a:gd name="T3" fmla="*/ 0 h 50"/>
                  <a:gd name="T4" fmla="*/ 0 w 94"/>
                  <a:gd name="T5" fmla="*/ 50 h 50"/>
                  <a:gd name="T6" fmla="*/ 94 w 94"/>
                  <a:gd name="T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4" h="50">
                    <a:moveTo>
                      <a:pt x="94" y="0"/>
                    </a:moveTo>
                    <a:lnTo>
                      <a:pt x="0" y="0"/>
                    </a:lnTo>
                    <a:lnTo>
                      <a:pt x="0" y="50"/>
                    </a:lnTo>
                    <a:lnTo>
                      <a:pt x="94" y="50"/>
                    </a:ln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5" name="Line 256">
                <a:extLst>
                  <a:ext uri="{FF2B5EF4-FFF2-40B4-BE49-F238E27FC236}">
                    <a16:creationId xmlns:a16="http://schemas.microsoft.com/office/drawing/2014/main" id="{BE1535D8-7512-4693-A281-3BFF525C895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662613" y="6405563"/>
                <a:ext cx="0" cy="119063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6" name="Freeform 257">
                <a:extLst>
                  <a:ext uri="{FF2B5EF4-FFF2-40B4-BE49-F238E27FC236}">
                    <a16:creationId xmlns:a16="http://schemas.microsoft.com/office/drawing/2014/main" id="{B14F7341-946E-479F-8D7B-21CE98A8A5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3713" y="6319838"/>
                <a:ext cx="146050" cy="79375"/>
              </a:xfrm>
              <a:custGeom>
                <a:avLst/>
                <a:gdLst>
                  <a:gd name="T0" fmla="*/ 0 w 92"/>
                  <a:gd name="T1" fmla="*/ 0 h 50"/>
                  <a:gd name="T2" fmla="*/ 92 w 92"/>
                  <a:gd name="T3" fmla="*/ 0 h 50"/>
                  <a:gd name="T4" fmla="*/ 92 w 92"/>
                  <a:gd name="T5" fmla="*/ 50 h 50"/>
                  <a:gd name="T6" fmla="*/ 0 w 92"/>
                  <a:gd name="T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2" h="50">
                    <a:moveTo>
                      <a:pt x="0" y="0"/>
                    </a:moveTo>
                    <a:lnTo>
                      <a:pt x="92" y="0"/>
                    </a:lnTo>
                    <a:lnTo>
                      <a:pt x="92" y="50"/>
                    </a:lnTo>
                    <a:lnTo>
                      <a:pt x="0" y="50"/>
                    </a:ln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22" name="Группа 21"/>
          <p:cNvGrpSpPr/>
          <p:nvPr/>
        </p:nvGrpSpPr>
        <p:grpSpPr>
          <a:xfrm>
            <a:off x="494997" y="4452389"/>
            <a:ext cx="452439" cy="435683"/>
            <a:chOff x="494997" y="4452389"/>
            <a:chExt cx="452439" cy="435683"/>
          </a:xfrm>
        </p:grpSpPr>
        <p:sp>
          <p:nvSpPr>
            <p:cNvPr id="479" name="Скругленный прямоугольник 478"/>
            <p:cNvSpPr/>
            <p:nvPr/>
          </p:nvSpPr>
          <p:spPr>
            <a:xfrm>
              <a:off x="494997" y="4452389"/>
              <a:ext cx="452439" cy="435683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557" name="Group 69">
              <a:extLst>
                <a:ext uri="{FF2B5EF4-FFF2-40B4-BE49-F238E27FC236}">
                  <a16:creationId xmlns:a16="http://schemas.microsoft.com/office/drawing/2014/main" id="{EEF9B552-EA61-47B7-BA83-5EFBD88AD618}"/>
                </a:ext>
              </a:extLst>
            </p:cNvPr>
            <p:cNvGrpSpPr/>
            <p:nvPr/>
          </p:nvGrpSpPr>
          <p:grpSpPr>
            <a:xfrm>
              <a:off x="583763" y="4501428"/>
              <a:ext cx="274907" cy="337605"/>
              <a:chOff x="5719524" y="943530"/>
              <a:chExt cx="542925" cy="666750"/>
            </a:xfrm>
          </p:grpSpPr>
          <p:sp>
            <p:nvSpPr>
              <p:cNvPr id="558" name="Freeform: Shape 6">
                <a:extLst>
                  <a:ext uri="{FF2B5EF4-FFF2-40B4-BE49-F238E27FC236}">
                    <a16:creationId xmlns:a16="http://schemas.microsoft.com/office/drawing/2014/main" id="{1A9C36C2-B736-4D22-AF35-C6105833A504}"/>
                  </a:ext>
                </a:extLst>
              </p:cNvPr>
              <p:cNvSpPr/>
              <p:nvPr/>
            </p:nvSpPr>
            <p:spPr>
              <a:xfrm>
                <a:off x="5755719" y="1172130"/>
                <a:ext cx="323850" cy="438150"/>
              </a:xfrm>
              <a:custGeom>
                <a:avLst/>
                <a:gdLst>
                  <a:gd name="connsiteX0" fmla="*/ 51197 w 323850"/>
                  <a:gd name="connsiteY0" fmla="*/ 17859 h 438150"/>
                  <a:gd name="connsiteX1" fmla="*/ 28337 w 323850"/>
                  <a:gd name="connsiteY1" fmla="*/ 146447 h 438150"/>
                  <a:gd name="connsiteX2" fmla="*/ 17859 w 323850"/>
                  <a:gd name="connsiteY2" fmla="*/ 235029 h 438150"/>
                  <a:gd name="connsiteX3" fmla="*/ 17859 w 323850"/>
                  <a:gd name="connsiteY3" fmla="*/ 428387 h 438150"/>
                  <a:gd name="connsiteX4" fmla="*/ 309324 w 323850"/>
                  <a:gd name="connsiteY4" fmla="*/ 428387 h 438150"/>
                  <a:gd name="connsiteX5" fmla="*/ 309324 w 323850"/>
                  <a:gd name="connsiteY5" fmla="*/ 272177 h 438150"/>
                  <a:gd name="connsiteX6" fmla="*/ 261699 w 323850"/>
                  <a:gd name="connsiteY6" fmla="*/ 187404 h 438150"/>
                  <a:gd name="connsiteX7" fmla="*/ 152162 w 323850"/>
                  <a:gd name="connsiteY7" fmla="*/ 50244 h 438150"/>
                  <a:gd name="connsiteX8" fmla="*/ 152162 w 323850"/>
                  <a:gd name="connsiteY8" fmla="*/ 17859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3850" h="438150">
                    <a:moveTo>
                      <a:pt x="51197" y="17859"/>
                    </a:moveTo>
                    <a:cubicBezTo>
                      <a:pt x="48339" y="38814"/>
                      <a:pt x="41672" y="86439"/>
                      <a:pt x="28337" y="146447"/>
                    </a:cubicBezTo>
                    <a:cubicBezTo>
                      <a:pt x="28337" y="146447"/>
                      <a:pt x="17859" y="194072"/>
                      <a:pt x="17859" y="235029"/>
                    </a:cubicBezTo>
                    <a:lnTo>
                      <a:pt x="17859" y="428387"/>
                    </a:lnTo>
                    <a:lnTo>
                      <a:pt x="309324" y="428387"/>
                    </a:lnTo>
                    <a:lnTo>
                      <a:pt x="309324" y="272177"/>
                    </a:lnTo>
                    <a:cubicBezTo>
                      <a:pt x="309324" y="272177"/>
                      <a:pt x="314087" y="224552"/>
                      <a:pt x="261699" y="187404"/>
                    </a:cubicBezTo>
                    <a:cubicBezTo>
                      <a:pt x="261699" y="187404"/>
                      <a:pt x="152162" y="117872"/>
                      <a:pt x="152162" y="50244"/>
                    </a:cubicBezTo>
                    <a:lnTo>
                      <a:pt x="152162" y="17859"/>
                    </a:ln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9" name="Freeform: Shape 7">
                <a:extLst>
                  <a:ext uri="{FF2B5EF4-FFF2-40B4-BE49-F238E27FC236}">
                    <a16:creationId xmlns:a16="http://schemas.microsoft.com/office/drawing/2014/main" id="{44440EA9-86CE-4C53-9073-55F083DEFB0C}"/>
                  </a:ext>
                </a:extLst>
              </p:cNvPr>
              <p:cNvSpPr/>
              <p:nvPr/>
            </p:nvSpPr>
            <p:spPr>
              <a:xfrm>
                <a:off x="5719524" y="980678"/>
                <a:ext cx="400050" cy="180975"/>
              </a:xfrm>
              <a:custGeom>
                <a:avLst/>
                <a:gdLst>
                  <a:gd name="connsiteX0" fmla="*/ 207407 w 400050"/>
                  <a:gd name="connsiteY0" fmla="*/ 163592 h 180975"/>
                  <a:gd name="connsiteX1" fmla="*/ 37862 w 400050"/>
                  <a:gd name="connsiteY1" fmla="*/ 163592 h 180975"/>
                  <a:gd name="connsiteX2" fmla="*/ 17859 w 400050"/>
                  <a:gd name="connsiteY2" fmla="*/ 115967 h 180975"/>
                  <a:gd name="connsiteX3" fmla="*/ 112157 w 400050"/>
                  <a:gd name="connsiteY3" fmla="*/ 17859 h 180975"/>
                  <a:gd name="connsiteX4" fmla="*/ 385524 w 400050"/>
                  <a:gd name="connsiteY4" fmla="*/ 17859 h 180975"/>
                  <a:gd name="connsiteX5" fmla="*/ 385524 w 400050"/>
                  <a:gd name="connsiteY5" fmla="*/ 89297 h 180975"/>
                  <a:gd name="connsiteX6" fmla="*/ 304562 w 400050"/>
                  <a:gd name="connsiteY6" fmla="*/ 89297 h 180975"/>
                  <a:gd name="connsiteX7" fmla="*/ 207407 w 400050"/>
                  <a:gd name="connsiteY7" fmla="*/ 163592 h 18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0050" h="180975">
                    <a:moveTo>
                      <a:pt x="207407" y="163592"/>
                    </a:moveTo>
                    <a:lnTo>
                      <a:pt x="37862" y="163592"/>
                    </a:lnTo>
                    <a:lnTo>
                      <a:pt x="17859" y="115967"/>
                    </a:lnTo>
                    <a:lnTo>
                      <a:pt x="112157" y="17859"/>
                    </a:lnTo>
                    <a:lnTo>
                      <a:pt x="385524" y="17859"/>
                    </a:lnTo>
                    <a:lnTo>
                      <a:pt x="385524" y="89297"/>
                    </a:lnTo>
                    <a:lnTo>
                      <a:pt x="304562" y="89297"/>
                    </a:lnTo>
                    <a:cubicBezTo>
                      <a:pt x="305514" y="89297"/>
                      <a:pt x="237887" y="93107"/>
                      <a:pt x="207407" y="163592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0" name="Freeform: Shape 8">
                <a:extLst>
                  <a:ext uri="{FF2B5EF4-FFF2-40B4-BE49-F238E27FC236}">
                    <a16:creationId xmlns:a16="http://schemas.microsoft.com/office/drawing/2014/main" id="{DADAA668-9512-4ABA-8356-DDEDFB376949}"/>
                  </a:ext>
                </a:extLst>
              </p:cNvPr>
              <p:cNvSpPr/>
              <p:nvPr/>
            </p:nvSpPr>
            <p:spPr>
              <a:xfrm>
                <a:off x="5988129" y="1115933"/>
                <a:ext cx="76200" cy="104775"/>
              </a:xfrm>
              <a:custGeom>
                <a:avLst/>
                <a:gdLst>
                  <a:gd name="connsiteX0" fmla="*/ 17859 w 76200"/>
                  <a:gd name="connsiteY0" fmla="*/ 17859 h 104775"/>
                  <a:gd name="connsiteX1" fmla="*/ 67389 w 76200"/>
                  <a:gd name="connsiteY1" fmla="*/ 89297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200" h="104775">
                    <a:moveTo>
                      <a:pt x="17859" y="17859"/>
                    </a:moveTo>
                    <a:cubicBezTo>
                      <a:pt x="24527" y="39767"/>
                      <a:pt x="39767" y="68342"/>
                      <a:pt x="67389" y="89297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1" name="Freeform: Shape 9">
                <a:extLst>
                  <a:ext uri="{FF2B5EF4-FFF2-40B4-BE49-F238E27FC236}">
                    <a16:creationId xmlns:a16="http://schemas.microsoft.com/office/drawing/2014/main" id="{FE847F11-7F6C-41B0-B6ED-8BF2FB257597}"/>
                  </a:ext>
                </a:extLst>
              </p:cNvPr>
              <p:cNvSpPr/>
              <p:nvPr/>
            </p:nvSpPr>
            <p:spPr>
              <a:xfrm>
                <a:off x="6030039" y="984488"/>
                <a:ext cx="28575" cy="95250"/>
              </a:xfrm>
              <a:custGeom>
                <a:avLst/>
                <a:gdLst>
                  <a:gd name="connsiteX0" fmla="*/ 17859 w 28575"/>
                  <a:gd name="connsiteY0" fmla="*/ 17859 h 95250"/>
                  <a:gd name="connsiteX1" fmla="*/ 17859 w 28575"/>
                  <a:gd name="connsiteY1" fmla="*/ 80724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 h="95250">
                    <a:moveTo>
                      <a:pt x="17859" y="17859"/>
                    </a:moveTo>
                    <a:lnTo>
                      <a:pt x="17859" y="80724"/>
                    </a:lnTo>
                  </a:path>
                </a:pathLst>
              </a:custGeom>
              <a:ln w="9525" cap="flat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2" name="Freeform: Shape 10">
                <a:extLst>
                  <a:ext uri="{FF2B5EF4-FFF2-40B4-BE49-F238E27FC236}">
                    <a16:creationId xmlns:a16="http://schemas.microsoft.com/office/drawing/2014/main" id="{679C3645-FC25-49EA-B4DC-9EB748D92F8B}"/>
                  </a:ext>
                </a:extLst>
              </p:cNvPr>
              <p:cNvSpPr/>
              <p:nvPr/>
            </p:nvSpPr>
            <p:spPr>
              <a:xfrm>
                <a:off x="5801439" y="1392158"/>
                <a:ext cx="266700" cy="28575"/>
              </a:xfrm>
              <a:custGeom>
                <a:avLst/>
                <a:gdLst>
                  <a:gd name="connsiteX0" fmla="*/ 17859 w 266700"/>
                  <a:gd name="connsiteY0" fmla="*/ 17859 h 28575"/>
                  <a:gd name="connsiteX1" fmla="*/ 255984 w 266700"/>
                  <a:gd name="connsiteY1" fmla="*/ 17859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6700" h="28575">
                    <a:moveTo>
                      <a:pt x="17859" y="17859"/>
                    </a:moveTo>
                    <a:lnTo>
                      <a:pt x="255984" y="17859"/>
                    </a:lnTo>
                  </a:path>
                </a:pathLst>
              </a:custGeom>
              <a:ln w="9525" cap="flat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3" name="Freeform: Shape 11">
                <a:extLst>
                  <a:ext uri="{FF2B5EF4-FFF2-40B4-BE49-F238E27FC236}">
                    <a16:creationId xmlns:a16="http://schemas.microsoft.com/office/drawing/2014/main" id="{EBFCA4AB-B099-44E8-8EF8-F59424F151C2}"/>
                  </a:ext>
                </a:extLst>
              </p:cNvPr>
              <p:cNvSpPr/>
              <p:nvPr/>
            </p:nvSpPr>
            <p:spPr>
              <a:xfrm>
                <a:off x="6214824" y="1070213"/>
                <a:ext cx="47625" cy="47625"/>
              </a:xfrm>
              <a:custGeom>
                <a:avLst/>
                <a:gdLst>
                  <a:gd name="connsiteX0" fmla="*/ 25479 w 47625"/>
                  <a:gd name="connsiteY0" fmla="*/ 17859 h 47625"/>
                  <a:gd name="connsiteX1" fmla="*/ 33099 w 47625"/>
                  <a:gd name="connsiteY1" fmla="*/ 25479 h 47625"/>
                  <a:gd name="connsiteX2" fmla="*/ 25479 w 47625"/>
                  <a:gd name="connsiteY2" fmla="*/ 33099 h 47625"/>
                  <a:gd name="connsiteX3" fmla="*/ 17859 w 47625"/>
                  <a:gd name="connsiteY3" fmla="*/ 25479 h 47625"/>
                  <a:gd name="connsiteX4" fmla="*/ 25479 w 47625"/>
                  <a:gd name="connsiteY4" fmla="*/ 17859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47625">
                    <a:moveTo>
                      <a:pt x="25479" y="17859"/>
                    </a:moveTo>
                    <a:cubicBezTo>
                      <a:pt x="29289" y="17859"/>
                      <a:pt x="33099" y="20717"/>
                      <a:pt x="33099" y="25479"/>
                    </a:cubicBezTo>
                    <a:cubicBezTo>
                      <a:pt x="33099" y="29289"/>
                      <a:pt x="30242" y="33099"/>
                      <a:pt x="25479" y="33099"/>
                    </a:cubicBezTo>
                    <a:cubicBezTo>
                      <a:pt x="21669" y="33099"/>
                      <a:pt x="17859" y="30242"/>
                      <a:pt x="17859" y="25479"/>
                    </a:cubicBezTo>
                    <a:cubicBezTo>
                      <a:pt x="17859" y="21669"/>
                      <a:pt x="21669" y="17859"/>
                      <a:pt x="25479" y="17859"/>
                    </a:cubicBez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4" name="Freeform: Shape 12">
                <a:extLst>
                  <a:ext uri="{FF2B5EF4-FFF2-40B4-BE49-F238E27FC236}">
                    <a16:creationId xmlns:a16="http://schemas.microsoft.com/office/drawing/2014/main" id="{2E976765-393C-43B5-9B19-0F2A9706053A}"/>
                  </a:ext>
                </a:extLst>
              </p:cNvPr>
              <p:cNvSpPr/>
              <p:nvPr/>
            </p:nvSpPr>
            <p:spPr>
              <a:xfrm>
                <a:off x="6214824" y="1007348"/>
                <a:ext cx="47625" cy="47625"/>
              </a:xfrm>
              <a:custGeom>
                <a:avLst/>
                <a:gdLst>
                  <a:gd name="connsiteX0" fmla="*/ 25479 w 47625"/>
                  <a:gd name="connsiteY0" fmla="*/ 17859 h 47625"/>
                  <a:gd name="connsiteX1" fmla="*/ 33099 w 47625"/>
                  <a:gd name="connsiteY1" fmla="*/ 25479 h 47625"/>
                  <a:gd name="connsiteX2" fmla="*/ 25479 w 47625"/>
                  <a:gd name="connsiteY2" fmla="*/ 33099 h 47625"/>
                  <a:gd name="connsiteX3" fmla="*/ 17859 w 47625"/>
                  <a:gd name="connsiteY3" fmla="*/ 25479 h 47625"/>
                  <a:gd name="connsiteX4" fmla="*/ 25479 w 47625"/>
                  <a:gd name="connsiteY4" fmla="*/ 17859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47625">
                    <a:moveTo>
                      <a:pt x="25479" y="17859"/>
                    </a:moveTo>
                    <a:cubicBezTo>
                      <a:pt x="29289" y="17859"/>
                      <a:pt x="33099" y="20717"/>
                      <a:pt x="33099" y="25479"/>
                    </a:cubicBezTo>
                    <a:cubicBezTo>
                      <a:pt x="33099" y="29289"/>
                      <a:pt x="30242" y="33099"/>
                      <a:pt x="25479" y="33099"/>
                    </a:cubicBezTo>
                    <a:cubicBezTo>
                      <a:pt x="21669" y="33099"/>
                      <a:pt x="17859" y="30242"/>
                      <a:pt x="17859" y="25479"/>
                    </a:cubicBezTo>
                    <a:cubicBezTo>
                      <a:pt x="17859" y="20717"/>
                      <a:pt x="21669" y="17859"/>
                      <a:pt x="25479" y="17859"/>
                    </a:cubicBez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5" name="Freeform: Shape 13">
                <a:extLst>
                  <a:ext uri="{FF2B5EF4-FFF2-40B4-BE49-F238E27FC236}">
                    <a16:creationId xmlns:a16="http://schemas.microsoft.com/office/drawing/2014/main" id="{DBC23330-C266-4AA4-813B-657DAE29678C}"/>
                  </a:ext>
                </a:extLst>
              </p:cNvPr>
              <p:cNvSpPr/>
              <p:nvPr/>
            </p:nvSpPr>
            <p:spPr>
              <a:xfrm>
                <a:off x="6214824" y="943530"/>
                <a:ext cx="47625" cy="47625"/>
              </a:xfrm>
              <a:custGeom>
                <a:avLst/>
                <a:gdLst>
                  <a:gd name="connsiteX0" fmla="*/ 25479 w 47625"/>
                  <a:gd name="connsiteY0" fmla="*/ 17859 h 47625"/>
                  <a:gd name="connsiteX1" fmla="*/ 33099 w 47625"/>
                  <a:gd name="connsiteY1" fmla="*/ 25479 h 47625"/>
                  <a:gd name="connsiteX2" fmla="*/ 25479 w 47625"/>
                  <a:gd name="connsiteY2" fmla="*/ 33099 h 47625"/>
                  <a:gd name="connsiteX3" fmla="*/ 17859 w 47625"/>
                  <a:gd name="connsiteY3" fmla="*/ 25479 h 47625"/>
                  <a:gd name="connsiteX4" fmla="*/ 25479 w 47625"/>
                  <a:gd name="connsiteY4" fmla="*/ 17859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47625">
                    <a:moveTo>
                      <a:pt x="25479" y="17859"/>
                    </a:moveTo>
                    <a:cubicBezTo>
                      <a:pt x="29289" y="17859"/>
                      <a:pt x="33099" y="20717"/>
                      <a:pt x="33099" y="25479"/>
                    </a:cubicBezTo>
                    <a:cubicBezTo>
                      <a:pt x="33099" y="29289"/>
                      <a:pt x="30242" y="33099"/>
                      <a:pt x="25479" y="33099"/>
                    </a:cubicBezTo>
                    <a:cubicBezTo>
                      <a:pt x="21669" y="33099"/>
                      <a:pt x="17859" y="30242"/>
                      <a:pt x="17859" y="25479"/>
                    </a:cubicBezTo>
                    <a:cubicBezTo>
                      <a:pt x="17859" y="21669"/>
                      <a:pt x="21669" y="17859"/>
                      <a:pt x="25479" y="17859"/>
                    </a:cubicBez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6" name="Freeform: Shape 14">
                <a:extLst>
                  <a:ext uri="{FF2B5EF4-FFF2-40B4-BE49-F238E27FC236}">
                    <a16:creationId xmlns:a16="http://schemas.microsoft.com/office/drawing/2014/main" id="{FB88E742-55B2-445F-822D-7E2750B12166}"/>
                  </a:ext>
                </a:extLst>
              </p:cNvPr>
              <p:cNvSpPr/>
              <p:nvPr/>
            </p:nvSpPr>
            <p:spPr>
              <a:xfrm>
                <a:off x="6149101" y="1038780"/>
                <a:ext cx="47625" cy="47625"/>
              </a:xfrm>
              <a:custGeom>
                <a:avLst/>
                <a:gdLst>
                  <a:gd name="connsiteX0" fmla="*/ 25479 w 47625"/>
                  <a:gd name="connsiteY0" fmla="*/ 17859 h 47625"/>
                  <a:gd name="connsiteX1" fmla="*/ 33099 w 47625"/>
                  <a:gd name="connsiteY1" fmla="*/ 25479 h 47625"/>
                  <a:gd name="connsiteX2" fmla="*/ 25479 w 47625"/>
                  <a:gd name="connsiteY2" fmla="*/ 33099 h 47625"/>
                  <a:gd name="connsiteX3" fmla="*/ 17859 w 47625"/>
                  <a:gd name="connsiteY3" fmla="*/ 25479 h 47625"/>
                  <a:gd name="connsiteX4" fmla="*/ 25479 w 47625"/>
                  <a:gd name="connsiteY4" fmla="*/ 17859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47625">
                    <a:moveTo>
                      <a:pt x="25479" y="17859"/>
                    </a:moveTo>
                    <a:cubicBezTo>
                      <a:pt x="29289" y="17859"/>
                      <a:pt x="33099" y="20717"/>
                      <a:pt x="33099" y="25479"/>
                    </a:cubicBezTo>
                    <a:cubicBezTo>
                      <a:pt x="33099" y="29289"/>
                      <a:pt x="30242" y="33099"/>
                      <a:pt x="25479" y="33099"/>
                    </a:cubicBezTo>
                    <a:cubicBezTo>
                      <a:pt x="21669" y="33099"/>
                      <a:pt x="17859" y="30242"/>
                      <a:pt x="17859" y="25479"/>
                    </a:cubicBezTo>
                    <a:cubicBezTo>
                      <a:pt x="17859" y="21669"/>
                      <a:pt x="20717" y="17859"/>
                      <a:pt x="25479" y="17859"/>
                    </a:cubicBez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7" name="Freeform: Shape 15">
                <a:extLst>
                  <a:ext uri="{FF2B5EF4-FFF2-40B4-BE49-F238E27FC236}">
                    <a16:creationId xmlns:a16="http://schemas.microsoft.com/office/drawing/2014/main" id="{A21A9BCC-D18A-4E26-A545-DFEFEC8EAAE3}"/>
                  </a:ext>
                </a:extLst>
              </p:cNvPr>
              <p:cNvSpPr/>
              <p:nvPr/>
            </p:nvSpPr>
            <p:spPr>
              <a:xfrm>
                <a:off x="6149101" y="975915"/>
                <a:ext cx="47625" cy="47625"/>
              </a:xfrm>
              <a:custGeom>
                <a:avLst/>
                <a:gdLst>
                  <a:gd name="connsiteX0" fmla="*/ 25479 w 47625"/>
                  <a:gd name="connsiteY0" fmla="*/ 17859 h 47625"/>
                  <a:gd name="connsiteX1" fmla="*/ 33099 w 47625"/>
                  <a:gd name="connsiteY1" fmla="*/ 25479 h 47625"/>
                  <a:gd name="connsiteX2" fmla="*/ 25479 w 47625"/>
                  <a:gd name="connsiteY2" fmla="*/ 33099 h 47625"/>
                  <a:gd name="connsiteX3" fmla="*/ 17859 w 47625"/>
                  <a:gd name="connsiteY3" fmla="*/ 25479 h 47625"/>
                  <a:gd name="connsiteX4" fmla="*/ 25479 w 47625"/>
                  <a:gd name="connsiteY4" fmla="*/ 17859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47625">
                    <a:moveTo>
                      <a:pt x="25479" y="17859"/>
                    </a:moveTo>
                    <a:cubicBezTo>
                      <a:pt x="29289" y="17859"/>
                      <a:pt x="33099" y="20717"/>
                      <a:pt x="33099" y="25479"/>
                    </a:cubicBezTo>
                    <a:cubicBezTo>
                      <a:pt x="33099" y="29289"/>
                      <a:pt x="30242" y="33099"/>
                      <a:pt x="25479" y="33099"/>
                    </a:cubicBezTo>
                    <a:cubicBezTo>
                      <a:pt x="21669" y="33099"/>
                      <a:pt x="17859" y="30242"/>
                      <a:pt x="17859" y="25479"/>
                    </a:cubicBezTo>
                    <a:cubicBezTo>
                      <a:pt x="17859" y="20717"/>
                      <a:pt x="20717" y="17859"/>
                      <a:pt x="25479" y="17859"/>
                    </a:cubicBez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24" name="Группа 23"/>
          <p:cNvGrpSpPr/>
          <p:nvPr/>
        </p:nvGrpSpPr>
        <p:grpSpPr>
          <a:xfrm>
            <a:off x="494997" y="5189346"/>
            <a:ext cx="452439" cy="435683"/>
            <a:chOff x="494997" y="5189346"/>
            <a:chExt cx="452439" cy="435683"/>
          </a:xfrm>
        </p:grpSpPr>
        <p:sp>
          <p:nvSpPr>
            <p:cNvPr id="495" name="Скругленный прямоугольник 494"/>
            <p:cNvSpPr/>
            <p:nvPr/>
          </p:nvSpPr>
          <p:spPr>
            <a:xfrm>
              <a:off x="494997" y="5189346"/>
              <a:ext cx="452439" cy="435683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568" name="Group 683">
              <a:extLst>
                <a:ext uri="{FF2B5EF4-FFF2-40B4-BE49-F238E27FC236}">
                  <a16:creationId xmlns:a16="http://schemas.microsoft.com/office/drawing/2014/main" id="{CC99770C-E7AC-4E13-A14B-3F98567F869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41239" y="5263996"/>
              <a:ext cx="359954" cy="286383"/>
              <a:chOff x="5597235" y="1550050"/>
              <a:chExt cx="533930" cy="424800"/>
            </a:xfrm>
          </p:grpSpPr>
          <p:sp>
            <p:nvSpPr>
              <p:cNvPr id="569" name="Freeform 874">
                <a:extLst>
                  <a:ext uri="{FF2B5EF4-FFF2-40B4-BE49-F238E27FC236}">
                    <a16:creationId xmlns:a16="http://schemas.microsoft.com/office/drawing/2014/main" id="{8958ACBA-71A5-48C3-80A8-5BA5C497B3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7235" y="1550050"/>
                <a:ext cx="418941" cy="424800"/>
              </a:xfrm>
              <a:custGeom>
                <a:avLst/>
                <a:gdLst>
                  <a:gd name="T0" fmla="*/ 194 w 251"/>
                  <a:gd name="T1" fmla="*/ 234 h 254"/>
                  <a:gd name="T2" fmla="*/ 127 w 251"/>
                  <a:gd name="T3" fmla="*/ 254 h 254"/>
                  <a:gd name="T4" fmla="*/ 0 w 251"/>
                  <a:gd name="T5" fmla="*/ 127 h 254"/>
                  <a:gd name="T6" fmla="*/ 127 w 251"/>
                  <a:gd name="T7" fmla="*/ 0 h 254"/>
                  <a:gd name="T8" fmla="*/ 251 w 251"/>
                  <a:gd name="T9" fmla="*/ 103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1" h="254">
                    <a:moveTo>
                      <a:pt x="194" y="234"/>
                    </a:moveTo>
                    <a:cubicBezTo>
                      <a:pt x="175" y="247"/>
                      <a:pt x="152" y="254"/>
                      <a:pt x="127" y="254"/>
                    </a:cubicBezTo>
                    <a:cubicBezTo>
                      <a:pt x="57" y="254"/>
                      <a:pt x="0" y="197"/>
                      <a:pt x="0" y="127"/>
                    </a:cubicBezTo>
                    <a:cubicBezTo>
                      <a:pt x="0" y="57"/>
                      <a:pt x="57" y="0"/>
                      <a:pt x="127" y="0"/>
                    </a:cubicBezTo>
                    <a:cubicBezTo>
                      <a:pt x="189" y="0"/>
                      <a:pt x="240" y="45"/>
                      <a:pt x="251" y="103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0" name="Freeform 875">
                <a:extLst>
                  <a:ext uri="{FF2B5EF4-FFF2-40B4-BE49-F238E27FC236}">
                    <a16:creationId xmlns:a16="http://schemas.microsoft.com/office/drawing/2014/main" id="{AB505BC4-9FC5-4C82-87E3-7773CA0D8B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7039" y="1600586"/>
                <a:ext cx="318600" cy="323727"/>
              </a:xfrm>
              <a:custGeom>
                <a:avLst/>
                <a:gdLst>
                  <a:gd name="T0" fmla="*/ 146 w 191"/>
                  <a:gd name="T1" fmla="*/ 180 h 194"/>
                  <a:gd name="T2" fmla="*/ 97 w 191"/>
                  <a:gd name="T3" fmla="*/ 194 h 194"/>
                  <a:gd name="T4" fmla="*/ 0 w 191"/>
                  <a:gd name="T5" fmla="*/ 97 h 194"/>
                  <a:gd name="T6" fmla="*/ 97 w 191"/>
                  <a:gd name="T7" fmla="*/ 0 h 194"/>
                  <a:gd name="T8" fmla="*/ 191 w 191"/>
                  <a:gd name="T9" fmla="*/ 77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" h="194">
                    <a:moveTo>
                      <a:pt x="146" y="180"/>
                    </a:moveTo>
                    <a:cubicBezTo>
                      <a:pt x="132" y="189"/>
                      <a:pt x="115" y="194"/>
                      <a:pt x="97" y="194"/>
                    </a:cubicBezTo>
                    <a:cubicBezTo>
                      <a:pt x="43" y="194"/>
                      <a:pt x="0" y="150"/>
                      <a:pt x="0" y="97"/>
                    </a:cubicBezTo>
                    <a:cubicBezTo>
                      <a:pt x="0" y="44"/>
                      <a:pt x="43" y="0"/>
                      <a:pt x="97" y="0"/>
                    </a:cubicBezTo>
                    <a:cubicBezTo>
                      <a:pt x="143" y="0"/>
                      <a:pt x="182" y="33"/>
                      <a:pt x="191" y="77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1" name="Freeform 876">
                <a:extLst>
                  <a:ext uri="{FF2B5EF4-FFF2-40B4-BE49-F238E27FC236}">
                    <a16:creationId xmlns:a16="http://schemas.microsoft.com/office/drawing/2014/main" id="{C52A62C9-5AFA-4C1D-8518-C96CB6A07C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5690" y="1694335"/>
                <a:ext cx="44678" cy="136961"/>
              </a:xfrm>
              <a:custGeom>
                <a:avLst/>
                <a:gdLst>
                  <a:gd name="T0" fmla="*/ 0 w 61"/>
                  <a:gd name="T1" fmla="*/ 63 h 187"/>
                  <a:gd name="T2" fmla="*/ 61 w 61"/>
                  <a:gd name="T3" fmla="*/ 0 h 187"/>
                  <a:gd name="T4" fmla="*/ 61 w 61"/>
                  <a:gd name="T5" fmla="*/ 18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1" h="187">
                    <a:moveTo>
                      <a:pt x="0" y="63"/>
                    </a:moveTo>
                    <a:lnTo>
                      <a:pt x="61" y="0"/>
                    </a:lnTo>
                    <a:lnTo>
                      <a:pt x="61" y="187"/>
                    </a:ln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2" name="Oval 877">
                <a:extLst>
                  <a:ext uri="{FF2B5EF4-FFF2-40B4-BE49-F238E27FC236}">
                    <a16:creationId xmlns:a16="http://schemas.microsoft.com/office/drawing/2014/main" id="{825F77C1-45A2-4BA5-8F30-B47069B18E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79215" y="1722167"/>
                <a:ext cx="251950" cy="252683"/>
              </a:xfrm>
              <a:prstGeom prst="ellips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3" name="Oval 878">
                <a:extLst>
                  <a:ext uri="{FF2B5EF4-FFF2-40B4-BE49-F238E27FC236}">
                    <a16:creationId xmlns:a16="http://schemas.microsoft.com/office/drawing/2014/main" id="{C2AD2FC7-E956-41F4-9537-273B81F8B3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12905" y="1755859"/>
                <a:ext cx="185301" cy="185301"/>
              </a:xfrm>
              <a:prstGeom prst="ellips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4" name="Line 879">
                <a:extLst>
                  <a:ext uri="{FF2B5EF4-FFF2-40B4-BE49-F238E27FC236}">
                    <a16:creationId xmlns:a16="http://schemas.microsoft.com/office/drawing/2014/main" id="{47E792D7-FB31-44FB-9502-A144431B93F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70817" y="1831298"/>
                <a:ext cx="81297" cy="0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grpSp>
            <p:nvGrpSpPr>
              <p:cNvPr id="575" name="Group 1084">
                <a:extLst>
                  <a:ext uri="{FF2B5EF4-FFF2-40B4-BE49-F238E27FC236}">
                    <a16:creationId xmlns:a16="http://schemas.microsoft.com/office/drawing/2014/main" id="{74AFFA8A-C81B-4E1F-863E-157DDB54DE8F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971287" y="1801585"/>
                <a:ext cx="69944" cy="97442"/>
                <a:chOff x="3709" y="1980"/>
                <a:chExt cx="262" cy="365"/>
              </a:xfrm>
            </p:grpSpPr>
            <p:sp>
              <p:nvSpPr>
                <p:cNvPr id="576" name="Line 1085">
                  <a:extLst>
                    <a:ext uri="{FF2B5EF4-FFF2-40B4-BE49-F238E27FC236}">
                      <a16:creationId xmlns:a16="http://schemas.microsoft.com/office/drawing/2014/main" id="{416B3B26-5AA9-416A-936D-813737D3994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709" y="2245"/>
                  <a:ext cx="195" cy="0"/>
                </a:xfrm>
                <a:prstGeom prst="line">
                  <a:avLst/>
                </a:prstGeom>
                <a:noFill/>
                <a:ln w="9525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577" name="Freeform 1086">
                  <a:extLst>
                    <a:ext uri="{FF2B5EF4-FFF2-40B4-BE49-F238E27FC236}">
                      <a16:creationId xmlns:a16="http://schemas.microsoft.com/office/drawing/2014/main" id="{52F1282E-1912-4E3E-BDE1-79C3A32550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09" y="1980"/>
                  <a:ext cx="262" cy="365"/>
                </a:xfrm>
                <a:custGeom>
                  <a:avLst/>
                  <a:gdLst>
                    <a:gd name="T0" fmla="*/ 25 w 109"/>
                    <a:gd name="T1" fmla="*/ 153 h 153"/>
                    <a:gd name="T2" fmla="*/ 25 w 109"/>
                    <a:gd name="T3" fmla="*/ 0 h 153"/>
                    <a:gd name="T4" fmla="*/ 73 w 109"/>
                    <a:gd name="T5" fmla="*/ 0 h 153"/>
                    <a:gd name="T6" fmla="*/ 109 w 109"/>
                    <a:gd name="T7" fmla="*/ 36 h 153"/>
                    <a:gd name="T8" fmla="*/ 109 w 109"/>
                    <a:gd name="T9" fmla="*/ 40 h 153"/>
                    <a:gd name="T10" fmla="*/ 73 w 109"/>
                    <a:gd name="T11" fmla="*/ 76 h 153"/>
                    <a:gd name="T12" fmla="*/ 0 w 109"/>
                    <a:gd name="T13" fmla="*/ 76 h 1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9" h="153">
                      <a:moveTo>
                        <a:pt x="25" y="153"/>
                      </a:move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73" y="0"/>
                        <a:pt x="73" y="0"/>
                        <a:pt x="73" y="0"/>
                      </a:cubicBezTo>
                      <a:cubicBezTo>
                        <a:pt x="93" y="0"/>
                        <a:pt x="109" y="16"/>
                        <a:pt x="109" y="36"/>
                      </a:cubicBezTo>
                      <a:cubicBezTo>
                        <a:pt x="109" y="40"/>
                        <a:pt x="109" y="40"/>
                        <a:pt x="109" y="40"/>
                      </a:cubicBezTo>
                      <a:cubicBezTo>
                        <a:pt x="109" y="60"/>
                        <a:pt x="93" y="76"/>
                        <a:pt x="73" y="76"/>
                      </a:cubicBezTo>
                      <a:cubicBezTo>
                        <a:pt x="0" y="76"/>
                        <a:pt x="0" y="76"/>
                        <a:pt x="0" y="76"/>
                      </a:cubicBezTo>
                    </a:path>
                  </a:pathLst>
                </a:custGeom>
                <a:noFill/>
                <a:ln w="9525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</p:grpSp>
        </p:grpSp>
      </p:grpSp>
      <p:grpSp>
        <p:nvGrpSpPr>
          <p:cNvPr id="25" name="Группа 24"/>
          <p:cNvGrpSpPr/>
          <p:nvPr/>
        </p:nvGrpSpPr>
        <p:grpSpPr>
          <a:xfrm>
            <a:off x="494997" y="5926301"/>
            <a:ext cx="452439" cy="435683"/>
            <a:chOff x="494997" y="5926301"/>
            <a:chExt cx="452439" cy="435683"/>
          </a:xfrm>
        </p:grpSpPr>
        <p:sp>
          <p:nvSpPr>
            <p:cNvPr id="511" name="Скругленный прямоугольник 510"/>
            <p:cNvSpPr/>
            <p:nvPr/>
          </p:nvSpPr>
          <p:spPr>
            <a:xfrm>
              <a:off x="494997" y="5926301"/>
              <a:ext cx="452439" cy="435683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578" name="Group 4121">
              <a:extLst>
                <a:ext uri="{FF2B5EF4-FFF2-40B4-BE49-F238E27FC236}">
                  <a16:creationId xmlns:a16="http://schemas.microsoft.com/office/drawing/2014/main" id="{F7AB52AD-EADA-4E8C-BC8B-A50F0971147C}"/>
                </a:ext>
              </a:extLst>
            </p:cNvPr>
            <p:cNvGrpSpPr/>
            <p:nvPr/>
          </p:nvGrpSpPr>
          <p:grpSpPr>
            <a:xfrm>
              <a:off x="585065" y="5990653"/>
              <a:ext cx="272302" cy="306978"/>
              <a:chOff x="2442941" y="4038281"/>
              <a:chExt cx="479003" cy="540000"/>
            </a:xfrm>
          </p:grpSpPr>
          <p:sp>
            <p:nvSpPr>
              <p:cNvPr id="579" name="Oval 282">
                <a:extLst>
                  <a:ext uri="{FF2B5EF4-FFF2-40B4-BE49-F238E27FC236}">
                    <a16:creationId xmlns:a16="http://schemas.microsoft.com/office/drawing/2014/main" id="{101C4E98-6891-4490-B3EE-BE87796A35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4137" y="4038281"/>
                <a:ext cx="118405" cy="118405"/>
              </a:xfrm>
              <a:prstGeom prst="ellips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0" name="Freeform 283">
                <a:extLst>
                  <a:ext uri="{FF2B5EF4-FFF2-40B4-BE49-F238E27FC236}">
                    <a16:creationId xmlns:a16="http://schemas.microsoft.com/office/drawing/2014/main" id="{C27594EB-82D4-4068-8B91-89CB4A2F6C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0050" y="4210507"/>
                <a:ext cx="184784" cy="367774"/>
              </a:xfrm>
              <a:custGeom>
                <a:avLst/>
                <a:gdLst>
                  <a:gd name="T0" fmla="*/ 64 w 85"/>
                  <a:gd name="T1" fmla="*/ 168 h 168"/>
                  <a:gd name="T2" fmla="*/ 64 w 85"/>
                  <a:gd name="T3" fmla="*/ 100 h 168"/>
                  <a:gd name="T4" fmla="*/ 85 w 85"/>
                  <a:gd name="T5" fmla="*/ 78 h 168"/>
                  <a:gd name="T6" fmla="*/ 85 w 85"/>
                  <a:gd name="T7" fmla="*/ 21 h 168"/>
                  <a:gd name="T8" fmla="*/ 64 w 85"/>
                  <a:gd name="T9" fmla="*/ 0 h 168"/>
                  <a:gd name="T10" fmla="*/ 21 w 85"/>
                  <a:gd name="T11" fmla="*/ 0 h 168"/>
                  <a:gd name="T12" fmla="*/ 0 w 85"/>
                  <a:gd name="T13" fmla="*/ 21 h 168"/>
                  <a:gd name="T14" fmla="*/ 0 w 85"/>
                  <a:gd name="T15" fmla="*/ 79 h 168"/>
                  <a:gd name="T16" fmla="*/ 21 w 85"/>
                  <a:gd name="T17" fmla="*/ 100 h 168"/>
                  <a:gd name="T18" fmla="*/ 21 w 85"/>
                  <a:gd name="T1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5" h="168">
                    <a:moveTo>
                      <a:pt x="64" y="168"/>
                    </a:moveTo>
                    <a:cubicBezTo>
                      <a:pt x="64" y="100"/>
                      <a:pt x="64" y="100"/>
                      <a:pt x="64" y="100"/>
                    </a:cubicBezTo>
                    <a:cubicBezTo>
                      <a:pt x="76" y="99"/>
                      <a:pt x="85" y="90"/>
                      <a:pt x="85" y="78"/>
                    </a:cubicBezTo>
                    <a:cubicBezTo>
                      <a:pt x="85" y="21"/>
                      <a:pt x="85" y="21"/>
                      <a:pt x="85" y="21"/>
                    </a:cubicBezTo>
                    <a:cubicBezTo>
                      <a:pt x="85" y="9"/>
                      <a:pt x="76" y="0"/>
                      <a:pt x="64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0" y="0"/>
                      <a:pt x="0" y="9"/>
                      <a:pt x="0" y="2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90"/>
                      <a:pt x="10" y="100"/>
                      <a:pt x="21" y="100"/>
                    </a:cubicBezTo>
                    <a:cubicBezTo>
                      <a:pt x="21" y="168"/>
                      <a:pt x="21" y="168"/>
                      <a:pt x="21" y="168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1" name="Oval 284">
                <a:extLst>
                  <a:ext uri="{FF2B5EF4-FFF2-40B4-BE49-F238E27FC236}">
                    <a16:creationId xmlns:a16="http://schemas.microsoft.com/office/drawing/2014/main" id="{B8CECC84-AA74-4C41-B607-8777947457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94568" y="4099278"/>
                <a:ext cx="116612" cy="114817"/>
              </a:xfrm>
              <a:prstGeom prst="ellips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2" name="Freeform 285">
                <a:extLst>
                  <a:ext uri="{FF2B5EF4-FFF2-40B4-BE49-F238E27FC236}">
                    <a16:creationId xmlns:a16="http://schemas.microsoft.com/office/drawing/2014/main" id="{1826D1A8-D939-40FD-8810-1206480961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684" y="4269710"/>
                <a:ext cx="102260" cy="308571"/>
              </a:xfrm>
              <a:custGeom>
                <a:avLst/>
                <a:gdLst>
                  <a:gd name="T0" fmla="*/ 26 w 47"/>
                  <a:gd name="T1" fmla="*/ 141 h 141"/>
                  <a:gd name="T2" fmla="*/ 26 w 47"/>
                  <a:gd name="T3" fmla="*/ 85 h 141"/>
                  <a:gd name="T4" fmla="*/ 47 w 47"/>
                  <a:gd name="T5" fmla="*/ 64 h 141"/>
                  <a:gd name="T6" fmla="*/ 47 w 47"/>
                  <a:gd name="T7" fmla="*/ 22 h 141"/>
                  <a:gd name="T8" fmla="*/ 26 w 47"/>
                  <a:gd name="T9" fmla="*/ 1 h 141"/>
                  <a:gd name="T10" fmla="*/ 0 w 47"/>
                  <a:gd name="T11" fmla="*/ 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" h="141">
                    <a:moveTo>
                      <a:pt x="26" y="141"/>
                    </a:moveTo>
                    <a:cubicBezTo>
                      <a:pt x="26" y="85"/>
                      <a:pt x="26" y="85"/>
                      <a:pt x="26" y="85"/>
                    </a:cubicBezTo>
                    <a:cubicBezTo>
                      <a:pt x="38" y="85"/>
                      <a:pt x="47" y="76"/>
                      <a:pt x="47" y="64"/>
                    </a:cubicBezTo>
                    <a:cubicBezTo>
                      <a:pt x="47" y="22"/>
                      <a:pt x="47" y="22"/>
                      <a:pt x="47" y="22"/>
                    </a:cubicBezTo>
                    <a:cubicBezTo>
                      <a:pt x="47" y="10"/>
                      <a:pt x="38" y="0"/>
                      <a:pt x="26" y="1"/>
                    </a:cubicBezTo>
                    <a:cubicBezTo>
                      <a:pt x="0" y="1"/>
                      <a:pt x="0" y="1"/>
                      <a:pt x="0" y="1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3" name="Oval 286">
                <a:extLst>
                  <a:ext uri="{FF2B5EF4-FFF2-40B4-BE49-F238E27FC236}">
                    <a16:creationId xmlns:a16="http://schemas.microsoft.com/office/drawing/2014/main" id="{6EBFC33D-E48B-434A-BC88-1D0696EF4F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53705" y="4099278"/>
                <a:ext cx="118405" cy="114817"/>
              </a:xfrm>
              <a:prstGeom prst="ellips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4" name="Freeform 287">
                <a:extLst>
                  <a:ext uri="{FF2B5EF4-FFF2-40B4-BE49-F238E27FC236}">
                    <a16:creationId xmlns:a16="http://schemas.microsoft.com/office/drawing/2014/main" id="{78CA5D37-D736-43BB-941D-DD07700305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2941" y="4269710"/>
                <a:ext cx="102260" cy="308571"/>
              </a:xfrm>
              <a:custGeom>
                <a:avLst/>
                <a:gdLst>
                  <a:gd name="T0" fmla="*/ 21 w 47"/>
                  <a:gd name="T1" fmla="*/ 141 h 141"/>
                  <a:gd name="T2" fmla="*/ 21 w 47"/>
                  <a:gd name="T3" fmla="*/ 85 h 141"/>
                  <a:gd name="T4" fmla="*/ 0 w 47"/>
                  <a:gd name="T5" fmla="*/ 64 h 141"/>
                  <a:gd name="T6" fmla="*/ 0 w 47"/>
                  <a:gd name="T7" fmla="*/ 22 h 141"/>
                  <a:gd name="T8" fmla="*/ 21 w 47"/>
                  <a:gd name="T9" fmla="*/ 1 h 141"/>
                  <a:gd name="T10" fmla="*/ 47 w 47"/>
                  <a:gd name="T11" fmla="*/ 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" h="141">
                    <a:moveTo>
                      <a:pt x="21" y="141"/>
                    </a:moveTo>
                    <a:cubicBezTo>
                      <a:pt x="21" y="85"/>
                      <a:pt x="21" y="85"/>
                      <a:pt x="21" y="85"/>
                    </a:cubicBezTo>
                    <a:cubicBezTo>
                      <a:pt x="10" y="85"/>
                      <a:pt x="0" y="76"/>
                      <a:pt x="0" y="64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1" y="1"/>
                    </a:cubicBezTo>
                    <a:cubicBezTo>
                      <a:pt x="47" y="1"/>
                      <a:pt x="47" y="1"/>
                      <a:pt x="47" y="1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sp>
        <p:nvSpPr>
          <p:cNvPr id="585" name="Скругленный прямоугольник 584"/>
          <p:cNvSpPr/>
          <p:nvPr/>
        </p:nvSpPr>
        <p:spPr>
          <a:xfrm>
            <a:off x="7404069" y="2474986"/>
            <a:ext cx="4452969" cy="4033043"/>
          </a:xfrm>
          <a:prstGeom prst="roundRect">
            <a:avLst>
              <a:gd name="adj" fmla="val 308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7" name="Прямоугольник 586"/>
          <p:cNvSpPr/>
          <p:nvPr/>
        </p:nvSpPr>
        <p:spPr>
          <a:xfrm>
            <a:off x="7465321" y="2541210"/>
            <a:ext cx="4316563" cy="1692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dirty="0">
                <a:solidFill>
                  <a:srgbClr val="777777"/>
                </a:solidFill>
                <a:latin typeface="Montserrat Medium" panose="00000600000000000000" pitchFamily="2" charset="-52"/>
              </a:rPr>
              <a:t>Матрица рисков для маникюрной студии «</a:t>
            </a:r>
            <a:r>
              <a:rPr lang="ru-RU" sz="1100" dirty="0" err="1">
                <a:solidFill>
                  <a:srgbClr val="777777"/>
                </a:solidFill>
                <a:latin typeface="Montserrat Medium" panose="00000600000000000000" pitchFamily="2" charset="-52"/>
              </a:rPr>
              <a:t>Magic</a:t>
            </a:r>
            <a:r>
              <a:rPr lang="ru-RU" sz="1100" dirty="0">
                <a:solidFill>
                  <a:srgbClr val="777777"/>
                </a:solidFill>
                <a:latin typeface="Montserrat Medium" panose="00000600000000000000" pitchFamily="2" charset="-52"/>
              </a:rPr>
              <a:t> </a:t>
            </a:r>
            <a:r>
              <a:rPr lang="ru-RU" sz="1100" dirty="0" err="1">
                <a:solidFill>
                  <a:srgbClr val="777777"/>
                </a:solidFill>
                <a:latin typeface="Montserrat Medium" panose="00000600000000000000" pitchFamily="2" charset="-52"/>
              </a:rPr>
              <a:t>nails</a:t>
            </a:r>
            <a:r>
              <a:rPr lang="ru-RU" sz="1100" dirty="0">
                <a:solidFill>
                  <a:srgbClr val="777777"/>
                </a:solidFill>
                <a:latin typeface="Montserrat Medium" panose="00000600000000000000" pitchFamily="2" charset="-52"/>
              </a:rPr>
              <a:t>»</a:t>
            </a:r>
          </a:p>
        </p:txBody>
      </p:sp>
      <p:cxnSp>
        <p:nvCxnSpPr>
          <p:cNvPr id="588" name="Прямая соединительная линия 587"/>
          <p:cNvCxnSpPr/>
          <p:nvPr/>
        </p:nvCxnSpPr>
        <p:spPr>
          <a:xfrm>
            <a:off x="7465322" y="2745834"/>
            <a:ext cx="4320000" cy="0"/>
          </a:xfrm>
          <a:prstGeom prst="line">
            <a:avLst/>
          </a:prstGeom>
          <a:ln w="12700" cap="rnd">
            <a:solidFill>
              <a:srgbClr val="969696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1" name="Прямоугольник 590"/>
          <p:cNvSpPr/>
          <p:nvPr/>
        </p:nvSpPr>
        <p:spPr>
          <a:xfrm>
            <a:off x="7465321" y="2944400"/>
            <a:ext cx="272510" cy="123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800" b="1" dirty="0">
                <a:solidFill>
                  <a:srgbClr val="404040"/>
                </a:solidFill>
                <a:latin typeface="Montserrat" panose="00000500000000000000" pitchFamily="2" charset="-52"/>
              </a:rPr>
              <a:t>Риск</a:t>
            </a:r>
          </a:p>
        </p:txBody>
      </p:sp>
      <p:sp>
        <p:nvSpPr>
          <p:cNvPr id="596" name="Скругленный прямоугольник 595"/>
          <p:cNvSpPr/>
          <p:nvPr/>
        </p:nvSpPr>
        <p:spPr>
          <a:xfrm>
            <a:off x="7465321" y="3109860"/>
            <a:ext cx="1592319" cy="340373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ru-RU" sz="800" dirty="0">
                <a:solidFill>
                  <a:srgbClr val="404040"/>
                </a:solidFill>
                <a:latin typeface="Montserrat" panose="00000500000000000000" pitchFamily="2" charset="-52"/>
              </a:rPr>
              <a:t>Низкий спрос на услуги </a:t>
            </a:r>
          </a:p>
        </p:txBody>
      </p:sp>
      <p:sp>
        <p:nvSpPr>
          <p:cNvPr id="597" name="Скругленный прямоугольник 596"/>
          <p:cNvSpPr/>
          <p:nvPr/>
        </p:nvSpPr>
        <p:spPr>
          <a:xfrm>
            <a:off x="7465321" y="3534931"/>
            <a:ext cx="1592319" cy="340373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ru-RU" sz="800" dirty="0">
                <a:solidFill>
                  <a:srgbClr val="404040"/>
                </a:solidFill>
                <a:latin typeface="Montserrat" panose="00000500000000000000" pitchFamily="2" charset="-52"/>
              </a:rPr>
              <a:t>Ошибки в работе мастеров</a:t>
            </a:r>
          </a:p>
        </p:txBody>
      </p:sp>
      <p:sp>
        <p:nvSpPr>
          <p:cNvPr id="598" name="Скругленный прямоугольник 597"/>
          <p:cNvSpPr/>
          <p:nvPr/>
        </p:nvSpPr>
        <p:spPr>
          <a:xfrm>
            <a:off x="7465321" y="3960002"/>
            <a:ext cx="1592319" cy="340373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ru-RU" sz="800" dirty="0">
                <a:solidFill>
                  <a:srgbClr val="404040"/>
                </a:solidFill>
                <a:latin typeface="Montserrat" panose="00000500000000000000" pitchFamily="2" charset="-52"/>
              </a:rPr>
              <a:t>Проблемы с поставками материалов</a:t>
            </a:r>
          </a:p>
        </p:txBody>
      </p:sp>
      <p:sp>
        <p:nvSpPr>
          <p:cNvPr id="599" name="Скругленный прямоугольник 598"/>
          <p:cNvSpPr/>
          <p:nvPr/>
        </p:nvSpPr>
        <p:spPr>
          <a:xfrm>
            <a:off x="7465321" y="4385073"/>
            <a:ext cx="1592319" cy="340373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ru-RU" sz="800">
                <a:solidFill>
                  <a:srgbClr val="404040"/>
                </a:solidFill>
                <a:latin typeface="Montserrat" panose="00000500000000000000" pitchFamily="2" charset="-52"/>
              </a:rPr>
              <a:t>Увольнение ключевых специалистов</a:t>
            </a:r>
            <a:endParaRPr lang="ru-RU" sz="800" dirty="0">
              <a:solidFill>
                <a:srgbClr val="404040"/>
              </a:solidFill>
              <a:latin typeface="Montserrat" panose="00000500000000000000" pitchFamily="2" charset="-52"/>
            </a:endParaRPr>
          </a:p>
        </p:txBody>
      </p:sp>
      <p:sp>
        <p:nvSpPr>
          <p:cNvPr id="600" name="Скругленный прямоугольник 599"/>
          <p:cNvSpPr/>
          <p:nvPr/>
        </p:nvSpPr>
        <p:spPr>
          <a:xfrm>
            <a:off x="7465321" y="4810144"/>
            <a:ext cx="1592319" cy="340373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ru-RU" sz="800" dirty="0">
                <a:solidFill>
                  <a:srgbClr val="404040"/>
                </a:solidFill>
                <a:latin typeface="Montserrat" panose="00000500000000000000" pitchFamily="2" charset="-52"/>
              </a:rPr>
              <a:t>Конкуренция на рынке </a:t>
            </a:r>
            <a:r>
              <a:rPr lang="ru-RU" sz="800" dirty="0" err="1">
                <a:solidFill>
                  <a:srgbClr val="404040"/>
                </a:solidFill>
                <a:latin typeface="Montserrat" panose="00000500000000000000" pitchFamily="2" charset="-52"/>
              </a:rPr>
              <a:t>бьюти</a:t>
            </a:r>
            <a:r>
              <a:rPr lang="ru-RU" sz="800" dirty="0">
                <a:solidFill>
                  <a:srgbClr val="404040"/>
                </a:solidFill>
                <a:latin typeface="Montserrat" panose="00000500000000000000" pitchFamily="2" charset="-52"/>
              </a:rPr>
              <a:t>-услуг</a:t>
            </a:r>
          </a:p>
        </p:txBody>
      </p:sp>
      <p:sp>
        <p:nvSpPr>
          <p:cNvPr id="601" name="Скругленный прямоугольник 600"/>
          <p:cNvSpPr/>
          <p:nvPr/>
        </p:nvSpPr>
        <p:spPr>
          <a:xfrm>
            <a:off x="7465321" y="5235215"/>
            <a:ext cx="1592319" cy="342000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ru-RU" sz="800" dirty="0">
                <a:solidFill>
                  <a:srgbClr val="404040"/>
                </a:solidFill>
                <a:latin typeface="Montserrat" panose="00000500000000000000" pitchFamily="2" charset="-52"/>
              </a:rPr>
              <a:t>Несоответствие качества услуг ожиданиям клиентов</a:t>
            </a:r>
          </a:p>
        </p:txBody>
      </p:sp>
      <p:sp>
        <p:nvSpPr>
          <p:cNvPr id="602" name="Скругленный прямоугольник 601"/>
          <p:cNvSpPr/>
          <p:nvPr/>
        </p:nvSpPr>
        <p:spPr>
          <a:xfrm>
            <a:off x="7465321" y="5661913"/>
            <a:ext cx="1592319" cy="342000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ru-RU" sz="800" dirty="0">
                <a:solidFill>
                  <a:srgbClr val="404040"/>
                </a:solidFill>
                <a:latin typeface="Montserrat" panose="00000500000000000000" pitchFamily="2" charset="-52"/>
              </a:rPr>
              <a:t>Нарушение законодательства</a:t>
            </a:r>
          </a:p>
        </p:txBody>
      </p:sp>
      <p:sp>
        <p:nvSpPr>
          <p:cNvPr id="603" name="Скругленный прямоугольник 602"/>
          <p:cNvSpPr/>
          <p:nvPr/>
        </p:nvSpPr>
        <p:spPr>
          <a:xfrm>
            <a:off x="7465321" y="6088617"/>
            <a:ext cx="1592319" cy="342000"/>
          </a:xfrm>
          <a:prstGeom prst="round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ru-RU" sz="800" dirty="0">
                <a:solidFill>
                  <a:srgbClr val="404040"/>
                </a:solidFill>
                <a:latin typeface="Montserrat" panose="00000500000000000000" pitchFamily="2" charset="-52"/>
              </a:rPr>
              <a:t>Нехватка</a:t>
            </a:r>
            <a:br>
              <a:rPr lang="ru-RU" sz="8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800" dirty="0">
                <a:solidFill>
                  <a:srgbClr val="404040"/>
                </a:solidFill>
                <a:latin typeface="Montserrat" panose="00000500000000000000" pitchFamily="2" charset="-52"/>
              </a:rPr>
              <a:t>финансовых ресурсов</a:t>
            </a:r>
          </a:p>
        </p:txBody>
      </p:sp>
      <p:cxnSp>
        <p:nvCxnSpPr>
          <p:cNvPr id="604" name="Прямая соединительная линия 603"/>
          <p:cNvCxnSpPr/>
          <p:nvPr/>
        </p:nvCxnSpPr>
        <p:spPr>
          <a:xfrm>
            <a:off x="7465321" y="3492582"/>
            <a:ext cx="4346365" cy="0"/>
          </a:xfrm>
          <a:prstGeom prst="line">
            <a:avLst/>
          </a:prstGeom>
          <a:ln w="9525" cap="rnd">
            <a:solidFill>
              <a:srgbClr val="F0F0F0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5" name="Прямая соединительная линия 604"/>
          <p:cNvCxnSpPr/>
          <p:nvPr/>
        </p:nvCxnSpPr>
        <p:spPr>
          <a:xfrm>
            <a:off x="7465321" y="3917653"/>
            <a:ext cx="4346365" cy="0"/>
          </a:xfrm>
          <a:prstGeom prst="line">
            <a:avLst/>
          </a:prstGeom>
          <a:ln w="9525" cap="rnd">
            <a:solidFill>
              <a:srgbClr val="F0F0F0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Прямая соединительная линия 605"/>
          <p:cNvCxnSpPr/>
          <p:nvPr/>
        </p:nvCxnSpPr>
        <p:spPr>
          <a:xfrm>
            <a:off x="7465321" y="4342724"/>
            <a:ext cx="4346365" cy="0"/>
          </a:xfrm>
          <a:prstGeom prst="line">
            <a:avLst/>
          </a:prstGeom>
          <a:ln w="9525" cap="rnd">
            <a:solidFill>
              <a:srgbClr val="F0F0F0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Прямая соединительная линия 606"/>
          <p:cNvCxnSpPr/>
          <p:nvPr/>
        </p:nvCxnSpPr>
        <p:spPr>
          <a:xfrm>
            <a:off x="7465321" y="4767795"/>
            <a:ext cx="4346365" cy="0"/>
          </a:xfrm>
          <a:prstGeom prst="line">
            <a:avLst/>
          </a:prstGeom>
          <a:ln w="9525" cap="rnd">
            <a:solidFill>
              <a:srgbClr val="F0F0F0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8" name="Прямая соединительная линия 607"/>
          <p:cNvCxnSpPr/>
          <p:nvPr/>
        </p:nvCxnSpPr>
        <p:spPr>
          <a:xfrm>
            <a:off x="7465321" y="5192866"/>
            <a:ext cx="4346365" cy="0"/>
          </a:xfrm>
          <a:prstGeom prst="line">
            <a:avLst/>
          </a:prstGeom>
          <a:ln w="9525" cap="rnd">
            <a:solidFill>
              <a:srgbClr val="F0F0F0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Прямая соединительная линия 608"/>
          <p:cNvCxnSpPr/>
          <p:nvPr/>
        </p:nvCxnSpPr>
        <p:spPr>
          <a:xfrm>
            <a:off x="7465321" y="5619564"/>
            <a:ext cx="4346365" cy="0"/>
          </a:xfrm>
          <a:prstGeom prst="line">
            <a:avLst/>
          </a:prstGeom>
          <a:ln w="9525" cap="rnd">
            <a:solidFill>
              <a:srgbClr val="F0F0F0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0" name="Прямая соединительная линия 609"/>
          <p:cNvCxnSpPr/>
          <p:nvPr/>
        </p:nvCxnSpPr>
        <p:spPr>
          <a:xfrm>
            <a:off x="7465321" y="6046262"/>
            <a:ext cx="4346365" cy="0"/>
          </a:xfrm>
          <a:prstGeom prst="line">
            <a:avLst/>
          </a:prstGeom>
          <a:ln w="9525" cap="rnd">
            <a:solidFill>
              <a:srgbClr val="F0F0F0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4" name="Прямоугольник 593"/>
          <p:cNvSpPr/>
          <p:nvPr/>
        </p:nvSpPr>
        <p:spPr>
          <a:xfrm>
            <a:off x="10291253" y="2821290"/>
            <a:ext cx="556243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800" b="1" dirty="0">
                <a:solidFill>
                  <a:srgbClr val="404040"/>
                </a:solidFill>
                <a:latin typeface="Montserrat" panose="00000500000000000000" pitchFamily="2" charset="-52"/>
              </a:rPr>
              <a:t>Влияние </a:t>
            </a:r>
            <a:br>
              <a:rPr lang="ru-RU" sz="800" b="1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800" b="1" dirty="0">
                <a:solidFill>
                  <a:srgbClr val="404040"/>
                </a:solidFill>
                <a:latin typeface="Montserrat" panose="00000500000000000000" pitchFamily="2" charset="-52"/>
              </a:rPr>
              <a:t>на проект</a:t>
            </a:r>
          </a:p>
        </p:txBody>
      </p:sp>
      <p:grpSp>
        <p:nvGrpSpPr>
          <p:cNvPr id="29" name="Группа 28"/>
          <p:cNvGrpSpPr/>
          <p:nvPr/>
        </p:nvGrpSpPr>
        <p:grpSpPr>
          <a:xfrm>
            <a:off x="10288379" y="3109860"/>
            <a:ext cx="631420" cy="224209"/>
            <a:chOff x="10310575" y="3176414"/>
            <a:chExt cx="631420" cy="224209"/>
          </a:xfrm>
        </p:grpSpPr>
        <p:sp>
          <p:nvSpPr>
            <p:cNvPr id="614" name="Скругленный прямоугольник 613"/>
            <p:cNvSpPr/>
            <p:nvPr/>
          </p:nvSpPr>
          <p:spPr>
            <a:xfrm>
              <a:off x="1031057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15" name="Скругленный прямоугольник 614"/>
            <p:cNvSpPr/>
            <p:nvPr/>
          </p:nvSpPr>
          <p:spPr>
            <a:xfrm>
              <a:off x="10534567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16" name="Скругленный прямоугольник 615"/>
            <p:cNvSpPr/>
            <p:nvPr/>
          </p:nvSpPr>
          <p:spPr>
            <a:xfrm>
              <a:off x="10758560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sp>
        <p:nvSpPr>
          <p:cNvPr id="593" name="Прямоугольник 592"/>
          <p:cNvSpPr/>
          <p:nvPr/>
        </p:nvSpPr>
        <p:spPr>
          <a:xfrm>
            <a:off x="9315540" y="2944400"/>
            <a:ext cx="714939" cy="123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800" b="1" dirty="0">
                <a:solidFill>
                  <a:srgbClr val="404040"/>
                </a:solidFill>
                <a:latin typeface="Montserrat" panose="00000500000000000000" pitchFamily="2" charset="-52"/>
              </a:rPr>
              <a:t>Вероятность</a:t>
            </a:r>
          </a:p>
        </p:txBody>
      </p:sp>
      <p:grpSp>
        <p:nvGrpSpPr>
          <p:cNvPr id="28" name="Группа 27"/>
          <p:cNvGrpSpPr/>
          <p:nvPr/>
        </p:nvGrpSpPr>
        <p:grpSpPr>
          <a:xfrm>
            <a:off x="9315540" y="3109860"/>
            <a:ext cx="631420" cy="224209"/>
            <a:chOff x="9202715" y="3176414"/>
            <a:chExt cx="631420" cy="224209"/>
          </a:xfrm>
        </p:grpSpPr>
        <p:sp>
          <p:nvSpPr>
            <p:cNvPr id="617" name="Скругленный прямоугольник 616"/>
            <p:cNvSpPr/>
            <p:nvPr/>
          </p:nvSpPr>
          <p:spPr>
            <a:xfrm>
              <a:off x="920271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18" name="Скругленный прямоугольник 617"/>
            <p:cNvSpPr/>
            <p:nvPr/>
          </p:nvSpPr>
          <p:spPr>
            <a:xfrm>
              <a:off x="9426707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19" name="Скругленный прямоугольник 618"/>
            <p:cNvSpPr/>
            <p:nvPr/>
          </p:nvSpPr>
          <p:spPr>
            <a:xfrm>
              <a:off x="9650700" y="3176414"/>
              <a:ext cx="183435" cy="224209"/>
            </a:xfrm>
            <a:prstGeom prst="roundRect">
              <a:avLst/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sp>
        <p:nvSpPr>
          <p:cNvPr id="595" name="Прямоугольник 594"/>
          <p:cNvSpPr/>
          <p:nvPr/>
        </p:nvSpPr>
        <p:spPr>
          <a:xfrm>
            <a:off x="11177699" y="2821290"/>
            <a:ext cx="474489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800" b="1" dirty="0">
                <a:solidFill>
                  <a:srgbClr val="404040"/>
                </a:solidFill>
                <a:latin typeface="Montserrat" panose="00000500000000000000" pitchFamily="2" charset="-52"/>
              </a:rPr>
              <a:t>Уровень</a:t>
            </a:r>
            <a:br>
              <a:rPr lang="ru-RU" sz="800" b="1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800" b="1" dirty="0">
                <a:solidFill>
                  <a:srgbClr val="404040"/>
                </a:solidFill>
                <a:latin typeface="Montserrat" panose="00000500000000000000" pitchFamily="2" charset="-52"/>
              </a:rPr>
              <a:t>риска</a:t>
            </a:r>
          </a:p>
        </p:txBody>
      </p:sp>
      <p:grpSp>
        <p:nvGrpSpPr>
          <p:cNvPr id="620" name="Группа 619"/>
          <p:cNvGrpSpPr/>
          <p:nvPr/>
        </p:nvGrpSpPr>
        <p:grpSpPr>
          <a:xfrm>
            <a:off x="11177699" y="3109860"/>
            <a:ext cx="631420" cy="224209"/>
            <a:chOff x="10310575" y="3176414"/>
            <a:chExt cx="631420" cy="224209"/>
          </a:xfrm>
        </p:grpSpPr>
        <p:sp>
          <p:nvSpPr>
            <p:cNvPr id="621" name="Скругленный прямоугольник 620"/>
            <p:cNvSpPr/>
            <p:nvPr/>
          </p:nvSpPr>
          <p:spPr>
            <a:xfrm>
              <a:off x="1031057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22" name="Скругленный прямоугольник 621"/>
            <p:cNvSpPr/>
            <p:nvPr/>
          </p:nvSpPr>
          <p:spPr>
            <a:xfrm>
              <a:off x="10534567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23" name="Скругленный прямоугольник 622"/>
            <p:cNvSpPr/>
            <p:nvPr/>
          </p:nvSpPr>
          <p:spPr>
            <a:xfrm>
              <a:off x="10758560" y="3176414"/>
              <a:ext cx="183435" cy="224209"/>
            </a:xfrm>
            <a:prstGeom prst="roundRect">
              <a:avLst/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624" name="Группа 623"/>
          <p:cNvGrpSpPr/>
          <p:nvPr/>
        </p:nvGrpSpPr>
        <p:grpSpPr>
          <a:xfrm>
            <a:off x="10288379" y="3534931"/>
            <a:ext cx="631420" cy="224209"/>
            <a:chOff x="10310575" y="3176414"/>
            <a:chExt cx="631420" cy="224209"/>
          </a:xfrm>
        </p:grpSpPr>
        <p:sp>
          <p:nvSpPr>
            <p:cNvPr id="625" name="Скругленный прямоугольник 624"/>
            <p:cNvSpPr/>
            <p:nvPr/>
          </p:nvSpPr>
          <p:spPr>
            <a:xfrm>
              <a:off x="1031057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26" name="Скругленный прямоугольник 625"/>
            <p:cNvSpPr/>
            <p:nvPr/>
          </p:nvSpPr>
          <p:spPr>
            <a:xfrm>
              <a:off x="10534567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27" name="Скругленный прямоугольник 626"/>
            <p:cNvSpPr/>
            <p:nvPr/>
          </p:nvSpPr>
          <p:spPr>
            <a:xfrm>
              <a:off x="10758560" y="3176414"/>
              <a:ext cx="183435" cy="224209"/>
            </a:xfrm>
            <a:prstGeom prst="roundRect">
              <a:avLst/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628" name="Группа 627"/>
          <p:cNvGrpSpPr/>
          <p:nvPr/>
        </p:nvGrpSpPr>
        <p:grpSpPr>
          <a:xfrm>
            <a:off x="9315540" y="3534931"/>
            <a:ext cx="631420" cy="224209"/>
            <a:chOff x="9202715" y="3176414"/>
            <a:chExt cx="631420" cy="224209"/>
          </a:xfrm>
        </p:grpSpPr>
        <p:sp>
          <p:nvSpPr>
            <p:cNvPr id="629" name="Скругленный прямоугольник 628"/>
            <p:cNvSpPr/>
            <p:nvPr/>
          </p:nvSpPr>
          <p:spPr>
            <a:xfrm>
              <a:off x="920271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30" name="Скругленный прямоугольник 629"/>
            <p:cNvSpPr/>
            <p:nvPr/>
          </p:nvSpPr>
          <p:spPr>
            <a:xfrm>
              <a:off x="9426707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31" name="Скругленный прямоугольник 630"/>
            <p:cNvSpPr/>
            <p:nvPr/>
          </p:nvSpPr>
          <p:spPr>
            <a:xfrm>
              <a:off x="9650700" y="3176414"/>
              <a:ext cx="183435" cy="224209"/>
            </a:xfrm>
            <a:prstGeom prst="roundRect">
              <a:avLst/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632" name="Группа 631"/>
          <p:cNvGrpSpPr/>
          <p:nvPr/>
        </p:nvGrpSpPr>
        <p:grpSpPr>
          <a:xfrm>
            <a:off x="11177699" y="3534931"/>
            <a:ext cx="631420" cy="224209"/>
            <a:chOff x="10310575" y="3176414"/>
            <a:chExt cx="631420" cy="224209"/>
          </a:xfrm>
        </p:grpSpPr>
        <p:sp>
          <p:nvSpPr>
            <p:cNvPr id="633" name="Скругленный прямоугольник 632"/>
            <p:cNvSpPr/>
            <p:nvPr/>
          </p:nvSpPr>
          <p:spPr>
            <a:xfrm>
              <a:off x="1031057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34" name="Скругленный прямоугольник 633"/>
            <p:cNvSpPr/>
            <p:nvPr/>
          </p:nvSpPr>
          <p:spPr>
            <a:xfrm>
              <a:off x="10534567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35" name="Скругленный прямоугольник 634"/>
            <p:cNvSpPr/>
            <p:nvPr/>
          </p:nvSpPr>
          <p:spPr>
            <a:xfrm>
              <a:off x="10758560" y="3176414"/>
              <a:ext cx="183435" cy="224209"/>
            </a:xfrm>
            <a:prstGeom prst="roundRect">
              <a:avLst/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636" name="Группа 635"/>
          <p:cNvGrpSpPr/>
          <p:nvPr/>
        </p:nvGrpSpPr>
        <p:grpSpPr>
          <a:xfrm>
            <a:off x="10288379" y="3960002"/>
            <a:ext cx="631420" cy="224209"/>
            <a:chOff x="10310575" y="3176414"/>
            <a:chExt cx="631420" cy="224209"/>
          </a:xfrm>
        </p:grpSpPr>
        <p:sp>
          <p:nvSpPr>
            <p:cNvPr id="637" name="Скругленный прямоугольник 636"/>
            <p:cNvSpPr/>
            <p:nvPr/>
          </p:nvSpPr>
          <p:spPr>
            <a:xfrm>
              <a:off x="1031057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38" name="Скругленный прямоугольник 637"/>
            <p:cNvSpPr/>
            <p:nvPr/>
          </p:nvSpPr>
          <p:spPr>
            <a:xfrm>
              <a:off x="10534567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39" name="Скругленный прямоугольник 638"/>
            <p:cNvSpPr/>
            <p:nvPr/>
          </p:nvSpPr>
          <p:spPr>
            <a:xfrm>
              <a:off x="10758560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640" name="Группа 639"/>
          <p:cNvGrpSpPr/>
          <p:nvPr/>
        </p:nvGrpSpPr>
        <p:grpSpPr>
          <a:xfrm>
            <a:off x="9315540" y="3960002"/>
            <a:ext cx="631420" cy="224209"/>
            <a:chOff x="9202715" y="3176414"/>
            <a:chExt cx="631420" cy="224209"/>
          </a:xfrm>
        </p:grpSpPr>
        <p:sp>
          <p:nvSpPr>
            <p:cNvPr id="641" name="Скругленный прямоугольник 640"/>
            <p:cNvSpPr/>
            <p:nvPr/>
          </p:nvSpPr>
          <p:spPr>
            <a:xfrm>
              <a:off x="920271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42" name="Скругленный прямоугольник 641"/>
            <p:cNvSpPr/>
            <p:nvPr/>
          </p:nvSpPr>
          <p:spPr>
            <a:xfrm>
              <a:off x="9426707" y="3176414"/>
              <a:ext cx="183435" cy="224209"/>
            </a:xfrm>
            <a:prstGeom prst="roundRect">
              <a:avLst/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43" name="Скругленный прямоугольник 642"/>
            <p:cNvSpPr/>
            <p:nvPr/>
          </p:nvSpPr>
          <p:spPr>
            <a:xfrm>
              <a:off x="9650700" y="3176414"/>
              <a:ext cx="183435" cy="224209"/>
            </a:xfrm>
            <a:prstGeom prst="roundRect">
              <a:avLst/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644" name="Группа 643"/>
          <p:cNvGrpSpPr/>
          <p:nvPr/>
        </p:nvGrpSpPr>
        <p:grpSpPr>
          <a:xfrm>
            <a:off x="11177699" y="3960002"/>
            <a:ext cx="631420" cy="224209"/>
            <a:chOff x="10310575" y="3176414"/>
            <a:chExt cx="631420" cy="224209"/>
          </a:xfrm>
        </p:grpSpPr>
        <p:sp>
          <p:nvSpPr>
            <p:cNvPr id="645" name="Скругленный прямоугольник 644"/>
            <p:cNvSpPr/>
            <p:nvPr/>
          </p:nvSpPr>
          <p:spPr>
            <a:xfrm>
              <a:off x="1031057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46" name="Скругленный прямоугольник 645"/>
            <p:cNvSpPr/>
            <p:nvPr/>
          </p:nvSpPr>
          <p:spPr>
            <a:xfrm>
              <a:off x="10534567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47" name="Скругленный прямоугольник 646"/>
            <p:cNvSpPr/>
            <p:nvPr/>
          </p:nvSpPr>
          <p:spPr>
            <a:xfrm>
              <a:off x="10758560" y="3176414"/>
              <a:ext cx="183435" cy="224209"/>
            </a:xfrm>
            <a:prstGeom prst="roundRect">
              <a:avLst/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660" name="Группа 659"/>
          <p:cNvGrpSpPr/>
          <p:nvPr/>
        </p:nvGrpSpPr>
        <p:grpSpPr>
          <a:xfrm>
            <a:off x="10288379" y="4385073"/>
            <a:ext cx="631420" cy="224209"/>
            <a:chOff x="10310575" y="3176414"/>
            <a:chExt cx="631420" cy="224209"/>
          </a:xfrm>
        </p:grpSpPr>
        <p:sp>
          <p:nvSpPr>
            <p:cNvPr id="661" name="Скругленный прямоугольник 660"/>
            <p:cNvSpPr/>
            <p:nvPr/>
          </p:nvSpPr>
          <p:spPr>
            <a:xfrm>
              <a:off x="1031057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62" name="Скругленный прямоугольник 661"/>
            <p:cNvSpPr/>
            <p:nvPr/>
          </p:nvSpPr>
          <p:spPr>
            <a:xfrm>
              <a:off x="10534567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63" name="Скругленный прямоугольник 662"/>
            <p:cNvSpPr/>
            <p:nvPr/>
          </p:nvSpPr>
          <p:spPr>
            <a:xfrm>
              <a:off x="10758560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664" name="Группа 663"/>
          <p:cNvGrpSpPr/>
          <p:nvPr/>
        </p:nvGrpSpPr>
        <p:grpSpPr>
          <a:xfrm>
            <a:off x="9315540" y="4385073"/>
            <a:ext cx="631420" cy="224209"/>
            <a:chOff x="9202715" y="3176414"/>
            <a:chExt cx="631420" cy="224209"/>
          </a:xfrm>
        </p:grpSpPr>
        <p:sp>
          <p:nvSpPr>
            <p:cNvPr id="665" name="Скругленный прямоугольник 664"/>
            <p:cNvSpPr/>
            <p:nvPr/>
          </p:nvSpPr>
          <p:spPr>
            <a:xfrm>
              <a:off x="920271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66" name="Скругленный прямоугольник 665"/>
            <p:cNvSpPr/>
            <p:nvPr/>
          </p:nvSpPr>
          <p:spPr>
            <a:xfrm>
              <a:off x="9426707" y="3176414"/>
              <a:ext cx="183435" cy="224209"/>
            </a:xfrm>
            <a:prstGeom prst="roundRect">
              <a:avLst/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67" name="Скругленный прямоугольник 666"/>
            <p:cNvSpPr/>
            <p:nvPr/>
          </p:nvSpPr>
          <p:spPr>
            <a:xfrm>
              <a:off x="9650700" y="3176414"/>
              <a:ext cx="183435" cy="224209"/>
            </a:xfrm>
            <a:prstGeom prst="roundRect">
              <a:avLst/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668" name="Группа 667"/>
          <p:cNvGrpSpPr/>
          <p:nvPr/>
        </p:nvGrpSpPr>
        <p:grpSpPr>
          <a:xfrm>
            <a:off x="11177699" y="4385073"/>
            <a:ext cx="631420" cy="224209"/>
            <a:chOff x="10310575" y="3176414"/>
            <a:chExt cx="631420" cy="224209"/>
          </a:xfrm>
        </p:grpSpPr>
        <p:sp>
          <p:nvSpPr>
            <p:cNvPr id="669" name="Скругленный прямоугольник 668"/>
            <p:cNvSpPr/>
            <p:nvPr/>
          </p:nvSpPr>
          <p:spPr>
            <a:xfrm>
              <a:off x="1031057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70" name="Скругленный прямоугольник 669"/>
            <p:cNvSpPr/>
            <p:nvPr/>
          </p:nvSpPr>
          <p:spPr>
            <a:xfrm>
              <a:off x="10534567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71" name="Скругленный прямоугольник 670"/>
            <p:cNvSpPr/>
            <p:nvPr/>
          </p:nvSpPr>
          <p:spPr>
            <a:xfrm>
              <a:off x="10758560" y="3176414"/>
              <a:ext cx="183435" cy="224209"/>
            </a:xfrm>
            <a:prstGeom prst="roundRect">
              <a:avLst/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672" name="Группа 671"/>
          <p:cNvGrpSpPr/>
          <p:nvPr/>
        </p:nvGrpSpPr>
        <p:grpSpPr>
          <a:xfrm>
            <a:off x="10288379" y="4810144"/>
            <a:ext cx="631420" cy="224209"/>
            <a:chOff x="10310575" y="3176414"/>
            <a:chExt cx="631420" cy="224209"/>
          </a:xfrm>
        </p:grpSpPr>
        <p:sp>
          <p:nvSpPr>
            <p:cNvPr id="673" name="Скругленный прямоугольник 672"/>
            <p:cNvSpPr/>
            <p:nvPr/>
          </p:nvSpPr>
          <p:spPr>
            <a:xfrm>
              <a:off x="1031057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74" name="Скругленный прямоугольник 673"/>
            <p:cNvSpPr/>
            <p:nvPr/>
          </p:nvSpPr>
          <p:spPr>
            <a:xfrm>
              <a:off x="10534567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75" name="Скругленный прямоугольник 674"/>
            <p:cNvSpPr/>
            <p:nvPr/>
          </p:nvSpPr>
          <p:spPr>
            <a:xfrm>
              <a:off x="10758560" y="3176414"/>
              <a:ext cx="183435" cy="224209"/>
            </a:xfrm>
            <a:prstGeom prst="roundRect">
              <a:avLst/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676" name="Группа 675"/>
          <p:cNvGrpSpPr/>
          <p:nvPr/>
        </p:nvGrpSpPr>
        <p:grpSpPr>
          <a:xfrm>
            <a:off x="9315540" y="4810144"/>
            <a:ext cx="631420" cy="224209"/>
            <a:chOff x="9202715" y="3176414"/>
            <a:chExt cx="631420" cy="224209"/>
          </a:xfrm>
        </p:grpSpPr>
        <p:sp>
          <p:nvSpPr>
            <p:cNvPr id="677" name="Скругленный прямоугольник 676"/>
            <p:cNvSpPr/>
            <p:nvPr/>
          </p:nvSpPr>
          <p:spPr>
            <a:xfrm>
              <a:off x="920271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78" name="Скругленный прямоугольник 677"/>
            <p:cNvSpPr/>
            <p:nvPr/>
          </p:nvSpPr>
          <p:spPr>
            <a:xfrm>
              <a:off x="9426707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79" name="Скругленный прямоугольник 678"/>
            <p:cNvSpPr/>
            <p:nvPr/>
          </p:nvSpPr>
          <p:spPr>
            <a:xfrm>
              <a:off x="9650700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680" name="Группа 679"/>
          <p:cNvGrpSpPr/>
          <p:nvPr/>
        </p:nvGrpSpPr>
        <p:grpSpPr>
          <a:xfrm>
            <a:off x="11177699" y="4810144"/>
            <a:ext cx="631420" cy="224209"/>
            <a:chOff x="10310575" y="3176414"/>
            <a:chExt cx="631420" cy="224209"/>
          </a:xfrm>
        </p:grpSpPr>
        <p:sp>
          <p:nvSpPr>
            <p:cNvPr id="681" name="Скругленный прямоугольник 680"/>
            <p:cNvSpPr/>
            <p:nvPr/>
          </p:nvSpPr>
          <p:spPr>
            <a:xfrm>
              <a:off x="1031057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82" name="Скругленный прямоугольник 681"/>
            <p:cNvSpPr/>
            <p:nvPr/>
          </p:nvSpPr>
          <p:spPr>
            <a:xfrm>
              <a:off x="10534567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83" name="Скругленный прямоугольник 682"/>
            <p:cNvSpPr/>
            <p:nvPr/>
          </p:nvSpPr>
          <p:spPr>
            <a:xfrm>
              <a:off x="10758560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684" name="Группа 683"/>
          <p:cNvGrpSpPr/>
          <p:nvPr/>
        </p:nvGrpSpPr>
        <p:grpSpPr>
          <a:xfrm>
            <a:off x="10288379" y="5235215"/>
            <a:ext cx="631420" cy="224209"/>
            <a:chOff x="10310575" y="3176414"/>
            <a:chExt cx="631420" cy="224209"/>
          </a:xfrm>
        </p:grpSpPr>
        <p:sp>
          <p:nvSpPr>
            <p:cNvPr id="685" name="Скругленный прямоугольник 684"/>
            <p:cNvSpPr/>
            <p:nvPr/>
          </p:nvSpPr>
          <p:spPr>
            <a:xfrm>
              <a:off x="1031057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86" name="Скругленный прямоугольник 685"/>
            <p:cNvSpPr/>
            <p:nvPr/>
          </p:nvSpPr>
          <p:spPr>
            <a:xfrm>
              <a:off x="10534567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87" name="Скругленный прямоугольник 686"/>
            <p:cNvSpPr/>
            <p:nvPr/>
          </p:nvSpPr>
          <p:spPr>
            <a:xfrm>
              <a:off x="10758560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688" name="Группа 687"/>
          <p:cNvGrpSpPr/>
          <p:nvPr/>
        </p:nvGrpSpPr>
        <p:grpSpPr>
          <a:xfrm>
            <a:off x="9315540" y="5235215"/>
            <a:ext cx="631420" cy="224209"/>
            <a:chOff x="9202715" y="3176414"/>
            <a:chExt cx="631420" cy="224209"/>
          </a:xfrm>
        </p:grpSpPr>
        <p:sp>
          <p:nvSpPr>
            <p:cNvPr id="689" name="Скругленный прямоугольник 688"/>
            <p:cNvSpPr/>
            <p:nvPr/>
          </p:nvSpPr>
          <p:spPr>
            <a:xfrm>
              <a:off x="920271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90" name="Скругленный прямоугольник 689"/>
            <p:cNvSpPr/>
            <p:nvPr/>
          </p:nvSpPr>
          <p:spPr>
            <a:xfrm>
              <a:off x="9426707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91" name="Скругленный прямоугольник 690"/>
            <p:cNvSpPr/>
            <p:nvPr/>
          </p:nvSpPr>
          <p:spPr>
            <a:xfrm>
              <a:off x="9650700" y="3176414"/>
              <a:ext cx="183435" cy="224209"/>
            </a:xfrm>
            <a:prstGeom prst="roundRect">
              <a:avLst/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692" name="Группа 691"/>
          <p:cNvGrpSpPr/>
          <p:nvPr/>
        </p:nvGrpSpPr>
        <p:grpSpPr>
          <a:xfrm>
            <a:off x="11177699" y="5235215"/>
            <a:ext cx="631420" cy="224209"/>
            <a:chOff x="10310575" y="3176414"/>
            <a:chExt cx="631420" cy="224209"/>
          </a:xfrm>
        </p:grpSpPr>
        <p:sp>
          <p:nvSpPr>
            <p:cNvPr id="693" name="Скругленный прямоугольник 692"/>
            <p:cNvSpPr/>
            <p:nvPr/>
          </p:nvSpPr>
          <p:spPr>
            <a:xfrm>
              <a:off x="1031057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94" name="Скругленный прямоугольник 693"/>
            <p:cNvSpPr/>
            <p:nvPr/>
          </p:nvSpPr>
          <p:spPr>
            <a:xfrm>
              <a:off x="10534567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95" name="Скругленный прямоугольник 694"/>
            <p:cNvSpPr/>
            <p:nvPr/>
          </p:nvSpPr>
          <p:spPr>
            <a:xfrm>
              <a:off x="10758560" y="3176414"/>
              <a:ext cx="183435" cy="224209"/>
            </a:xfrm>
            <a:prstGeom prst="roundRect">
              <a:avLst/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696" name="Группа 695"/>
          <p:cNvGrpSpPr/>
          <p:nvPr/>
        </p:nvGrpSpPr>
        <p:grpSpPr>
          <a:xfrm>
            <a:off x="10288379" y="5661913"/>
            <a:ext cx="631420" cy="224209"/>
            <a:chOff x="10310575" y="3176414"/>
            <a:chExt cx="631420" cy="224209"/>
          </a:xfrm>
        </p:grpSpPr>
        <p:sp>
          <p:nvSpPr>
            <p:cNvPr id="697" name="Скругленный прямоугольник 696"/>
            <p:cNvSpPr/>
            <p:nvPr/>
          </p:nvSpPr>
          <p:spPr>
            <a:xfrm>
              <a:off x="1031057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98" name="Скругленный прямоугольник 697"/>
            <p:cNvSpPr/>
            <p:nvPr/>
          </p:nvSpPr>
          <p:spPr>
            <a:xfrm>
              <a:off x="10534567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699" name="Скругленный прямоугольник 698"/>
            <p:cNvSpPr/>
            <p:nvPr/>
          </p:nvSpPr>
          <p:spPr>
            <a:xfrm>
              <a:off x="10758560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700" name="Группа 699"/>
          <p:cNvGrpSpPr/>
          <p:nvPr/>
        </p:nvGrpSpPr>
        <p:grpSpPr>
          <a:xfrm>
            <a:off x="9315540" y="5661913"/>
            <a:ext cx="631420" cy="224209"/>
            <a:chOff x="9202715" y="3176414"/>
            <a:chExt cx="631420" cy="224209"/>
          </a:xfrm>
        </p:grpSpPr>
        <p:sp>
          <p:nvSpPr>
            <p:cNvPr id="701" name="Скругленный прямоугольник 700"/>
            <p:cNvSpPr/>
            <p:nvPr/>
          </p:nvSpPr>
          <p:spPr>
            <a:xfrm>
              <a:off x="920271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702" name="Скругленный прямоугольник 701"/>
            <p:cNvSpPr/>
            <p:nvPr/>
          </p:nvSpPr>
          <p:spPr>
            <a:xfrm>
              <a:off x="9426707" y="3176414"/>
              <a:ext cx="183435" cy="224209"/>
            </a:xfrm>
            <a:prstGeom prst="roundRect">
              <a:avLst/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703" name="Скругленный прямоугольник 702"/>
            <p:cNvSpPr/>
            <p:nvPr/>
          </p:nvSpPr>
          <p:spPr>
            <a:xfrm>
              <a:off x="9650700" y="3176414"/>
              <a:ext cx="183435" cy="224209"/>
            </a:xfrm>
            <a:prstGeom prst="roundRect">
              <a:avLst/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704" name="Группа 703"/>
          <p:cNvGrpSpPr/>
          <p:nvPr/>
        </p:nvGrpSpPr>
        <p:grpSpPr>
          <a:xfrm>
            <a:off x="11177699" y="5661913"/>
            <a:ext cx="631420" cy="224209"/>
            <a:chOff x="10310575" y="3176414"/>
            <a:chExt cx="631420" cy="224209"/>
          </a:xfrm>
        </p:grpSpPr>
        <p:sp>
          <p:nvSpPr>
            <p:cNvPr id="705" name="Скругленный прямоугольник 704"/>
            <p:cNvSpPr/>
            <p:nvPr/>
          </p:nvSpPr>
          <p:spPr>
            <a:xfrm>
              <a:off x="1031057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706" name="Скругленный прямоугольник 705"/>
            <p:cNvSpPr/>
            <p:nvPr/>
          </p:nvSpPr>
          <p:spPr>
            <a:xfrm>
              <a:off x="10534567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707" name="Скругленный прямоугольник 706"/>
            <p:cNvSpPr/>
            <p:nvPr/>
          </p:nvSpPr>
          <p:spPr>
            <a:xfrm>
              <a:off x="10758560" y="3176414"/>
              <a:ext cx="183435" cy="224209"/>
            </a:xfrm>
            <a:prstGeom prst="roundRect">
              <a:avLst/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708" name="Группа 707"/>
          <p:cNvGrpSpPr/>
          <p:nvPr/>
        </p:nvGrpSpPr>
        <p:grpSpPr>
          <a:xfrm>
            <a:off x="10288379" y="6088617"/>
            <a:ext cx="631420" cy="224209"/>
            <a:chOff x="10310575" y="3176414"/>
            <a:chExt cx="631420" cy="224209"/>
          </a:xfrm>
        </p:grpSpPr>
        <p:sp>
          <p:nvSpPr>
            <p:cNvPr id="709" name="Скругленный прямоугольник 708"/>
            <p:cNvSpPr/>
            <p:nvPr/>
          </p:nvSpPr>
          <p:spPr>
            <a:xfrm>
              <a:off x="1031057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710" name="Скругленный прямоугольник 709"/>
            <p:cNvSpPr/>
            <p:nvPr/>
          </p:nvSpPr>
          <p:spPr>
            <a:xfrm>
              <a:off x="10534567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711" name="Скругленный прямоугольник 710"/>
            <p:cNvSpPr/>
            <p:nvPr/>
          </p:nvSpPr>
          <p:spPr>
            <a:xfrm>
              <a:off x="10758560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712" name="Группа 711"/>
          <p:cNvGrpSpPr/>
          <p:nvPr/>
        </p:nvGrpSpPr>
        <p:grpSpPr>
          <a:xfrm>
            <a:off x="9315540" y="6088617"/>
            <a:ext cx="631420" cy="224209"/>
            <a:chOff x="9202715" y="3176414"/>
            <a:chExt cx="631420" cy="224209"/>
          </a:xfrm>
        </p:grpSpPr>
        <p:sp>
          <p:nvSpPr>
            <p:cNvPr id="713" name="Скругленный прямоугольник 712"/>
            <p:cNvSpPr/>
            <p:nvPr/>
          </p:nvSpPr>
          <p:spPr>
            <a:xfrm>
              <a:off x="920271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714" name="Скругленный прямоугольник 713"/>
            <p:cNvSpPr/>
            <p:nvPr/>
          </p:nvSpPr>
          <p:spPr>
            <a:xfrm>
              <a:off x="9426707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715" name="Скругленный прямоугольник 714"/>
            <p:cNvSpPr/>
            <p:nvPr/>
          </p:nvSpPr>
          <p:spPr>
            <a:xfrm>
              <a:off x="9650700" y="3176414"/>
              <a:ext cx="183435" cy="224209"/>
            </a:xfrm>
            <a:prstGeom prst="roundRect">
              <a:avLst/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716" name="Группа 715"/>
          <p:cNvGrpSpPr/>
          <p:nvPr/>
        </p:nvGrpSpPr>
        <p:grpSpPr>
          <a:xfrm>
            <a:off x="11177699" y="6088617"/>
            <a:ext cx="631420" cy="224209"/>
            <a:chOff x="10310575" y="3176414"/>
            <a:chExt cx="631420" cy="224209"/>
          </a:xfrm>
        </p:grpSpPr>
        <p:sp>
          <p:nvSpPr>
            <p:cNvPr id="717" name="Скругленный прямоугольник 716"/>
            <p:cNvSpPr/>
            <p:nvPr/>
          </p:nvSpPr>
          <p:spPr>
            <a:xfrm>
              <a:off x="10310575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718" name="Скругленный прямоугольник 717"/>
            <p:cNvSpPr/>
            <p:nvPr/>
          </p:nvSpPr>
          <p:spPr>
            <a:xfrm>
              <a:off x="10534567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719" name="Скругленный прямоугольник 718"/>
            <p:cNvSpPr/>
            <p:nvPr/>
          </p:nvSpPr>
          <p:spPr>
            <a:xfrm>
              <a:off x="10758560" y="3176414"/>
              <a:ext cx="183435" cy="224209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800" dirty="0">
                <a:solidFill>
                  <a:srgbClr val="404040"/>
                </a:solidFill>
                <a:latin typeface="Montserrat" panose="00000500000000000000" pitchFamily="2" charset="-52"/>
              </a:endParaRPr>
            </a:p>
          </p:txBody>
        </p:sp>
      </p:grpSp>
      <p:sp>
        <p:nvSpPr>
          <p:cNvPr id="720" name="Прямоугольник 719"/>
          <p:cNvSpPr/>
          <p:nvPr/>
        </p:nvSpPr>
        <p:spPr>
          <a:xfrm>
            <a:off x="9315540" y="3327122"/>
            <a:ext cx="485710" cy="123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800" dirty="0">
                <a:solidFill>
                  <a:srgbClr val="4950D0"/>
                </a:solidFill>
                <a:latin typeface="Montserrat" panose="00000500000000000000" pitchFamily="2" charset="-52"/>
              </a:rPr>
              <a:t>Высокий</a:t>
            </a:r>
          </a:p>
        </p:txBody>
      </p:sp>
      <p:sp>
        <p:nvSpPr>
          <p:cNvPr id="721" name="Прямоугольник 720"/>
          <p:cNvSpPr/>
          <p:nvPr/>
        </p:nvSpPr>
        <p:spPr>
          <a:xfrm>
            <a:off x="10288379" y="3327122"/>
            <a:ext cx="480901" cy="123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800" dirty="0">
                <a:solidFill>
                  <a:srgbClr val="4950D0"/>
                </a:solidFill>
                <a:latin typeface="Montserrat" panose="00000500000000000000" pitchFamily="2" charset="-52"/>
              </a:rPr>
              <a:t>Высокий</a:t>
            </a:r>
          </a:p>
        </p:txBody>
      </p:sp>
      <p:sp>
        <p:nvSpPr>
          <p:cNvPr id="722" name="Прямоугольник 721"/>
          <p:cNvSpPr/>
          <p:nvPr/>
        </p:nvSpPr>
        <p:spPr>
          <a:xfrm>
            <a:off x="11177699" y="3327122"/>
            <a:ext cx="485710" cy="123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800" dirty="0">
                <a:solidFill>
                  <a:srgbClr val="4950D0"/>
                </a:solidFill>
                <a:latin typeface="Montserrat" panose="00000500000000000000" pitchFamily="2" charset="-52"/>
              </a:rPr>
              <a:t>Средний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9315540" y="3752193"/>
            <a:ext cx="2347869" cy="123111"/>
            <a:chOff x="9315540" y="3752193"/>
            <a:chExt cx="2347869" cy="123111"/>
          </a:xfrm>
        </p:grpSpPr>
        <p:sp>
          <p:nvSpPr>
            <p:cNvPr id="723" name="Прямоугольник 722"/>
            <p:cNvSpPr/>
            <p:nvPr/>
          </p:nvSpPr>
          <p:spPr>
            <a:xfrm>
              <a:off x="9315540" y="3752193"/>
              <a:ext cx="485710" cy="1231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800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Средний</a:t>
              </a:r>
            </a:p>
          </p:txBody>
        </p:sp>
        <p:sp>
          <p:nvSpPr>
            <p:cNvPr id="724" name="Прямоугольник 723"/>
            <p:cNvSpPr/>
            <p:nvPr/>
          </p:nvSpPr>
          <p:spPr>
            <a:xfrm>
              <a:off x="10288379" y="3752193"/>
              <a:ext cx="485710" cy="1231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800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Средний</a:t>
              </a:r>
            </a:p>
          </p:txBody>
        </p:sp>
        <p:sp>
          <p:nvSpPr>
            <p:cNvPr id="725" name="Прямоугольник 724"/>
            <p:cNvSpPr/>
            <p:nvPr/>
          </p:nvSpPr>
          <p:spPr>
            <a:xfrm>
              <a:off x="11177699" y="3752193"/>
              <a:ext cx="485710" cy="1231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800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Средний</a:t>
              </a:r>
            </a:p>
          </p:txBody>
        </p:sp>
      </p:grpSp>
      <p:grpSp>
        <p:nvGrpSpPr>
          <p:cNvPr id="726" name="Группа 725"/>
          <p:cNvGrpSpPr/>
          <p:nvPr/>
        </p:nvGrpSpPr>
        <p:grpSpPr>
          <a:xfrm>
            <a:off x="9315540" y="4177264"/>
            <a:ext cx="2347869" cy="123111"/>
            <a:chOff x="9315540" y="3752193"/>
            <a:chExt cx="2347869" cy="123111"/>
          </a:xfrm>
        </p:grpSpPr>
        <p:sp>
          <p:nvSpPr>
            <p:cNvPr id="727" name="Прямоугольник 726"/>
            <p:cNvSpPr/>
            <p:nvPr/>
          </p:nvSpPr>
          <p:spPr>
            <a:xfrm>
              <a:off x="9315540" y="3752193"/>
              <a:ext cx="410369" cy="1231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800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Низкий</a:t>
              </a:r>
            </a:p>
          </p:txBody>
        </p:sp>
        <p:sp>
          <p:nvSpPr>
            <p:cNvPr id="728" name="Прямоугольник 727"/>
            <p:cNvSpPr/>
            <p:nvPr/>
          </p:nvSpPr>
          <p:spPr>
            <a:xfrm>
              <a:off x="10288379" y="3752193"/>
              <a:ext cx="480901" cy="1231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800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Высокий</a:t>
              </a:r>
            </a:p>
          </p:txBody>
        </p:sp>
        <p:sp>
          <p:nvSpPr>
            <p:cNvPr id="729" name="Прямоугольник 728"/>
            <p:cNvSpPr/>
            <p:nvPr/>
          </p:nvSpPr>
          <p:spPr>
            <a:xfrm>
              <a:off x="11177699" y="3752193"/>
              <a:ext cx="485710" cy="1231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800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Средний</a:t>
              </a:r>
            </a:p>
          </p:txBody>
        </p:sp>
      </p:grpSp>
      <p:grpSp>
        <p:nvGrpSpPr>
          <p:cNvPr id="730" name="Группа 729"/>
          <p:cNvGrpSpPr/>
          <p:nvPr/>
        </p:nvGrpSpPr>
        <p:grpSpPr>
          <a:xfrm>
            <a:off x="9315540" y="4602335"/>
            <a:ext cx="2347869" cy="123111"/>
            <a:chOff x="9315540" y="3752193"/>
            <a:chExt cx="2347869" cy="123111"/>
          </a:xfrm>
        </p:grpSpPr>
        <p:sp>
          <p:nvSpPr>
            <p:cNvPr id="731" name="Прямоугольник 730"/>
            <p:cNvSpPr/>
            <p:nvPr/>
          </p:nvSpPr>
          <p:spPr>
            <a:xfrm>
              <a:off x="9315540" y="3752193"/>
              <a:ext cx="410369" cy="1231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800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Низкий</a:t>
              </a:r>
            </a:p>
          </p:txBody>
        </p:sp>
        <p:sp>
          <p:nvSpPr>
            <p:cNvPr id="732" name="Прямоугольник 731"/>
            <p:cNvSpPr/>
            <p:nvPr/>
          </p:nvSpPr>
          <p:spPr>
            <a:xfrm>
              <a:off x="10288379" y="3752193"/>
              <a:ext cx="480901" cy="1231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800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Высокий</a:t>
              </a:r>
            </a:p>
          </p:txBody>
        </p:sp>
        <p:sp>
          <p:nvSpPr>
            <p:cNvPr id="733" name="Прямоугольник 732"/>
            <p:cNvSpPr/>
            <p:nvPr/>
          </p:nvSpPr>
          <p:spPr>
            <a:xfrm>
              <a:off x="11177699" y="3752193"/>
              <a:ext cx="485710" cy="1231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800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Средний</a:t>
              </a:r>
            </a:p>
          </p:txBody>
        </p:sp>
      </p:grpSp>
      <p:grpSp>
        <p:nvGrpSpPr>
          <p:cNvPr id="734" name="Группа 733"/>
          <p:cNvGrpSpPr/>
          <p:nvPr/>
        </p:nvGrpSpPr>
        <p:grpSpPr>
          <a:xfrm>
            <a:off x="9315540" y="5027406"/>
            <a:ext cx="2343060" cy="123111"/>
            <a:chOff x="9315540" y="3752193"/>
            <a:chExt cx="2343060" cy="123111"/>
          </a:xfrm>
        </p:grpSpPr>
        <p:sp>
          <p:nvSpPr>
            <p:cNvPr id="735" name="Прямоугольник 734"/>
            <p:cNvSpPr/>
            <p:nvPr/>
          </p:nvSpPr>
          <p:spPr>
            <a:xfrm>
              <a:off x="9315540" y="3752193"/>
              <a:ext cx="480901" cy="1231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800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Высокий</a:t>
              </a:r>
            </a:p>
          </p:txBody>
        </p:sp>
        <p:sp>
          <p:nvSpPr>
            <p:cNvPr id="736" name="Прямоугольник 735"/>
            <p:cNvSpPr/>
            <p:nvPr/>
          </p:nvSpPr>
          <p:spPr>
            <a:xfrm>
              <a:off x="10288379" y="3752193"/>
              <a:ext cx="485710" cy="1231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800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Средний</a:t>
              </a:r>
            </a:p>
          </p:txBody>
        </p:sp>
        <p:sp>
          <p:nvSpPr>
            <p:cNvPr id="737" name="Прямоугольник 736"/>
            <p:cNvSpPr/>
            <p:nvPr/>
          </p:nvSpPr>
          <p:spPr>
            <a:xfrm>
              <a:off x="11177699" y="3752193"/>
              <a:ext cx="480901" cy="1231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800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Высокий</a:t>
              </a:r>
            </a:p>
          </p:txBody>
        </p:sp>
      </p:grpSp>
      <p:grpSp>
        <p:nvGrpSpPr>
          <p:cNvPr id="738" name="Группа 737"/>
          <p:cNvGrpSpPr/>
          <p:nvPr/>
        </p:nvGrpSpPr>
        <p:grpSpPr>
          <a:xfrm>
            <a:off x="9315540" y="5454104"/>
            <a:ext cx="2347869" cy="123111"/>
            <a:chOff x="9315540" y="3752193"/>
            <a:chExt cx="2347869" cy="123111"/>
          </a:xfrm>
        </p:grpSpPr>
        <p:sp>
          <p:nvSpPr>
            <p:cNvPr id="739" name="Прямоугольник 738"/>
            <p:cNvSpPr/>
            <p:nvPr/>
          </p:nvSpPr>
          <p:spPr>
            <a:xfrm>
              <a:off x="9315540" y="3752193"/>
              <a:ext cx="485710" cy="1231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800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Средний</a:t>
              </a:r>
            </a:p>
          </p:txBody>
        </p:sp>
        <p:sp>
          <p:nvSpPr>
            <p:cNvPr id="740" name="Прямоугольник 739"/>
            <p:cNvSpPr/>
            <p:nvPr/>
          </p:nvSpPr>
          <p:spPr>
            <a:xfrm>
              <a:off x="10288379" y="3752193"/>
              <a:ext cx="480901" cy="1231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800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Высокий</a:t>
              </a:r>
            </a:p>
          </p:txBody>
        </p:sp>
        <p:sp>
          <p:nvSpPr>
            <p:cNvPr id="741" name="Прямоугольник 740"/>
            <p:cNvSpPr/>
            <p:nvPr/>
          </p:nvSpPr>
          <p:spPr>
            <a:xfrm>
              <a:off x="11177699" y="3752193"/>
              <a:ext cx="485710" cy="1231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800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Средний</a:t>
              </a:r>
            </a:p>
          </p:txBody>
        </p:sp>
      </p:grpSp>
      <p:grpSp>
        <p:nvGrpSpPr>
          <p:cNvPr id="742" name="Группа 741"/>
          <p:cNvGrpSpPr/>
          <p:nvPr/>
        </p:nvGrpSpPr>
        <p:grpSpPr>
          <a:xfrm>
            <a:off x="9315540" y="5880802"/>
            <a:ext cx="2347869" cy="123111"/>
            <a:chOff x="9315540" y="3752193"/>
            <a:chExt cx="2347869" cy="123111"/>
          </a:xfrm>
        </p:grpSpPr>
        <p:sp>
          <p:nvSpPr>
            <p:cNvPr id="743" name="Прямоугольник 742"/>
            <p:cNvSpPr/>
            <p:nvPr/>
          </p:nvSpPr>
          <p:spPr>
            <a:xfrm>
              <a:off x="9315540" y="3752193"/>
              <a:ext cx="410369" cy="1231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800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Низкий</a:t>
              </a:r>
            </a:p>
          </p:txBody>
        </p:sp>
        <p:sp>
          <p:nvSpPr>
            <p:cNvPr id="744" name="Прямоугольник 743"/>
            <p:cNvSpPr/>
            <p:nvPr/>
          </p:nvSpPr>
          <p:spPr>
            <a:xfrm>
              <a:off x="10288379" y="3752193"/>
              <a:ext cx="480901" cy="1231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800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Высокий</a:t>
              </a:r>
            </a:p>
          </p:txBody>
        </p:sp>
        <p:sp>
          <p:nvSpPr>
            <p:cNvPr id="745" name="Прямоугольник 744"/>
            <p:cNvSpPr/>
            <p:nvPr/>
          </p:nvSpPr>
          <p:spPr>
            <a:xfrm>
              <a:off x="11177699" y="3752193"/>
              <a:ext cx="485710" cy="1231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800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Средний</a:t>
              </a:r>
            </a:p>
          </p:txBody>
        </p:sp>
      </p:grpSp>
      <p:grpSp>
        <p:nvGrpSpPr>
          <p:cNvPr id="746" name="Группа 745"/>
          <p:cNvGrpSpPr/>
          <p:nvPr/>
        </p:nvGrpSpPr>
        <p:grpSpPr>
          <a:xfrm>
            <a:off x="9315540" y="6307506"/>
            <a:ext cx="2343060" cy="123111"/>
            <a:chOff x="9315540" y="3752193"/>
            <a:chExt cx="2343060" cy="123111"/>
          </a:xfrm>
        </p:grpSpPr>
        <p:sp>
          <p:nvSpPr>
            <p:cNvPr id="747" name="Прямоугольник 746"/>
            <p:cNvSpPr/>
            <p:nvPr/>
          </p:nvSpPr>
          <p:spPr>
            <a:xfrm>
              <a:off x="9315540" y="3752193"/>
              <a:ext cx="485710" cy="1231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800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Средний</a:t>
              </a:r>
            </a:p>
          </p:txBody>
        </p:sp>
        <p:sp>
          <p:nvSpPr>
            <p:cNvPr id="748" name="Прямоугольник 747"/>
            <p:cNvSpPr/>
            <p:nvPr/>
          </p:nvSpPr>
          <p:spPr>
            <a:xfrm>
              <a:off x="10288379" y="3752193"/>
              <a:ext cx="480901" cy="1231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800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Высокий</a:t>
              </a:r>
            </a:p>
          </p:txBody>
        </p:sp>
        <p:sp>
          <p:nvSpPr>
            <p:cNvPr id="749" name="Прямоугольник 748"/>
            <p:cNvSpPr/>
            <p:nvPr/>
          </p:nvSpPr>
          <p:spPr>
            <a:xfrm>
              <a:off x="11177699" y="3752193"/>
              <a:ext cx="480901" cy="1231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r>
                <a:rPr lang="ru-RU" sz="800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Высокий</a:t>
              </a:r>
            </a:p>
          </p:txBody>
        </p:sp>
      </p:grpSp>
      <p:pic>
        <p:nvPicPr>
          <p:cNvPr id="1879" name="Picture 8">
            <a:extLst>
              <a:ext uri="{FF2B5EF4-FFF2-40B4-BE49-F238E27FC236}">
                <a16:creationId xmlns:a16="http://schemas.microsoft.com/office/drawing/2014/main" id="{9674B19B-EEAB-44FC-ACCE-7424D7A475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 l="10521" t="15962" r="77292" b="69215"/>
          <a:stretch>
            <a:fillRect/>
          </a:stretch>
        </p:blipFill>
        <p:spPr bwMode="auto">
          <a:xfrm>
            <a:off x="11252882" y="0"/>
            <a:ext cx="939118" cy="854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7728729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3973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8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/>
          <p:cNvSpPr/>
          <p:nvPr/>
        </p:nvSpPr>
        <p:spPr>
          <a:xfrm>
            <a:off x="140208" y="6598515"/>
            <a:ext cx="316998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ru-RU" sz="1200" b="1" i="1" dirty="0">
                <a:solidFill>
                  <a:srgbClr val="4950D0"/>
                </a:solidFill>
                <a:latin typeface="Montserrat" panose="00000500000000000000" pitchFamily="2" charset="-52"/>
              </a:rPr>
              <a:t>12</a:t>
            </a:r>
            <a:r>
              <a:rPr lang="en-US" sz="1200" dirty="0">
                <a:solidFill>
                  <a:srgbClr val="4950D0"/>
                </a:solidFill>
                <a:latin typeface="Montserrat" panose="00000500000000000000" pitchFamily="2" charset="-52"/>
              </a:rPr>
              <a:t>/</a:t>
            </a:r>
            <a:r>
              <a:rPr lang="en-US" sz="800" dirty="0">
                <a:solidFill>
                  <a:srgbClr val="4950D0"/>
                </a:solidFill>
                <a:latin typeface="Montserrat" panose="00000500000000000000" pitchFamily="2" charset="-52"/>
              </a:rPr>
              <a:t>13</a:t>
            </a:r>
            <a:endParaRPr lang="ru-RU" sz="800" dirty="0">
              <a:solidFill>
                <a:srgbClr val="4950D0"/>
              </a:solidFill>
              <a:latin typeface="Montserrat" panose="00000500000000000000" pitchFamily="2" charset="-52"/>
            </a:endParaRPr>
          </a:p>
        </p:txBody>
      </p:sp>
      <p:grpSp>
        <p:nvGrpSpPr>
          <p:cNvPr id="125" name="Группа 124"/>
          <p:cNvGrpSpPr/>
          <p:nvPr/>
        </p:nvGrpSpPr>
        <p:grpSpPr>
          <a:xfrm>
            <a:off x="70414" y="56746"/>
            <a:ext cx="11642162" cy="422119"/>
            <a:chOff x="70414" y="56746"/>
            <a:chExt cx="11642162" cy="422119"/>
          </a:xfrm>
        </p:grpSpPr>
        <p:sp>
          <p:nvSpPr>
            <p:cNvPr id="126" name="Скругленный прямоугольник 125"/>
            <p:cNvSpPr/>
            <p:nvPr/>
          </p:nvSpPr>
          <p:spPr>
            <a:xfrm>
              <a:off x="70414" y="56746"/>
              <a:ext cx="11642162" cy="422119"/>
            </a:xfrm>
            <a:prstGeom prst="roundRect">
              <a:avLst>
                <a:gd name="adj" fmla="val 17873"/>
              </a:avLst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7" name="Скругленный прямоугольник 126"/>
            <p:cNvSpPr/>
            <p:nvPr/>
          </p:nvSpPr>
          <p:spPr>
            <a:xfrm>
              <a:off x="108899" y="103316"/>
              <a:ext cx="710251" cy="328978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Введение</a:t>
              </a:r>
            </a:p>
          </p:txBody>
        </p:sp>
        <p:sp>
          <p:nvSpPr>
            <p:cNvPr id="128" name="Скругленный прямоугольник 127"/>
            <p:cNvSpPr/>
            <p:nvPr/>
          </p:nvSpPr>
          <p:spPr>
            <a:xfrm>
              <a:off x="938864" y="103317"/>
              <a:ext cx="949961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Методология разработки</a:t>
              </a:r>
            </a:p>
          </p:txBody>
        </p:sp>
        <p:sp>
          <p:nvSpPr>
            <p:cNvPr id="129" name="Скругленный прямоугольник 128"/>
            <p:cNvSpPr/>
            <p:nvPr/>
          </p:nvSpPr>
          <p:spPr>
            <a:xfrm>
              <a:off x="2008539" y="103317"/>
              <a:ext cx="190318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Бизнес-модель и бизнес-план </a:t>
              </a:r>
              <a:r>
                <a:rPr lang="ru-RU" sz="800" dirty="0" err="1">
                  <a:solidFill>
                    <a:schemeClr val="bg1"/>
                  </a:solidFill>
                  <a:latin typeface="Montserrat Light" panose="00000400000000000000" pitchFamily="2" charset="-52"/>
                </a:rPr>
                <a:t>стартап</a:t>
              </a:r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-проекта</a:t>
              </a:r>
            </a:p>
          </p:txBody>
        </p:sp>
        <p:sp>
          <p:nvSpPr>
            <p:cNvPr id="130" name="Скругленный прямоугольник 129"/>
            <p:cNvSpPr/>
            <p:nvPr/>
          </p:nvSpPr>
          <p:spPr>
            <a:xfrm>
              <a:off x="4031433" y="103317"/>
              <a:ext cx="171625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Маркетинговый анализ, стратегия и сбыт продукта</a:t>
              </a:r>
            </a:p>
          </p:txBody>
        </p:sp>
        <p:sp>
          <p:nvSpPr>
            <p:cNvPr id="131" name="Скругленный прямоугольник 130"/>
            <p:cNvSpPr/>
            <p:nvPr/>
          </p:nvSpPr>
          <p:spPr>
            <a:xfrm>
              <a:off x="5867397" y="103317"/>
              <a:ext cx="1290695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Производственный план</a:t>
              </a:r>
            </a:p>
          </p:txBody>
        </p:sp>
        <p:sp>
          <p:nvSpPr>
            <p:cNvPr id="132" name="Скругленный прямоугольник 131"/>
            <p:cNvSpPr/>
            <p:nvPr/>
          </p:nvSpPr>
          <p:spPr>
            <a:xfrm>
              <a:off x="7277806" y="103317"/>
              <a:ext cx="1177370" cy="328976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Организационный план</a:t>
              </a:r>
            </a:p>
          </p:txBody>
        </p:sp>
        <p:sp>
          <p:nvSpPr>
            <p:cNvPr id="133" name="Скругленный прямоугольник 132"/>
            <p:cNvSpPr/>
            <p:nvPr/>
          </p:nvSpPr>
          <p:spPr>
            <a:xfrm>
              <a:off x="8574890" y="103317"/>
              <a:ext cx="871316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Финансовый план</a:t>
              </a:r>
            </a:p>
          </p:txBody>
        </p:sp>
        <p:sp>
          <p:nvSpPr>
            <p:cNvPr id="134" name="Скругленный прямоугольник 133"/>
            <p:cNvSpPr/>
            <p:nvPr/>
          </p:nvSpPr>
          <p:spPr>
            <a:xfrm>
              <a:off x="9565920" y="103317"/>
              <a:ext cx="73861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Риски</a:t>
              </a:r>
              <a:b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</a:br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и гарантии</a:t>
              </a:r>
            </a:p>
          </p:txBody>
        </p:sp>
        <p:sp>
          <p:nvSpPr>
            <p:cNvPr id="135" name="Скругленный прямоугольник 134"/>
            <p:cNvSpPr/>
            <p:nvPr/>
          </p:nvSpPr>
          <p:spPr>
            <a:xfrm>
              <a:off x="10424241" y="103317"/>
              <a:ext cx="820339" cy="328976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tx1"/>
                  </a:solidFill>
                  <a:latin typeface="Montserrat ExtraBold" panose="00000900000000000000" pitchFamily="2" charset="-52"/>
                </a:rPr>
                <a:t>Заключение</a:t>
              </a:r>
            </a:p>
          </p:txBody>
        </p:sp>
        <p:grpSp>
          <p:nvGrpSpPr>
            <p:cNvPr id="136" name="Группа 135"/>
            <p:cNvGrpSpPr/>
            <p:nvPr/>
          </p:nvGrpSpPr>
          <p:grpSpPr>
            <a:xfrm>
              <a:off x="879007" y="109521"/>
              <a:ext cx="9485380" cy="316568"/>
              <a:chOff x="879007" y="69805"/>
              <a:chExt cx="9485380" cy="396000"/>
            </a:xfrm>
          </p:grpSpPr>
          <p:cxnSp>
            <p:nvCxnSpPr>
              <p:cNvPr id="137" name="Прямая соединительная линия 136"/>
              <p:cNvCxnSpPr/>
              <p:nvPr/>
            </p:nvCxnSpPr>
            <p:spPr>
              <a:xfrm>
                <a:off x="87900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Прямая соединительная линия 137"/>
              <p:cNvCxnSpPr/>
              <p:nvPr/>
            </p:nvCxnSpPr>
            <p:spPr>
              <a:xfrm>
                <a:off x="1948682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Прямая соединительная линия 138"/>
              <p:cNvCxnSpPr/>
              <p:nvPr/>
            </p:nvCxnSpPr>
            <p:spPr>
              <a:xfrm>
                <a:off x="3971576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Прямая соединительная линия 139"/>
              <p:cNvCxnSpPr/>
              <p:nvPr/>
            </p:nvCxnSpPr>
            <p:spPr>
              <a:xfrm>
                <a:off x="5807540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Прямая соединительная линия 140"/>
              <p:cNvCxnSpPr/>
              <p:nvPr/>
            </p:nvCxnSpPr>
            <p:spPr>
              <a:xfrm>
                <a:off x="7217949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Прямая соединительная линия 141"/>
              <p:cNvCxnSpPr/>
              <p:nvPr/>
            </p:nvCxnSpPr>
            <p:spPr>
              <a:xfrm>
                <a:off x="851503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Прямая соединительная линия 142"/>
              <p:cNvCxnSpPr/>
              <p:nvPr/>
            </p:nvCxnSpPr>
            <p:spPr>
              <a:xfrm>
                <a:off x="950606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Прямая соединительная линия 143"/>
              <p:cNvCxnSpPr/>
              <p:nvPr/>
            </p:nvCxnSpPr>
            <p:spPr>
              <a:xfrm>
                <a:off x="1036438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" name="Прямоугольник 40"/>
          <p:cNvSpPr/>
          <p:nvPr/>
        </p:nvSpPr>
        <p:spPr>
          <a:xfrm>
            <a:off x="351657" y="707484"/>
            <a:ext cx="11505381" cy="15388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4000"/>
              </a:lnSpc>
            </a:pPr>
            <a:r>
              <a:rPr lang="ru-RU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Новый район города Тулы — ЖК «Пряничная Слобода» </a:t>
            </a:r>
            <a:r>
              <a:rPr lang="ru-RU" sz="3200" b="1" dirty="0">
                <a:solidFill>
                  <a:srgbClr val="D8294C"/>
                </a:solidFill>
                <a:latin typeface="Montserrat" panose="00000500000000000000" pitchFamily="2" charset="-52"/>
              </a:rPr>
              <a:t>имеет преимущества </a:t>
            </a:r>
            <a:r>
              <a:rPr lang="ru-RU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для запуска </a:t>
            </a:r>
            <a:r>
              <a:rPr lang="ru-RU" sz="3200" b="1" dirty="0" err="1">
                <a:solidFill>
                  <a:srgbClr val="404040"/>
                </a:solidFill>
                <a:latin typeface="Montserrat" panose="00000500000000000000" pitchFamily="2" charset="-52"/>
              </a:rPr>
              <a:t>стартап</a:t>
            </a:r>
            <a:r>
              <a:rPr lang="ru-RU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-проекта в сфере маникюра</a:t>
            </a:r>
          </a:p>
        </p:txBody>
      </p:sp>
      <p:pic>
        <p:nvPicPr>
          <p:cNvPr id="317" name="Picture 21" descr="https://img.m2.ru/i/s1200x1200/m2-pht/cf8c42e/b3f92ba6/d64d46a5-a5f7-4c72-8d64-68731aca8cb5/origin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0817" b="1361"/>
          <a:stretch/>
        </p:blipFill>
        <p:spPr bwMode="auto">
          <a:xfrm>
            <a:off x="347907" y="2330493"/>
            <a:ext cx="11507809" cy="4197629"/>
          </a:xfrm>
          <a:prstGeom prst="roundRect">
            <a:avLst>
              <a:gd name="adj" fmla="val 7016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Группа 11"/>
          <p:cNvGrpSpPr/>
          <p:nvPr/>
        </p:nvGrpSpPr>
        <p:grpSpPr>
          <a:xfrm>
            <a:off x="520561" y="2554208"/>
            <a:ext cx="11162500" cy="3750198"/>
            <a:chOff x="457206" y="2554208"/>
            <a:chExt cx="11162500" cy="3750198"/>
          </a:xfrm>
        </p:grpSpPr>
        <p:grpSp>
          <p:nvGrpSpPr>
            <p:cNvPr id="9" name="Группа 8"/>
            <p:cNvGrpSpPr/>
            <p:nvPr/>
          </p:nvGrpSpPr>
          <p:grpSpPr>
            <a:xfrm>
              <a:off x="457206" y="2554208"/>
              <a:ext cx="5463245" cy="3750198"/>
              <a:chOff x="457206" y="2554208"/>
              <a:chExt cx="5463245" cy="3750198"/>
            </a:xfrm>
          </p:grpSpPr>
          <p:sp>
            <p:nvSpPr>
              <p:cNvPr id="2" name="Скругленный прямоугольник 1"/>
              <p:cNvSpPr/>
              <p:nvPr/>
            </p:nvSpPr>
            <p:spPr>
              <a:xfrm>
                <a:off x="457206" y="2554208"/>
                <a:ext cx="5463245" cy="3750198"/>
              </a:xfrm>
              <a:prstGeom prst="roundRect">
                <a:avLst>
                  <a:gd name="adj" fmla="val 9568"/>
                </a:avLst>
              </a:prstGeom>
              <a:solidFill>
                <a:srgbClr val="4950D0">
                  <a:alpha val="9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8" name="Группа 7"/>
              <p:cNvGrpSpPr/>
              <p:nvPr/>
            </p:nvGrpSpPr>
            <p:grpSpPr>
              <a:xfrm>
                <a:off x="810451" y="3113110"/>
                <a:ext cx="4462628" cy="2978577"/>
                <a:chOff x="810451" y="3113110"/>
                <a:chExt cx="4462628" cy="2978577"/>
              </a:xfrm>
            </p:grpSpPr>
            <p:sp>
              <p:nvSpPr>
                <p:cNvPr id="319" name="Прямоугольник 318"/>
                <p:cNvSpPr/>
                <p:nvPr/>
              </p:nvSpPr>
              <p:spPr>
                <a:xfrm>
                  <a:off x="810452" y="3113110"/>
                  <a:ext cx="4462627" cy="984885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>
                  <a:spAutoFit/>
                </a:bodyPr>
                <a:lstStyle/>
                <a:p>
                  <a:r>
                    <a:rPr lang="ru-RU" sz="3200" b="1" dirty="0">
                      <a:solidFill>
                        <a:schemeClr val="bg1"/>
                      </a:solidFill>
                      <a:latin typeface="Montserrat" panose="00000500000000000000" pitchFamily="2" charset="-52"/>
                    </a:rPr>
                    <a:t>Развитая инфраструктура</a:t>
                  </a:r>
                </a:p>
              </p:txBody>
            </p:sp>
            <p:sp>
              <p:nvSpPr>
                <p:cNvPr id="320" name="Прямоугольник 319"/>
                <p:cNvSpPr/>
                <p:nvPr/>
              </p:nvSpPr>
              <p:spPr>
                <a:xfrm>
                  <a:off x="810451" y="4168083"/>
                  <a:ext cx="4462628" cy="1923604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>
                  <a:spAutoFit/>
                </a:bodyPr>
                <a:lstStyle/>
                <a:p>
                  <a:pPr>
                    <a:lnSpc>
                      <a:spcPts val="3000"/>
                    </a:lnSpc>
                  </a:pPr>
                  <a:r>
                    <a:rPr lang="ru-RU" dirty="0">
                      <a:solidFill>
                        <a:schemeClr val="bg1"/>
                      </a:solidFill>
                      <a:latin typeface="Montserrat" panose="00000500000000000000" pitchFamily="2" charset="-52"/>
                    </a:rPr>
                    <a:t>Включает торговые центры, салоны красоты и </a:t>
                  </a:r>
                  <a:r>
                    <a:rPr lang="ru-RU" dirty="0" err="1">
                      <a:solidFill>
                        <a:schemeClr val="bg1"/>
                      </a:solidFill>
                      <a:latin typeface="Montserrat" panose="00000500000000000000" pitchFamily="2" charset="-52"/>
                    </a:rPr>
                    <a:t>спа</a:t>
                  </a:r>
                  <a:r>
                    <a:rPr lang="ru-RU" dirty="0">
                      <a:solidFill>
                        <a:schemeClr val="bg1"/>
                      </a:solidFill>
                      <a:latin typeface="Montserrat" panose="00000500000000000000" pitchFamily="2" charset="-52"/>
                    </a:rPr>
                    <a:t>-центры, что позволит студии создать синергию с уже существующими предприятиями</a:t>
                  </a:r>
                  <a:br>
                    <a:rPr lang="ru-RU" dirty="0">
                      <a:solidFill>
                        <a:schemeClr val="bg1"/>
                      </a:solidFill>
                      <a:latin typeface="Montserrat" panose="00000500000000000000" pitchFamily="2" charset="-52"/>
                    </a:rPr>
                  </a:br>
                  <a:r>
                    <a:rPr lang="ru-RU" dirty="0">
                      <a:solidFill>
                        <a:schemeClr val="bg1"/>
                      </a:solidFill>
                      <a:latin typeface="Montserrat" panose="00000500000000000000" pitchFamily="2" charset="-52"/>
                    </a:rPr>
                    <a:t>и привлечь больше клиентов</a:t>
                  </a:r>
                </a:p>
              </p:txBody>
            </p:sp>
          </p:grpSp>
        </p:grpSp>
        <p:grpSp>
          <p:nvGrpSpPr>
            <p:cNvPr id="11" name="Группа 10"/>
            <p:cNvGrpSpPr/>
            <p:nvPr/>
          </p:nvGrpSpPr>
          <p:grpSpPr>
            <a:xfrm>
              <a:off x="6156461" y="2554208"/>
              <a:ext cx="5463245" cy="3750198"/>
              <a:chOff x="6285059" y="2554208"/>
              <a:chExt cx="5463245" cy="3750198"/>
            </a:xfrm>
          </p:grpSpPr>
          <p:sp>
            <p:nvSpPr>
              <p:cNvPr id="337" name="Скругленный прямоугольник 336"/>
              <p:cNvSpPr/>
              <p:nvPr/>
            </p:nvSpPr>
            <p:spPr>
              <a:xfrm>
                <a:off x="6285059" y="2554208"/>
                <a:ext cx="5463245" cy="3750198"/>
              </a:xfrm>
              <a:prstGeom prst="roundRect">
                <a:avLst>
                  <a:gd name="adj" fmla="val 9568"/>
                </a:avLst>
              </a:prstGeom>
              <a:solidFill>
                <a:srgbClr val="4950D0">
                  <a:alpha val="9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10" name="Группа 9"/>
              <p:cNvGrpSpPr/>
              <p:nvPr/>
            </p:nvGrpSpPr>
            <p:grpSpPr>
              <a:xfrm>
                <a:off x="6603679" y="2620667"/>
                <a:ext cx="4826005" cy="3471020"/>
                <a:chOff x="6638304" y="2620667"/>
                <a:chExt cx="4826005" cy="3471020"/>
              </a:xfrm>
            </p:grpSpPr>
            <p:sp>
              <p:nvSpPr>
                <p:cNvPr id="339" name="Прямоугольник 338"/>
                <p:cNvSpPr/>
                <p:nvPr/>
              </p:nvSpPr>
              <p:spPr>
                <a:xfrm>
                  <a:off x="6638306" y="2620667"/>
                  <a:ext cx="4551684" cy="1477328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>
                  <a:spAutoFit/>
                </a:bodyPr>
                <a:lstStyle/>
                <a:p>
                  <a:r>
                    <a:rPr lang="ru-RU" sz="3200" b="1" dirty="0">
                      <a:solidFill>
                        <a:schemeClr val="bg1"/>
                      </a:solidFill>
                      <a:latin typeface="Montserrat" panose="00000500000000000000" pitchFamily="2" charset="-52"/>
                    </a:rPr>
                    <a:t>Уникальная специфика</a:t>
                  </a:r>
                  <a:br>
                    <a:rPr lang="ru-RU" sz="3200" b="1" dirty="0">
                      <a:solidFill>
                        <a:schemeClr val="bg1"/>
                      </a:solidFill>
                      <a:latin typeface="Montserrat" panose="00000500000000000000" pitchFamily="2" charset="-52"/>
                    </a:rPr>
                  </a:br>
                  <a:r>
                    <a:rPr lang="ru-RU" sz="3200" b="1" dirty="0">
                      <a:solidFill>
                        <a:schemeClr val="bg1"/>
                      </a:solidFill>
                      <a:latin typeface="Montserrat" panose="00000500000000000000" pitchFamily="2" charset="-52"/>
                    </a:rPr>
                    <a:t>и культура региона</a:t>
                  </a:r>
                </a:p>
              </p:txBody>
            </p:sp>
            <p:sp>
              <p:nvSpPr>
                <p:cNvPr id="340" name="Прямоугольник 339"/>
                <p:cNvSpPr/>
                <p:nvPr/>
              </p:nvSpPr>
              <p:spPr>
                <a:xfrm>
                  <a:off x="6638304" y="4168083"/>
                  <a:ext cx="4826005" cy="1923604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>
                  <a:spAutoFit/>
                </a:bodyPr>
                <a:lstStyle/>
                <a:p>
                  <a:pPr>
                    <a:lnSpc>
                      <a:spcPts val="3000"/>
                    </a:lnSpc>
                  </a:pPr>
                  <a:r>
                    <a:rPr lang="ru-RU" dirty="0">
                      <a:solidFill>
                        <a:schemeClr val="bg1"/>
                      </a:solidFill>
                      <a:latin typeface="Montserrat" panose="00000500000000000000" pitchFamily="2" charset="-52"/>
                    </a:rPr>
                    <a:t>Предложение услуг с использованием традиционных русских элементов</a:t>
                  </a:r>
                  <a:br>
                    <a:rPr lang="ru-RU" dirty="0">
                      <a:solidFill>
                        <a:schemeClr val="bg1"/>
                      </a:solidFill>
                      <a:latin typeface="Montserrat" panose="00000500000000000000" pitchFamily="2" charset="-52"/>
                    </a:rPr>
                  </a:br>
                  <a:r>
                    <a:rPr lang="ru-RU" dirty="0">
                      <a:solidFill>
                        <a:schemeClr val="bg1"/>
                      </a:solidFill>
                      <a:latin typeface="Montserrat" panose="00000500000000000000" pitchFamily="2" charset="-52"/>
                    </a:rPr>
                    <a:t>в дизайне ногтей или введение особых техник и приемов, привлекающих внимание местных жителей и туристов</a:t>
                  </a:r>
                </a:p>
              </p:txBody>
            </p:sp>
          </p:grpSp>
        </p:grpSp>
      </p:grpSp>
      <p:pic>
        <p:nvPicPr>
          <p:cNvPr id="1521" name="Picture 8">
            <a:extLst>
              <a:ext uri="{FF2B5EF4-FFF2-40B4-BE49-F238E27FC236}">
                <a16:creationId xmlns:a16="http://schemas.microsoft.com/office/drawing/2014/main" id="{D24952B7-2246-411A-B5F7-4EE5E94A63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 l="10521" t="15962" r="77292" b="69215"/>
          <a:stretch>
            <a:fillRect/>
          </a:stretch>
        </p:blipFill>
        <p:spPr bwMode="auto">
          <a:xfrm>
            <a:off x="11314086" y="0"/>
            <a:ext cx="877913" cy="908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4964035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9850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1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Скругленный прямоугольник 4"/>
          <p:cNvSpPr/>
          <p:nvPr/>
        </p:nvSpPr>
        <p:spPr>
          <a:xfrm>
            <a:off x="334962" y="193876"/>
            <a:ext cx="11652551" cy="6470248"/>
          </a:xfrm>
          <a:prstGeom prst="roundRect">
            <a:avLst>
              <a:gd name="adj" fmla="val 2696"/>
            </a:avLst>
          </a:prstGeom>
          <a:solidFill>
            <a:srgbClr val="495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4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1490019" y="4688796"/>
            <a:ext cx="9342437" cy="8309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ru-RU" sz="5400" b="1" dirty="0">
                <a:solidFill>
                  <a:schemeClr val="bg1"/>
                </a:solidFill>
                <a:latin typeface="Montserrat" panose="00000500000000000000" pitchFamily="2" charset="-52"/>
              </a:rPr>
              <a:t>Благодарю за внимание!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5769303" y="6334262"/>
            <a:ext cx="783869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Montserrat" panose="00000500000000000000" pitchFamily="2" charset="-52"/>
              </a:rPr>
              <a:t>Тула 2024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9626" y="475332"/>
            <a:ext cx="3723223" cy="3398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6444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0581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7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8" name="Группа 97"/>
          <p:cNvGrpSpPr/>
          <p:nvPr/>
        </p:nvGrpSpPr>
        <p:grpSpPr>
          <a:xfrm>
            <a:off x="70413" y="56746"/>
            <a:ext cx="11643051" cy="422119"/>
            <a:chOff x="70413" y="56746"/>
            <a:chExt cx="11643051" cy="422119"/>
          </a:xfrm>
        </p:grpSpPr>
        <p:sp>
          <p:nvSpPr>
            <p:cNvPr id="3" name="Скругленный прямоугольник 2"/>
            <p:cNvSpPr/>
            <p:nvPr/>
          </p:nvSpPr>
          <p:spPr>
            <a:xfrm>
              <a:off x="70413" y="56746"/>
              <a:ext cx="11643051" cy="422119"/>
            </a:xfrm>
            <a:prstGeom prst="roundRect">
              <a:avLst>
                <a:gd name="adj" fmla="val 17873"/>
              </a:avLst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Скругленный прямоугольник 18"/>
            <p:cNvSpPr/>
            <p:nvPr/>
          </p:nvSpPr>
          <p:spPr>
            <a:xfrm>
              <a:off x="108899" y="103316"/>
              <a:ext cx="710251" cy="32897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tx1"/>
                  </a:solidFill>
                  <a:latin typeface="Montserrat ExtraBold" panose="00000900000000000000" pitchFamily="2" charset="-52"/>
                </a:rPr>
                <a:t>Введение</a:t>
              </a:r>
            </a:p>
          </p:txBody>
        </p:sp>
        <p:sp>
          <p:nvSpPr>
            <p:cNvPr id="21" name="Скругленный прямоугольник 20"/>
            <p:cNvSpPr/>
            <p:nvPr/>
          </p:nvSpPr>
          <p:spPr>
            <a:xfrm>
              <a:off x="938864" y="103317"/>
              <a:ext cx="949961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Методология разработки</a:t>
              </a:r>
            </a:p>
          </p:txBody>
        </p:sp>
        <p:sp>
          <p:nvSpPr>
            <p:cNvPr id="22" name="Скругленный прямоугольник 21"/>
            <p:cNvSpPr/>
            <p:nvPr/>
          </p:nvSpPr>
          <p:spPr>
            <a:xfrm>
              <a:off x="2008539" y="103317"/>
              <a:ext cx="190318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Бизнес-модель и бизнес-план </a:t>
              </a:r>
              <a:r>
                <a:rPr lang="ru-RU" sz="800" dirty="0" err="1">
                  <a:solidFill>
                    <a:schemeClr val="bg1"/>
                  </a:solidFill>
                  <a:latin typeface="Montserrat Light" panose="00000400000000000000" pitchFamily="2" charset="-52"/>
                </a:rPr>
                <a:t>стартап</a:t>
              </a:r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-проекта</a:t>
              </a:r>
            </a:p>
          </p:txBody>
        </p:sp>
        <p:sp>
          <p:nvSpPr>
            <p:cNvPr id="23" name="Скругленный прямоугольник 22"/>
            <p:cNvSpPr/>
            <p:nvPr/>
          </p:nvSpPr>
          <p:spPr>
            <a:xfrm>
              <a:off x="4031433" y="103317"/>
              <a:ext cx="171625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Маркетинговый анализ, стратегия и сбыт продукта</a:t>
              </a:r>
            </a:p>
          </p:txBody>
        </p:sp>
        <p:sp>
          <p:nvSpPr>
            <p:cNvPr id="24" name="Скругленный прямоугольник 23"/>
            <p:cNvSpPr/>
            <p:nvPr/>
          </p:nvSpPr>
          <p:spPr>
            <a:xfrm>
              <a:off x="5867397" y="103317"/>
              <a:ext cx="1290695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Производственный план</a:t>
              </a:r>
            </a:p>
          </p:txBody>
        </p:sp>
        <p:sp>
          <p:nvSpPr>
            <p:cNvPr id="25" name="Скругленный прямоугольник 24"/>
            <p:cNvSpPr/>
            <p:nvPr/>
          </p:nvSpPr>
          <p:spPr>
            <a:xfrm>
              <a:off x="7277806" y="103317"/>
              <a:ext cx="1177370" cy="328976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Организационный план</a:t>
              </a:r>
            </a:p>
          </p:txBody>
        </p:sp>
        <p:sp>
          <p:nvSpPr>
            <p:cNvPr id="26" name="Скругленный прямоугольник 25"/>
            <p:cNvSpPr/>
            <p:nvPr/>
          </p:nvSpPr>
          <p:spPr>
            <a:xfrm>
              <a:off x="8574890" y="103317"/>
              <a:ext cx="871316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Финансовый план</a:t>
              </a:r>
            </a:p>
          </p:txBody>
        </p:sp>
        <p:sp>
          <p:nvSpPr>
            <p:cNvPr id="27" name="Скругленный прямоугольник 26"/>
            <p:cNvSpPr/>
            <p:nvPr/>
          </p:nvSpPr>
          <p:spPr>
            <a:xfrm>
              <a:off x="9565920" y="103317"/>
              <a:ext cx="73861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Риски</a:t>
              </a:r>
              <a:b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</a:br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и гарантии</a:t>
              </a:r>
            </a:p>
          </p:txBody>
        </p:sp>
        <p:sp>
          <p:nvSpPr>
            <p:cNvPr id="28" name="Скругленный прямоугольник 27"/>
            <p:cNvSpPr/>
            <p:nvPr/>
          </p:nvSpPr>
          <p:spPr>
            <a:xfrm>
              <a:off x="10424241" y="103317"/>
              <a:ext cx="802559" cy="328976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Заключение</a:t>
              </a:r>
            </a:p>
          </p:txBody>
        </p:sp>
        <p:grpSp>
          <p:nvGrpSpPr>
            <p:cNvPr id="97" name="Группа 96"/>
            <p:cNvGrpSpPr/>
            <p:nvPr/>
          </p:nvGrpSpPr>
          <p:grpSpPr>
            <a:xfrm>
              <a:off x="879007" y="109521"/>
              <a:ext cx="9485380" cy="316568"/>
              <a:chOff x="879007" y="69805"/>
              <a:chExt cx="9485380" cy="396000"/>
            </a:xfrm>
          </p:grpSpPr>
          <p:cxnSp>
            <p:nvCxnSpPr>
              <p:cNvPr id="15" name="Прямая соединительная линия 14"/>
              <p:cNvCxnSpPr/>
              <p:nvPr/>
            </p:nvCxnSpPr>
            <p:spPr>
              <a:xfrm>
                <a:off x="87900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Прямая соединительная линия 31"/>
              <p:cNvCxnSpPr/>
              <p:nvPr/>
            </p:nvCxnSpPr>
            <p:spPr>
              <a:xfrm>
                <a:off x="1948682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Прямая соединительная линия 32"/>
              <p:cNvCxnSpPr/>
              <p:nvPr/>
            </p:nvCxnSpPr>
            <p:spPr>
              <a:xfrm>
                <a:off x="3971576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Прямая соединительная линия 33"/>
              <p:cNvCxnSpPr/>
              <p:nvPr/>
            </p:nvCxnSpPr>
            <p:spPr>
              <a:xfrm>
                <a:off x="5807540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Прямая соединительная линия 34"/>
              <p:cNvCxnSpPr/>
              <p:nvPr/>
            </p:nvCxnSpPr>
            <p:spPr>
              <a:xfrm>
                <a:off x="7217949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Прямая соединительная линия 35"/>
              <p:cNvCxnSpPr/>
              <p:nvPr/>
            </p:nvCxnSpPr>
            <p:spPr>
              <a:xfrm>
                <a:off x="851503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Прямая соединительная линия 36"/>
              <p:cNvCxnSpPr/>
              <p:nvPr/>
            </p:nvCxnSpPr>
            <p:spPr>
              <a:xfrm>
                <a:off x="950606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Прямая соединительная линия 37"/>
              <p:cNvCxnSpPr/>
              <p:nvPr/>
            </p:nvCxnSpPr>
            <p:spPr>
              <a:xfrm>
                <a:off x="1036438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" name="Прямоугольник 40"/>
          <p:cNvSpPr/>
          <p:nvPr/>
        </p:nvSpPr>
        <p:spPr>
          <a:xfrm>
            <a:off x="351657" y="734350"/>
            <a:ext cx="11505381" cy="999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4000"/>
              </a:lnSpc>
            </a:pPr>
            <a:r>
              <a:rPr lang="ru-RU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-52"/>
              </a:rPr>
              <a:t>Уход известных косметических брендов</a:t>
            </a:r>
            <a:br>
              <a:rPr lang="ru-RU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-52"/>
              </a:rPr>
            </a:br>
            <a:r>
              <a:rPr lang="ru-RU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-52"/>
              </a:rPr>
              <a:t>не повлиял на </a:t>
            </a:r>
            <a:r>
              <a:rPr lang="ru-RU" sz="3200" b="1" dirty="0">
                <a:solidFill>
                  <a:srgbClr val="D8294C"/>
                </a:solidFill>
                <a:latin typeface="Montserrat" panose="00000500000000000000" pitchFamily="2" charset="-52"/>
              </a:rPr>
              <a:t>активное развитие нейл-индустрии</a:t>
            </a:r>
          </a:p>
        </p:txBody>
      </p:sp>
      <p:grpSp>
        <p:nvGrpSpPr>
          <p:cNvPr id="96" name="Группа 95"/>
          <p:cNvGrpSpPr/>
          <p:nvPr/>
        </p:nvGrpSpPr>
        <p:grpSpPr>
          <a:xfrm>
            <a:off x="334963" y="1988892"/>
            <a:ext cx="11522075" cy="4535733"/>
            <a:chOff x="334963" y="1988892"/>
            <a:chExt cx="11522075" cy="4535733"/>
          </a:xfrm>
        </p:grpSpPr>
        <p:sp>
          <p:nvSpPr>
            <p:cNvPr id="48" name="Скругленный прямоугольник 47"/>
            <p:cNvSpPr/>
            <p:nvPr/>
          </p:nvSpPr>
          <p:spPr>
            <a:xfrm>
              <a:off x="334963" y="1988892"/>
              <a:ext cx="3330999" cy="1548000"/>
            </a:xfrm>
            <a:prstGeom prst="roundRect">
              <a:avLst>
                <a:gd name="adj" fmla="val 22405"/>
              </a:avLst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Скругленный прямоугольник 7"/>
            <p:cNvSpPr/>
            <p:nvPr/>
          </p:nvSpPr>
          <p:spPr>
            <a:xfrm>
              <a:off x="334963" y="2019789"/>
              <a:ext cx="3434141" cy="4504836"/>
            </a:xfrm>
            <a:prstGeom prst="roundRect">
              <a:avLst>
                <a:gd name="adj" fmla="val 1044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685800" y="2167418"/>
              <a:ext cx="2139814" cy="2769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ru-RU" b="1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Цель проекта</a:t>
              </a: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685800" y="2547449"/>
              <a:ext cx="2933757" cy="128240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  <a:t>Создание маникюрной студии</a:t>
              </a:r>
              <a:b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</a:br>
              <a: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  <a:t>с оказанием услуг</a:t>
              </a:r>
              <a:b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</a:br>
              <a: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  <a:t>по безопасному</a:t>
              </a:r>
              <a:b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</a:br>
              <a: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  <a:t>и высококачественному</a:t>
              </a:r>
              <a:b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</a:br>
              <a: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  <a:t>уходу за ногтями</a:t>
              </a:r>
            </a:p>
          </p:txBody>
        </p:sp>
        <p:sp>
          <p:nvSpPr>
            <p:cNvPr id="80" name="Скругленный прямоугольник 79"/>
            <p:cNvSpPr/>
            <p:nvPr/>
          </p:nvSpPr>
          <p:spPr>
            <a:xfrm>
              <a:off x="4378930" y="1988892"/>
              <a:ext cx="3330999" cy="1548000"/>
            </a:xfrm>
            <a:prstGeom prst="roundRect">
              <a:avLst>
                <a:gd name="adj" fmla="val 22405"/>
              </a:avLst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Скругленный прямоугольник 80"/>
            <p:cNvSpPr/>
            <p:nvPr/>
          </p:nvSpPr>
          <p:spPr>
            <a:xfrm>
              <a:off x="4378930" y="2019789"/>
              <a:ext cx="3434141" cy="4504836"/>
            </a:xfrm>
            <a:prstGeom prst="roundRect">
              <a:avLst>
                <a:gd name="adj" fmla="val 1044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2" name="Прямоугольник 81"/>
            <p:cNvSpPr/>
            <p:nvPr/>
          </p:nvSpPr>
          <p:spPr>
            <a:xfrm>
              <a:off x="4729767" y="2167418"/>
              <a:ext cx="2488182" cy="2769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ru-RU" b="1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Стратегия проекта </a:t>
              </a:r>
            </a:p>
          </p:txBody>
        </p:sp>
        <p:sp>
          <p:nvSpPr>
            <p:cNvPr id="83" name="Прямоугольник 82"/>
            <p:cNvSpPr/>
            <p:nvPr/>
          </p:nvSpPr>
          <p:spPr>
            <a:xfrm>
              <a:off x="4729767" y="2547449"/>
              <a:ext cx="2933757" cy="32792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342900" indent="-342900">
                <a:lnSpc>
                  <a:spcPts val="1900"/>
                </a:lnSpc>
                <a:spcAft>
                  <a:spcPts val="1200"/>
                </a:spcAft>
                <a:buAutoNum type="arabicPeriod"/>
              </a:pPr>
              <a: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  <a:t>Исследование рынка</a:t>
              </a:r>
              <a:b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</a:br>
              <a: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  <a:t>в регионе</a:t>
              </a:r>
            </a:p>
            <a:p>
              <a:pPr marL="342900" indent="-342900">
                <a:lnSpc>
                  <a:spcPts val="1900"/>
                </a:lnSpc>
                <a:spcAft>
                  <a:spcPts val="1200"/>
                </a:spcAft>
                <a:buAutoNum type="arabicPeriod"/>
              </a:pPr>
              <a: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  <a:t>Анализ конкурентов</a:t>
              </a:r>
              <a:b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</a:br>
              <a: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  <a:t>и потребностей целевой аудитории</a:t>
              </a:r>
            </a:p>
            <a:p>
              <a:pPr marL="342900" indent="-342900">
                <a:lnSpc>
                  <a:spcPts val="1900"/>
                </a:lnSpc>
                <a:spcAft>
                  <a:spcPts val="1200"/>
                </a:spcAft>
                <a:buAutoNum type="arabicPeriod"/>
              </a:pPr>
              <a: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  <a:t>Составление финансового плана</a:t>
              </a:r>
            </a:p>
            <a:p>
              <a:pPr marL="342900" indent="-342900">
                <a:lnSpc>
                  <a:spcPts val="1900"/>
                </a:lnSpc>
                <a:spcAft>
                  <a:spcPts val="1200"/>
                </a:spcAft>
                <a:buAutoNum type="arabicPeriod"/>
              </a:pPr>
              <a: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  <a:t>Маркетинговая стратегия</a:t>
              </a:r>
            </a:p>
            <a:p>
              <a:pPr marL="342900" indent="-342900">
                <a:lnSpc>
                  <a:spcPts val="1900"/>
                </a:lnSpc>
                <a:spcAft>
                  <a:spcPts val="1200"/>
                </a:spcAft>
                <a:buAutoNum type="arabicPeriod"/>
              </a:pPr>
              <a: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  <a:t>Описание процессов работы маникюрной студии</a:t>
              </a:r>
            </a:p>
          </p:txBody>
        </p:sp>
        <p:sp>
          <p:nvSpPr>
            <p:cNvPr id="90" name="Скругленный прямоугольник 89"/>
            <p:cNvSpPr/>
            <p:nvPr/>
          </p:nvSpPr>
          <p:spPr>
            <a:xfrm>
              <a:off x="8422897" y="1988892"/>
              <a:ext cx="3330999" cy="1548000"/>
            </a:xfrm>
            <a:prstGeom prst="roundRect">
              <a:avLst>
                <a:gd name="adj" fmla="val 22405"/>
              </a:avLst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1" name="Скругленный прямоугольник 90"/>
            <p:cNvSpPr/>
            <p:nvPr/>
          </p:nvSpPr>
          <p:spPr>
            <a:xfrm>
              <a:off x="8422897" y="2019789"/>
              <a:ext cx="3434141" cy="4504836"/>
            </a:xfrm>
            <a:prstGeom prst="roundRect">
              <a:avLst>
                <a:gd name="adj" fmla="val 1044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2" name="Прямоугольник 91"/>
            <p:cNvSpPr/>
            <p:nvPr/>
          </p:nvSpPr>
          <p:spPr>
            <a:xfrm>
              <a:off x="8773734" y="2167418"/>
              <a:ext cx="2854386" cy="2769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ru-RU" b="1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Уникальность проекта </a:t>
              </a:r>
            </a:p>
          </p:txBody>
        </p:sp>
        <p:sp>
          <p:nvSpPr>
            <p:cNvPr id="93" name="Прямоугольник 92"/>
            <p:cNvSpPr/>
            <p:nvPr/>
          </p:nvSpPr>
          <p:spPr>
            <a:xfrm>
              <a:off x="8773734" y="2547449"/>
              <a:ext cx="2933757" cy="36291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342900" indent="-342900">
                <a:lnSpc>
                  <a:spcPts val="1900"/>
                </a:lnSpc>
                <a:spcAft>
                  <a:spcPts val="1200"/>
                </a:spcAft>
                <a:buAutoNum type="arabicPeriod"/>
              </a:pPr>
              <a: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  <a:t>Экологически чистые</a:t>
              </a:r>
              <a:b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</a:br>
              <a: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  <a:t>и безопасные материалы</a:t>
              </a:r>
            </a:p>
            <a:p>
              <a:pPr marL="342900" indent="-342900">
                <a:lnSpc>
                  <a:spcPts val="1900"/>
                </a:lnSpc>
                <a:spcAft>
                  <a:spcPts val="1200"/>
                </a:spcAft>
                <a:buAutoNum type="arabicPeriod"/>
              </a:pPr>
              <a: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  <a:t>Инновационные технологии, такие</a:t>
              </a:r>
              <a:b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</a:br>
              <a: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  <a:t>как 3D-принтер</a:t>
              </a:r>
            </a:p>
            <a:p>
              <a:pPr marL="342900" indent="-342900">
                <a:lnSpc>
                  <a:spcPts val="1900"/>
                </a:lnSpc>
                <a:spcAft>
                  <a:spcPts val="1200"/>
                </a:spcAft>
                <a:buAutoNum type="arabicPeriod"/>
              </a:pPr>
              <a: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  <a:t>ПО для предварительного просмотра дизайна</a:t>
              </a:r>
              <a:b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</a:br>
              <a: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  <a:t>на ногтях</a:t>
              </a:r>
            </a:p>
            <a:p>
              <a:pPr marL="342900" indent="-342900">
                <a:lnSpc>
                  <a:spcPts val="1900"/>
                </a:lnSpc>
                <a:spcAft>
                  <a:spcPts val="1200"/>
                </a:spcAft>
                <a:buAutoNum type="arabicPeriod"/>
              </a:pPr>
              <a: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  <a:t>Услуги по </a:t>
              </a:r>
              <a:r>
                <a:rPr lang="ru-RU" sz="1400" dirty="0" err="1">
                  <a:solidFill>
                    <a:srgbClr val="404040"/>
                  </a:solidFill>
                  <a:latin typeface="Montserrat Medium" panose="00000600000000000000" pitchFamily="2" charset="-52"/>
                </a:rPr>
                <a:t>ортониксии</a:t>
              </a:r>
              <a: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  <a:t> — протезирование</a:t>
              </a:r>
              <a:b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</a:br>
              <a:r>
                <a:rPr lang="ru-RU" sz="1400" dirty="0">
                  <a:solidFill>
                    <a:srgbClr val="404040"/>
                  </a:solidFill>
                  <a:latin typeface="Montserrat Medium" panose="00000600000000000000" pitchFamily="2" charset="-52"/>
                </a:rPr>
                <a:t>и исправление формы ногтей с помощью скоб или пластин </a:t>
              </a:r>
            </a:p>
          </p:txBody>
        </p:sp>
      </p:grpSp>
      <p:sp>
        <p:nvSpPr>
          <p:cNvPr id="157" name="Прямоугольник 156"/>
          <p:cNvSpPr/>
          <p:nvPr/>
        </p:nvSpPr>
        <p:spPr>
          <a:xfrm>
            <a:off x="212720" y="6598515"/>
            <a:ext cx="244486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ru-RU" sz="1200" b="1" i="1" dirty="0">
                <a:solidFill>
                  <a:srgbClr val="4950D0"/>
                </a:solidFill>
                <a:latin typeface="Montserrat" panose="00000500000000000000" pitchFamily="2" charset="-52"/>
              </a:rPr>
              <a:t>1</a:t>
            </a:r>
            <a:r>
              <a:rPr lang="en-US" sz="1200" dirty="0">
                <a:solidFill>
                  <a:srgbClr val="4950D0"/>
                </a:solidFill>
                <a:latin typeface="Montserrat" panose="00000500000000000000" pitchFamily="2" charset="-52"/>
              </a:rPr>
              <a:t>/</a:t>
            </a:r>
            <a:r>
              <a:rPr lang="en-US" sz="800" dirty="0">
                <a:solidFill>
                  <a:srgbClr val="4950D0"/>
                </a:solidFill>
                <a:latin typeface="Montserrat" panose="00000500000000000000" pitchFamily="2" charset="-52"/>
              </a:rPr>
              <a:t>13</a:t>
            </a:r>
            <a:endParaRPr lang="ru-RU" sz="800" dirty="0">
              <a:solidFill>
                <a:srgbClr val="4950D0"/>
              </a:solidFill>
              <a:latin typeface="Montserrat" panose="00000500000000000000" pitchFamily="2" charset="-52"/>
            </a:endParaRPr>
          </a:p>
        </p:txBody>
      </p:sp>
      <p:pic>
        <p:nvPicPr>
          <p:cNvPr id="1500" name="Picture 8">
            <a:extLst>
              <a:ext uri="{FF2B5EF4-FFF2-40B4-BE49-F238E27FC236}">
                <a16:creationId xmlns:a16="http://schemas.microsoft.com/office/drawing/2014/main" id="{1CE2D8D7-7CF5-4AB8-89B5-8CD1253CCC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 l="10521" t="15962" r="77292" b="69215"/>
          <a:stretch>
            <a:fillRect/>
          </a:stretch>
        </p:blipFill>
        <p:spPr bwMode="auto">
          <a:xfrm>
            <a:off x="11279981" y="56746"/>
            <a:ext cx="912018" cy="84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6568100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0581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17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/>
          <p:cNvSpPr/>
          <p:nvPr/>
        </p:nvSpPr>
        <p:spPr>
          <a:xfrm>
            <a:off x="212720" y="6598515"/>
            <a:ext cx="244486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ru-RU" sz="1200" b="1" i="1" dirty="0">
                <a:solidFill>
                  <a:srgbClr val="4950D0"/>
                </a:solidFill>
                <a:latin typeface="Montserrat" panose="00000500000000000000" pitchFamily="2" charset="-52"/>
              </a:rPr>
              <a:t>2</a:t>
            </a:r>
            <a:r>
              <a:rPr lang="en-US" sz="1200" dirty="0">
                <a:solidFill>
                  <a:srgbClr val="4950D0"/>
                </a:solidFill>
                <a:latin typeface="Montserrat" panose="00000500000000000000" pitchFamily="2" charset="-52"/>
              </a:rPr>
              <a:t>/</a:t>
            </a:r>
            <a:r>
              <a:rPr lang="en-US" sz="800" dirty="0">
                <a:solidFill>
                  <a:srgbClr val="4950D0"/>
                </a:solidFill>
                <a:latin typeface="Montserrat" panose="00000500000000000000" pitchFamily="2" charset="-52"/>
              </a:rPr>
              <a:t>13</a:t>
            </a:r>
            <a:endParaRPr lang="ru-RU" sz="800" dirty="0">
              <a:solidFill>
                <a:srgbClr val="4950D0"/>
              </a:solidFill>
              <a:latin typeface="Montserrat" panose="00000500000000000000" pitchFamily="2" charset="-52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51657" y="720917"/>
            <a:ext cx="11505381" cy="10259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4000"/>
              </a:lnSpc>
            </a:pPr>
            <a:r>
              <a:rPr lang="ru-RU" sz="3200" b="1" dirty="0">
                <a:solidFill>
                  <a:srgbClr val="D8294C"/>
                </a:solidFill>
                <a:latin typeface="Montserrat" panose="00000500000000000000" pitchFamily="2" charset="-52"/>
              </a:rPr>
              <a:t>Горизонт расчёта </a:t>
            </a:r>
            <a:r>
              <a:rPr lang="ru-RU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-52"/>
              </a:rPr>
              <a:t>реализации проекта</a:t>
            </a:r>
            <a:br>
              <a:rPr lang="ru-RU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-52"/>
              </a:rPr>
            </a:br>
            <a:r>
              <a:rPr lang="ru-RU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-52"/>
              </a:rPr>
              <a:t>определён на первые 2 года с момента запуска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334963" y="1979272"/>
            <a:ext cx="9111243" cy="2687469"/>
          </a:xfrm>
          <a:prstGeom prst="roundRect">
            <a:avLst>
              <a:gd name="adj" fmla="val 1044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Скругленный прямоугольник 88"/>
          <p:cNvSpPr/>
          <p:nvPr/>
        </p:nvSpPr>
        <p:spPr>
          <a:xfrm>
            <a:off x="334963" y="4798284"/>
            <a:ext cx="9111243" cy="1726342"/>
          </a:xfrm>
          <a:prstGeom prst="roundRect">
            <a:avLst>
              <a:gd name="adj" fmla="val 1573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9" name="Группа 38"/>
          <p:cNvGrpSpPr/>
          <p:nvPr/>
        </p:nvGrpSpPr>
        <p:grpSpPr>
          <a:xfrm>
            <a:off x="516918" y="2075962"/>
            <a:ext cx="8712000" cy="301008"/>
            <a:chOff x="516918" y="2075962"/>
            <a:chExt cx="8712000" cy="301008"/>
          </a:xfrm>
        </p:grpSpPr>
        <p:sp>
          <p:nvSpPr>
            <p:cNvPr id="44" name="Прямоугольник 43"/>
            <p:cNvSpPr/>
            <p:nvPr/>
          </p:nvSpPr>
          <p:spPr>
            <a:xfrm>
              <a:off x="516918" y="2075962"/>
              <a:ext cx="6760887" cy="24622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ru-RU" sz="1600" dirty="0">
                  <a:solidFill>
                    <a:srgbClr val="777777"/>
                  </a:solidFill>
                  <a:latin typeface="Montserrat Medium" panose="00000600000000000000" pitchFamily="2" charset="-52"/>
                </a:rPr>
                <a:t>Интегральные показатели экономической эффективности </a:t>
              </a:r>
            </a:p>
          </p:txBody>
        </p:sp>
        <p:cxnSp>
          <p:nvCxnSpPr>
            <p:cNvPr id="5" name="Прямая соединительная линия 4"/>
            <p:cNvCxnSpPr/>
            <p:nvPr/>
          </p:nvCxnSpPr>
          <p:spPr>
            <a:xfrm>
              <a:off x="516918" y="2376970"/>
              <a:ext cx="8712000" cy="0"/>
            </a:xfrm>
            <a:prstGeom prst="line">
              <a:avLst/>
            </a:prstGeom>
            <a:ln w="12700" cap="rnd">
              <a:solidFill>
                <a:srgbClr val="969696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5" name="Группа 124"/>
          <p:cNvGrpSpPr/>
          <p:nvPr/>
        </p:nvGrpSpPr>
        <p:grpSpPr>
          <a:xfrm>
            <a:off x="70414" y="56746"/>
            <a:ext cx="11642162" cy="422119"/>
            <a:chOff x="70414" y="56746"/>
            <a:chExt cx="11642162" cy="422119"/>
          </a:xfrm>
        </p:grpSpPr>
        <p:sp>
          <p:nvSpPr>
            <p:cNvPr id="126" name="Скругленный прямоугольник 125"/>
            <p:cNvSpPr/>
            <p:nvPr/>
          </p:nvSpPr>
          <p:spPr>
            <a:xfrm>
              <a:off x="70414" y="56746"/>
              <a:ext cx="11642162" cy="422119"/>
            </a:xfrm>
            <a:prstGeom prst="roundRect">
              <a:avLst>
                <a:gd name="adj" fmla="val 17873"/>
              </a:avLst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7" name="Скругленный прямоугольник 126"/>
            <p:cNvSpPr/>
            <p:nvPr/>
          </p:nvSpPr>
          <p:spPr>
            <a:xfrm>
              <a:off x="108899" y="103316"/>
              <a:ext cx="710251" cy="32897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tx1"/>
                  </a:solidFill>
                  <a:latin typeface="Montserrat ExtraBold" panose="00000900000000000000" pitchFamily="2" charset="-52"/>
                </a:rPr>
                <a:t>Введение</a:t>
              </a:r>
            </a:p>
          </p:txBody>
        </p:sp>
        <p:sp>
          <p:nvSpPr>
            <p:cNvPr id="128" name="Скругленный прямоугольник 127"/>
            <p:cNvSpPr/>
            <p:nvPr/>
          </p:nvSpPr>
          <p:spPr>
            <a:xfrm>
              <a:off x="938864" y="103317"/>
              <a:ext cx="949961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Методология разработки</a:t>
              </a:r>
            </a:p>
          </p:txBody>
        </p:sp>
        <p:sp>
          <p:nvSpPr>
            <p:cNvPr id="129" name="Скругленный прямоугольник 128"/>
            <p:cNvSpPr/>
            <p:nvPr/>
          </p:nvSpPr>
          <p:spPr>
            <a:xfrm>
              <a:off x="2008539" y="103317"/>
              <a:ext cx="190318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Бизнес-модель и бизнес-план </a:t>
              </a:r>
              <a:r>
                <a:rPr lang="ru-RU" sz="800" dirty="0" err="1">
                  <a:solidFill>
                    <a:schemeClr val="bg1"/>
                  </a:solidFill>
                  <a:latin typeface="Montserrat Light" panose="00000400000000000000" pitchFamily="2" charset="-52"/>
                </a:rPr>
                <a:t>стартап</a:t>
              </a:r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-проекта</a:t>
              </a:r>
            </a:p>
          </p:txBody>
        </p:sp>
        <p:sp>
          <p:nvSpPr>
            <p:cNvPr id="130" name="Скругленный прямоугольник 129"/>
            <p:cNvSpPr/>
            <p:nvPr/>
          </p:nvSpPr>
          <p:spPr>
            <a:xfrm>
              <a:off x="4031433" y="103317"/>
              <a:ext cx="171625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Маркетинговый анализ, стратегия и сбыт продукта</a:t>
              </a:r>
            </a:p>
          </p:txBody>
        </p:sp>
        <p:sp>
          <p:nvSpPr>
            <p:cNvPr id="131" name="Скругленный прямоугольник 130"/>
            <p:cNvSpPr/>
            <p:nvPr/>
          </p:nvSpPr>
          <p:spPr>
            <a:xfrm>
              <a:off x="5867397" y="103317"/>
              <a:ext cx="1290695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Производственный план</a:t>
              </a:r>
            </a:p>
          </p:txBody>
        </p:sp>
        <p:sp>
          <p:nvSpPr>
            <p:cNvPr id="132" name="Скругленный прямоугольник 131"/>
            <p:cNvSpPr/>
            <p:nvPr/>
          </p:nvSpPr>
          <p:spPr>
            <a:xfrm>
              <a:off x="7277806" y="103317"/>
              <a:ext cx="1177370" cy="328976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Организационный план</a:t>
              </a:r>
            </a:p>
          </p:txBody>
        </p:sp>
        <p:sp>
          <p:nvSpPr>
            <p:cNvPr id="133" name="Скругленный прямоугольник 132"/>
            <p:cNvSpPr/>
            <p:nvPr/>
          </p:nvSpPr>
          <p:spPr>
            <a:xfrm>
              <a:off x="8574890" y="103317"/>
              <a:ext cx="871316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Финансовый план</a:t>
              </a:r>
            </a:p>
          </p:txBody>
        </p:sp>
        <p:sp>
          <p:nvSpPr>
            <p:cNvPr id="134" name="Скругленный прямоугольник 133"/>
            <p:cNvSpPr/>
            <p:nvPr/>
          </p:nvSpPr>
          <p:spPr>
            <a:xfrm>
              <a:off x="9565920" y="103317"/>
              <a:ext cx="73861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Риски</a:t>
              </a:r>
              <a:b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</a:br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и гарантии</a:t>
              </a:r>
            </a:p>
          </p:txBody>
        </p:sp>
        <p:sp>
          <p:nvSpPr>
            <p:cNvPr id="135" name="Скругленный прямоугольник 134"/>
            <p:cNvSpPr/>
            <p:nvPr/>
          </p:nvSpPr>
          <p:spPr>
            <a:xfrm>
              <a:off x="10424241" y="103317"/>
              <a:ext cx="802559" cy="328976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Заключение</a:t>
              </a:r>
            </a:p>
          </p:txBody>
        </p:sp>
        <p:grpSp>
          <p:nvGrpSpPr>
            <p:cNvPr id="136" name="Группа 135"/>
            <p:cNvGrpSpPr/>
            <p:nvPr/>
          </p:nvGrpSpPr>
          <p:grpSpPr>
            <a:xfrm>
              <a:off x="879007" y="109521"/>
              <a:ext cx="9485380" cy="316568"/>
              <a:chOff x="879007" y="69805"/>
              <a:chExt cx="9485380" cy="396000"/>
            </a:xfrm>
          </p:grpSpPr>
          <p:cxnSp>
            <p:nvCxnSpPr>
              <p:cNvPr id="137" name="Прямая соединительная линия 136"/>
              <p:cNvCxnSpPr/>
              <p:nvPr/>
            </p:nvCxnSpPr>
            <p:spPr>
              <a:xfrm>
                <a:off x="87900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Прямая соединительная линия 137"/>
              <p:cNvCxnSpPr/>
              <p:nvPr/>
            </p:nvCxnSpPr>
            <p:spPr>
              <a:xfrm>
                <a:off x="1948682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Прямая соединительная линия 138"/>
              <p:cNvCxnSpPr/>
              <p:nvPr/>
            </p:nvCxnSpPr>
            <p:spPr>
              <a:xfrm>
                <a:off x="3971576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Прямая соединительная линия 139"/>
              <p:cNvCxnSpPr/>
              <p:nvPr/>
            </p:nvCxnSpPr>
            <p:spPr>
              <a:xfrm>
                <a:off x="5807540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Прямая соединительная линия 140"/>
              <p:cNvCxnSpPr/>
              <p:nvPr/>
            </p:nvCxnSpPr>
            <p:spPr>
              <a:xfrm>
                <a:off x="7217949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Прямая соединительная линия 141"/>
              <p:cNvCxnSpPr/>
              <p:nvPr/>
            </p:nvCxnSpPr>
            <p:spPr>
              <a:xfrm>
                <a:off x="851503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Прямая соединительная линия 142"/>
              <p:cNvCxnSpPr/>
              <p:nvPr/>
            </p:nvCxnSpPr>
            <p:spPr>
              <a:xfrm>
                <a:off x="950606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Прямая соединительная линия 143"/>
              <p:cNvCxnSpPr/>
              <p:nvPr/>
            </p:nvCxnSpPr>
            <p:spPr>
              <a:xfrm>
                <a:off x="1036438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31" name="Группа 330"/>
          <p:cNvGrpSpPr/>
          <p:nvPr/>
        </p:nvGrpSpPr>
        <p:grpSpPr>
          <a:xfrm>
            <a:off x="6815360" y="2576860"/>
            <a:ext cx="2433372" cy="1761068"/>
            <a:chOff x="6815360" y="2576860"/>
            <a:chExt cx="2433372" cy="1761068"/>
          </a:xfrm>
        </p:grpSpPr>
        <p:grpSp>
          <p:nvGrpSpPr>
            <p:cNvPr id="17" name="Группа 16"/>
            <p:cNvGrpSpPr/>
            <p:nvPr/>
          </p:nvGrpSpPr>
          <p:grpSpPr>
            <a:xfrm>
              <a:off x="6887508" y="2576860"/>
              <a:ext cx="2361224" cy="1761068"/>
              <a:chOff x="7145784" y="2576860"/>
              <a:chExt cx="2361224" cy="1761068"/>
            </a:xfrm>
          </p:grpSpPr>
          <p:grpSp>
            <p:nvGrpSpPr>
              <p:cNvPr id="119" name="Группа 118"/>
              <p:cNvGrpSpPr/>
              <p:nvPr/>
            </p:nvGrpSpPr>
            <p:grpSpPr>
              <a:xfrm>
                <a:off x="7145784" y="2576860"/>
                <a:ext cx="1508425" cy="672508"/>
                <a:chOff x="516918" y="2576860"/>
                <a:chExt cx="1508425" cy="672508"/>
              </a:xfrm>
            </p:grpSpPr>
            <p:sp>
              <p:nvSpPr>
                <p:cNvPr id="120" name="Прямоугольник 119"/>
                <p:cNvSpPr/>
                <p:nvPr/>
              </p:nvSpPr>
              <p:spPr>
                <a:xfrm>
                  <a:off x="516918" y="2880036"/>
                  <a:ext cx="1508425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>
                  <a:spAutoFit/>
                </a:bodyPr>
                <a:lstStyle/>
                <a:p>
                  <a:r>
                    <a:rPr lang="ru-RU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  <a:t>Чистая текущая стоимость (</a:t>
                  </a:r>
                  <a:r>
                    <a:rPr lang="en-US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  <a:t>NPV)</a:t>
                  </a:r>
                </a:p>
              </p:txBody>
            </p:sp>
            <p:sp>
              <p:nvSpPr>
                <p:cNvPr id="121" name="Прямоугольник 120"/>
                <p:cNvSpPr/>
                <p:nvPr/>
              </p:nvSpPr>
              <p:spPr>
                <a:xfrm>
                  <a:off x="516918" y="2576860"/>
                  <a:ext cx="1336904" cy="27699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ctr">
                  <a:spAutoFit/>
                </a:bodyPr>
                <a:lstStyle/>
                <a:p>
                  <a:r>
                    <a:rPr lang="ru-RU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872 975 </a:t>
                  </a:r>
                  <a:r>
                    <a:rPr lang="ru-RU" sz="1200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руб.</a:t>
                  </a:r>
                </a:p>
              </p:txBody>
            </p:sp>
          </p:grpSp>
          <p:grpSp>
            <p:nvGrpSpPr>
              <p:cNvPr id="122" name="Группа 121"/>
              <p:cNvGrpSpPr/>
              <p:nvPr/>
            </p:nvGrpSpPr>
            <p:grpSpPr>
              <a:xfrm>
                <a:off x="7145784" y="3683765"/>
                <a:ext cx="2361224" cy="654163"/>
                <a:chOff x="516918" y="2576860"/>
                <a:chExt cx="2361224" cy="654163"/>
              </a:xfrm>
            </p:grpSpPr>
            <p:sp>
              <p:nvSpPr>
                <p:cNvPr id="123" name="Прямоугольник 122"/>
                <p:cNvSpPr/>
                <p:nvPr/>
              </p:nvSpPr>
              <p:spPr>
                <a:xfrm>
                  <a:off x="516918" y="2861691"/>
                  <a:ext cx="2256491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>
                  <a:spAutoFit/>
                </a:bodyPr>
                <a:lstStyle/>
                <a:p>
                  <a:r>
                    <a:rPr lang="ru-RU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  <a:t>Организационно-правовая форма</a:t>
                  </a:r>
                </a:p>
              </p:txBody>
            </p:sp>
            <p:sp>
              <p:nvSpPr>
                <p:cNvPr id="124" name="Прямоугольник 123"/>
                <p:cNvSpPr/>
                <p:nvPr/>
              </p:nvSpPr>
              <p:spPr>
                <a:xfrm>
                  <a:off x="516918" y="2576860"/>
                  <a:ext cx="2361224" cy="27699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ctr">
                  <a:spAutoFit/>
                </a:bodyPr>
                <a:lstStyle/>
                <a:p>
                  <a:r>
                    <a:rPr lang="ru-RU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ИП, УСН </a:t>
                  </a:r>
                  <a:r>
                    <a:rPr lang="ru-RU" sz="1200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(доход-расход)</a:t>
                  </a:r>
                </a:p>
              </p:txBody>
            </p:sp>
          </p:grpSp>
        </p:grpSp>
        <p:cxnSp>
          <p:nvCxnSpPr>
            <p:cNvPr id="148" name="Прямая соединительная линия 147"/>
            <p:cNvCxnSpPr/>
            <p:nvPr/>
          </p:nvCxnSpPr>
          <p:spPr>
            <a:xfrm rot="5400000">
              <a:off x="6522962" y="2916412"/>
              <a:ext cx="584795" cy="0"/>
            </a:xfrm>
            <a:prstGeom prst="line">
              <a:avLst/>
            </a:prstGeom>
            <a:ln w="38100" cap="rnd">
              <a:solidFill>
                <a:srgbClr val="4950D0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Прямая соединительная линия 148"/>
            <p:cNvCxnSpPr/>
            <p:nvPr/>
          </p:nvCxnSpPr>
          <p:spPr>
            <a:xfrm rot="5400000">
              <a:off x="6522962" y="4022060"/>
              <a:ext cx="584795" cy="0"/>
            </a:xfrm>
            <a:prstGeom prst="line">
              <a:avLst/>
            </a:prstGeom>
            <a:ln w="38100" cap="rnd">
              <a:solidFill>
                <a:srgbClr val="4950D0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6" name="Группа 325"/>
          <p:cNvGrpSpPr/>
          <p:nvPr/>
        </p:nvGrpSpPr>
        <p:grpSpPr>
          <a:xfrm>
            <a:off x="521415" y="2576860"/>
            <a:ext cx="1518014" cy="666613"/>
            <a:chOff x="430668" y="2576860"/>
            <a:chExt cx="1518014" cy="666613"/>
          </a:xfrm>
        </p:grpSpPr>
        <p:grpSp>
          <p:nvGrpSpPr>
            <p:cNvPr id="6" name="Группа 5"/>
            <p:cNvGrpSpPr/>
            <p:nvPr/>
          </p:nvGrpSpPr>
          <p:grpSpPr>
            <a:xfrm>
              <a:off x="516918" y="2576860"/>
              <a:ext cx="1431764" cy="666613"/>
              <a:chOff x="516918" y="2576860"/>
              <a:chExt cx="1431764" cy="666613"/>
            </a:xfrm>
          </p:grpSpPr>
          <p:sp>
            <p:nvSpPr>
              <p:cNvPr id="94" name="Прямоугольник 93"/>
              <p:cNvSpPr/>
              <p:nvPr/>
            </p:nvSpPr>
            <p:spPr>
              <a:xfrm>
                <a:off x="516919" y="2874141"/>
                <a:ext cx="1431763" cy="3693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r>
                  <a:rPr lang="ru-RU" sz="1200" dirty="0">
                    <a:solidFill>
                      <a:srgbClr val="404040"/>
                    </a:solidFill>
                    <a:latin typeface="Montserrat" panose="00000500000000000000" pitchFamily="2" charset="-52"/>
                  </a:rPr>
                  <a:t>Первоначальные</a:t>
                </a:r>
                <a:br>
                  <a:rPr lang="ru-RU" sz="1200" dirty="0">
                    <a:solidFill>
                      <a:srgbClr val="404040"/>
                    </a:solidFill>
                    <a:latin typeface="Montserrat" panose="00000500000000000000" pitchFamily="2" charset="-52"/>
                  </a:rPr>
                </a:br>
                <a:r>
                  <a:rPr lang="ru-RU" sz="1200" dirty="0">
                    <a:solidFill>
                      <a:srgbClr val="404040"/>
                    </a:solidFill>
                    <a:latin typeface="Montserrat" panose="00000500000000000000" pitchFamily="2" charset="-52"/>
                  </a:rPr>
                  <a:t>вложения</a:t>
                </a: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516918" y="2576860"/>
                <a:ext cx="1231106" cy="27699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spAutoFit/>
              </a:bodyPr>
              <a:lstStyle/>
              <a:p>
                <a:r>
                  <a:rPr lang="ru-RU" b="1" dirty="0">
                    <a:solidFill>
                      <a:srgbClr val="4950D0"/>
                    </a:solidFill>
                    <a:latin typeface="Montserrat" panose="00000500000000000000" pitchFamily="2" charset="-52"/>
                  </a:rPr>
                  <a:t>520 </a:t>
                </a:r>
                <a:r>
                  <a:rPr lang="ru-RU" sz="1200" b="1" dirty="0">
                    <a:solidFill>
                      <a:srgbClr val="4950D0"/>
                    </a:solidFill>
                    <a:latin typeface="Montserrat" panose="00000500000000000000" pitchFamily="2" charset="-52"/>
                  </a:rPr>
                  <a:t>тыс. руб.</a:t>
                </a:r>
              </a:p>
            </p:txBody>
          </p:sp>
        </p:grpSp>
        <p:cxnSp>
          <p:nvCxnSpPr>
            <p:cNvPr id="145" name="Прямая соединительная линия 144"/>
            <p:cNvCxnSpPr/>
            <p:nvPr/>
          </p:nvCxnSpPr>
          <p:spPr>
            <a:xfrm rot="5400000">
              <a:off x="138270" y="2916412"/>
              <a:ext cx="584795" cy="0"/>
            </a:xfrm>
            <a:prstGeom prst="line">
              <a:avLst/>
            </a:prstGeom>
            <a:ln w="38100" cap="rnd">
              <a:solidFill>
                <a:srgbClr val="4950D0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7" name="Группа 326"/>
          <p:cNvGrpSpPr/>
          <p:nvPr/>
        </p:nvGrpSpPr>
        <p:grpSpPr>
          <a:xfrm>
            <a:off x="521415" y="3683765"/>
            <a:ext cx="1686047" cy="654163"/>
            <a:chOff x="430668" y="3683765"/>
            <a:chExt cx="1686047" cy="654163"/>
          </a:xfrm>
        </p:grpSpPr>
        <p:grpSp>
          <p:nvGrpSpPr>
            <p:cNvPr id="97" name="Группа 96"/>
            <p:cNvGrpSpPr/>
            <p:nvPr/>
          </p:nvGrpSpPr>
          <p:grpSpPr>
            <a:xfrm>
              <a:off x="516918" y="3683765"/>
              <a:ext cx="1599797" cy="654163"/>
              <a:chOff x="516918" y="2576860"/>
              <a:chExt cx="1599797" cy="654163"/>
            </a:xfrm>
          </p:grpSpPr>
          <p:sp>
            <p:nvSpPr>
              <p:cNvPr id="98" name="Прямоугольник 97"/>
              <p:cNvSpPr/>
              <p:nvPr/>
            </p:nvSpPr>
            <p:spPr>
              <a:xfrm>
                <a:off x="516918" y="2861691"/>
                <a:ext cx="1599797" cy="3693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r>
                  <a:rPr lang="ru-RU" sz="1200" dirty="0">
                    <a:solidFill>
                      <a:srgbClr val="404040"/>
                    </a:solidFill>
                    <a:latin typeface="Montserrat" panose="00000500000000000000" pitchFamily="2" charset="-52"/>
                  </a:rPr>
                  <a:t>Внутренняя норма доходности (</a:t>
                </a:r>
                <a:r>
                  <a:rPr lang="en-US" sz="1200" dirty="0">
                    <a:solidFill>
                      <a:srgbClr val="404040"/>
                    </a:solidFill>
                    <a:latin typeface="Montserrat" panose="00000500000000000000" pitchFamily="2" charset="-52"/>
                  </a:rPr>
                  <a:t>IRR)</a:t>
                </a: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516918" y="2576860"/>
                <a:ext cx="872034" cy="27699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spAutoFit/>
              </a:bodyPr>
              <a:lstStyle/>
              <a:p>
                <a:r>
                  <a:rPr lang="ru-RU" b="1" dirty="0">
                    <a:solidFill>
                      <a:srgbClr val="4950D0"/>
                    </a:solidFill>
                    <a:latin typeface="Montserrat" panose="00000500000000000000" pitchFamily="2" charset="-52"/>
                  </a:rPr>
                  <a:t>49,09 </a:t>
                </a:r>
                <a:r>
                  <a:rPr lang="ru-RU" sz="1200" b="1" dirty="0">
                    <a:solidFill>
                      <a:srgbClr val="4950D0"/>
                    </a:solidFill>
                    <a:latin typeface="Montserrat" panose="00000500000000000000" pitchFamily="2" charset="-52"/>
                  </a:rPr>
                  <a:t>%</a:t>
                </a:r>
              </a:p>
            </p:txBody>
          </p:sp>
        </p:grpSp>
        <p:cxnSp>
          <p:nvCxnSpPr>
            <p:cNvPr id="150" name="Прямая соединительная линия 149"/>
            <p:cNvCxnSpPr/>
            <p:nvPr/>
          </p:nvCxnSpPr>
          <p:spPr>
            <a:xfrm rot="5400000">
              <a:off x="138270" y="4022060"/>
              <a:ext cx="584795" cy="0"/>
            </a:xfrm>
            <a:prstGeom prst="line">
              <a:avLst/>
            </a:prstGeom>
            <a:ln w="38100" cap="rnd">
              <a:solidFill>
                <a:srgbClr val="4950D0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8" name="Группа 327"/>
          <p:cNvGrpSpPr/>
          <p:nvPr/>
        </p:nvGrpSpPr>
        <p:grpSpPr>
          <a:xfrm>
            <a:off x="2494224" y="2576860"/>
            <a:ext cx="1880936" cy="1761068"/>
            <a:chOff x="2423700" y="2576860"/>
            <a:chExt cx="1880936" cy="1761068"/>
          </a:xfrm>
        </p:grpSpPr>
        <p:grpSp>
          <p:nvGrpSpPr>
            <p:cNvPr id="29" name="Группа 28"/>
            <p:cNvGrpSpPr/>
            <p:nvPr/>
          </p:nvGrpSpPr>
          <p:grpSpPr>
            <a:xfrm>
              <a:off x="2511667" y="2576860"/>
              <a:ext cx="1792969" cy="1761068"/>
              <a:chOff x="2894778" y="2576860"/>
              <a:chExt cx="1792969" cy="1761068"/>
            </a:xfrm>
          </p:grpSpPr>
          <p:grpSp>
            <p:nvGrpSpPr>
              <p:cNvPr id="100" name="Группа 99"/>
              <p:cNvGrpSpPr/>
              <p:nvPr/>
            </p:nvGrpSpPr>
            <p:grpSpPr>
              <a:xfrm>
                <a:off x="2894778" y="2576860"/>
                <a:ext cx="1792969" cy="672508"/>
                <a:chOff x="516918" y="2576860"/>
                <a:chExt cx="1792969" cy="672508"/>
              </a:xfrm>
            </p:grpSpPr>
            <p:sp>
              <p:nvSpPr>
                <p:cNvPr id="101" name="Прямоугольник 100"/>
                <p:cNvSpPr/>
                <p:nvPr/>
              </p:nvSpPr>
              <p:spPr>
                <a:xfrm>
                  <a:off x="516919" y="2880036"/>
                  <a:ext cx="1792968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>
                  <a:spAutoFit/>
                </a:bodyPr>
                <a:lstStyle/>
                <a:p>
                  <a:r>
                    <a:rPr lang="ru-RU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  <a:t>Срок выхода на точку безубыточности </a:t>
                  </a:r>
                </a:p>
              </p:txBody>
            </p:sp>
            <p:sp>
              <p:nvSpPr>
                <p:cNvPr id="102" name="Прямоугольник 101"/>
                <p:cNvSpPr/>
                <p:nvPr/>
              </p:nvSpPr>
              <p:spPr>
                <a:xfrm>
                  <a:off x="516918" y="2576860"/>
                  <a:ext cx="838371" cy="27699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ctr">
                  <a:spAutoFit/>
                </a:bodyPr>
                <a:lstStyle/>
                <a:p>
                  <a:r>
                    <a:rPr lang="ru-RU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4 </a:t>
                  </a:r>
                  <a:r>
                    <a:rPr lang="ru-RU" sz="1200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месяца</a:t>
                  </a:r>
                </a:p>
              </p:txBody>
            </p:sp>
          </p:grpSp>
          <p:grpSp>
            <p:nvGrpSpPr>
              <p:cNvPr id="103" name="Группа 102"/>
              <p:cNvGrpSpPr/>
              <p:nvPr/>
            </p:nvGrpSpPr>
            <p:grpSpPr>
              <a:xfrm>
                <a:off x="2894778" y="3683765"/>
                <a:ext cx="1515177" cy="654163"/>
                <a:chOff x="516918" y="2576860"/>
                <a:chExt cx="1515177" cy="654163"/>
              </a:xfrm>
            </p:grpSpPr>
            <p:sp>
              <p:nvSpPr>
                <p:cNvPr id="104" name="Прямоугольник 103"/>
                <p:cNvSpPr/>
                <p:nvPr/>
              </p:nvSpPr>
              <p:spPr>
                <a:xfrm>
                  <a:off x="516919" y="2861691"/>
                  <a:ext cx="1515176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>
                  <a:spAutoFit/>
                </a:bodyPr>
                <a:lstStyle/>
                <a:p>
                  <a:r>
                    <a:rPr lang="ru-RU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  <a:t>Срок окупаемости (</a:t>
                  </a:r>
                  <a:r>
                    <a:rPr lang="en-US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  <a:t>Payback period)</a:t>
                  </a:r>
                </a:p>
              </p:txBody>
            </p:sp>
            <p:sp>
              <p:nvSpPr>
                <p:cNvPr id="105" name="Прямоугольник 104"/>
                <p:cNvSpPr/>
                <p:nvPr/>
              </p:nvSpPr>
              <p:spPr>
                <a:xfrm>
                  <a:off x="516918" y="2576860"/>
                  <a:ext cx="668453" cy="27699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ctr">
                  <a:spAutoFit/>
                </a:bodyPr>
                <a:lstStyle/>
                <a:p>
                  <a:r>
                    <a:rPr lang="ru-RU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10 </a:t>
                  </a:r>
                  <a:r>
                    <a:rPr lang="ru-RU" sz="1200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мес.</a:t>
                  </a:r>
                </a:p>
              </p:txBody>
            </p:sp>
          </p:grpSp>
        </p:grpSp>
        <p:cxnSp>
          <p:nvCxnSpPr>
            <p:cNvPr id="146" name="Прямая соединительная линия 145"/>
            <p:cNvCxnSpPr/>
            <p:nvPr/>
          </p:nvCxnSpPr>
          <p:spPr>
            <a:xfrm rot="5400000">
              <a:off x="2131302" y="2916412"/>
              <a:ext cx="584795" cy="0"/>
            </a:xfrm>
            <a:prstGeom prst="line">
              <a:avLst/>
            </a:prstGeom>
            <a:ln w="38100" cap="rnd">
              <a:solidFill>
                <a:srgbClr val="4950D0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Прямая соединительная линия 150"/>
            <p:cNvCxnSpPr/>
            <p:nvPr/>
          </p:nvCxnSpPr>
          <p:spPr>
            <a:xfrm rot="5400000">
              <a:off x="2131302" y="4022060"/>
              <a:ext cx="584795" cy="0"/>
            </a:xfrm>
            <a:prstGeom prst="line">
              <a:avLst/>
            </a:prstGeom>
            <a:ln w="38100" cap="rnd">
              <a:solidFill>
                <a:srgbClr val="4950D0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0" name="Группа 329"/>
          <p:cNvGrpSpPr/>
          <p:nvPr/>
        </p:nvGrpSpPr>
        <p:grpSpPr>
          <a:xfrm>
            <a:off x="4661922" y="2576860"/>
            <a:ext cx="1866677" cy="1761068"/>
            <a:chOff x="4625880" y="2576860"/>
            <a:chExt cx="1866677" cy="1761068"/>
          </a:xfrm>
        </p:grpSpPr>
        <p:grpSp>
          <p:nvGrpSpPr>
            <p:cNvPr id="18" name="Группа 17"/>
            <p:cNvGrpSpPr/>
            <p:nvPr/>
          </p:nvGrpSpPr>
          <p:grpSpPr>
            <a:xfrm>
              <a:off x="4699588" y="2576860"/>
              <a:ext cx="1792969" cy="1761068"/>
              <a:chOff x="4805132" y="2576860"/>
              <a:chExt cx="1792969" cy="1761068"/>
            </a:xfrm>
          </p:grpSpPr>
          <p:grpSp>
            <p:nvGrpSpPr>
              <p:cNvPr id="106" name="Группа 105"/>
              <p:cNvGrpSpPr/>
              <p:nvPr/>
            </p:nvGrpSpPr>
            <p:grpSpPr>
              <a:xfrm>
                <a:off x="4805132" y="2576860"/>
                <a:ext cx="1308285" cy="672508"/>
                <a:chOff x="516918" y="2576860"/>
                <a:chExt cx="1308285" cy="672508"/>
              </a:xfrm>
            </p:grpSpPr>
            <p:sp>
              <p:nvSpPr>
                <p:cNvPr id="107" name="Прямоугольник 106"/>
                <p:cNvSpPr/>
                <p:nvPr/>
              </p:nvSpPr>
              <p:spPr>
                <a:xfrm>
                  <a:off x="516919" y="2880036"/>
                  <a:ext cx="1308284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>
                  <a:spAutoFit/>
                </a:bodyPr>
                <a:lstStyle/>
                <a:p>
                  <a:r>
                    <a:rPr lang="ru-RU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  <a:t>Рентабельность продаж </a:t>
                  </a:r>
                </a:p>
              </p:txBody>
            </p:sp>
            <p:sp>
              <p:nvSpPr>
                <p:cNvPr id="108" name="Прямоугольник 107"/>
                <p:cNvSpPr/>
                <p:nvPr/>
              </p:nvSpPr>
              <p:spPr>
                <a:xfrm>
                  <a:off x="516918" y="2576860"/>
                  <a:ext cx="437620" cy="27699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ctr">
                  <a:spAutoFit/>
                </a:bodyPr>
                <a:lstStyle/>
                <a:p>
                  <a:r>
                    <a:rPr lang="ru-RU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19 </a:t>
                  </a:r>
                  <a:r>
                    <a:rPr lang="ru-RU" sz="1200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%</a:t>
                  </a:r>
                </a:p>
              </p:txBody>
            </p:sp>
          </p:grpSp>
          <p:grpSp>
            <p:nvGrpSpPr>
              <p:cNvPr id="109" name="Группа 108"/>
              <p:cNvGrpSpPr/>
              <p:nvPr/>
            </p:nvGrpSpPr>
            <p:grpSpPr>
              <a:xfrm>
                <a:off x="4805132" y="3683765"/>
                <a:ext cx="1792969" cy="654163"/>
                <a:chOff x="516918" y="2576860"/>
                <a:chExt cx="1792969" cy="654163"/>
              </a:xfrm>
            </p:grpSpPr>
            <p:sp>
              <p:nvSpPr>
                <p:cNvPr id="110" name="Прямоугольник 109"/>
                <p:cNvSpPr/>
                <p:nvPr/>
              </p:nvSpPr>
              <p:spPr>
                <a:xfrm>
                  <a:off x="516919" y="2861691"/>
                  <a:ext cx="1792968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>
                  <a:spAutoFit/>
                </a:bodyPr>
                <a:lstStyle/>
                <a:p>
                  <a:r>
                    <a:rPr lang="ru-RU" sz="1200" dirty="0">
                      <a:solidFill>
                        <a:srgbClr val="404040"/>
                      </a:solidFill>
                      <a:latin typeface="Montserrat" panose="00000500000000000000" pitchFamily="2" charset="-52"/>
                    </a:rPr>
                    <a:t>Чистая прибыль нарастающим итогом</a:t>
                  </a:r>
                </a:p>
              </p:txBody>
            </p:sp>
            <p:sp>
              <p:nvSpPr>
                <p:cNvPr id="111" name="Прямоугольник 110"/>
                <p:cNvSpPr/>
                <p:nvPr/>
              </p:nvSpPr>
              <p:spPr>
                <a:xfrm>
                  <a:off x="516918" y="2576860"/>
                  <a:ext cx="1466748" cy="27699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ctr">
                  <a:spAutoFit/>
                </a:bodyPr>
                <a:lstStyle/>
                <a:p>
                  <a:r>
                    <a:rPr lang="ru-RU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1 716 487 </a:t>
                  </a:r>
                  <a:r>
                    <a:rPr lang="ru-RU" sz="1200" b="1" dirty="0">
                      <a:solidFill>
                        <a:srgbClr val="4950D0"/>
                      </a:solidFill>
                      <a:latin typeface="Montserrat" panose="00000500000000000000" pitchFamily="2" charset="-52"/>
                    </a:rPr>
                    <a:t>руб.</a:t>
                  </a:r>
                </a:p>
              </p:txBody>
            </p:sp>
          </p:grpSp>
        </p:grpSp>
        <p:cxnSp>
          <p:nvCxnSpPr>
            <p:cNvPr id="147" name="Прямая соединительная линия 146"/>
            <p:cNvCxnSpPr/>
            <p:nvPr/>
          </p:nvCxnSpPr>
          <p:spPr>
            <a:xfrm rot="5400000">
              <a:off x="4333482" y="2916412"/>
              <a:ext cx="584795" cy="0"/>
            </a:xfrm>
            <a:prstGeom prst="line">
              <a:avLst/>
            </a:prstGeom>
            <a:ln w="38100" cap="rnd">
              <a:solidFill>
                <a:srgbClr val="4950D0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Прямая соединительная линия 151"/>
            <p:cNvCxnSpPr/>
            <p:nvPr/>
          </p:nvCxnSpPr>
          <p:spPr>
            <a:xfrm rot="5400000">
              <a:off x="4333482" y="4022060"/>
              <a:ext cx="584795" cy="0"/>
            </a:xfrm>
            <a:prstGeom prst="line">
              <a:avLst/>
            </a:prstGeom>
            <a:ln w="38100" cap="rnd">
              <a:solidFill>
                <a:srgbClr val="4950D0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9" name="Группа 268"/>
          <p:cNvGrpSpPr/>
          <p:nvPr/>
        </p:nvGrpSpPr>
        <p:grpSpPr>
          <a:xfrm>
            <a:off x="516918" y="4931570"/>
            <a:ext cx="8712000" cy="301008"/>
            <a:chOff x="516918" y="2075962"/>
            <a:chExt cx="8712000" cy="301008"/>
          </a:xfrm>
        </p:grpSpPr>
        <p:sp>
          <p:nvSpPr>
            <p:cNvPr id="270" name="Прямоугольник 269"/>
            <p:cNvSpPr/>
            <p:nvPr/>
          </p:nvSpPr>
          <p:spPr>
            <a:xfrm>
              <a:off x="516918" y="2075962"/>
              <a:ext cx="6760887" cy="24622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ru-RU" sz="1600" dirty="0">
                  <a:solidFill>
                    <a:srgbClr val="777777"/>
                  </a:solidFill>
                  <a:latin typeface="Montserrat Medium" panose="00000600000000000000" pitchFamily="2" charset="-52"/>
                </a:rPr>
                <a:t>Риски ведения данного бизнеса </a:t>
              </a:r>
            </a:p>
          </p:txBody>
        </p:sp>
        <p:cxnSp>
          <p:nvCxnSpPr>
            <p:cNvPr id="271" name="Прямая соединительная линия 270"/>
            <p:cNvCxnSpPr/>
            <p:nvPr/>
          </p:nvCxnSpPr>
          <p:spPr>
            <a:xfrm>
              <a:off x="516918" y="2376970"/>
              <a:ext cx="8712000" cy="0"/>
            </a:xfrm>
            <a:prstGeom prst="line">
              <a:avLst/>
            </a:prstGeom>
            <a:ln w="12700" cap="rnd">
              <a:solidFill>
                <a:srgbClr val="969696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2" name="Скругленный прямоугольник 271"/>
          <p:cNvSpPr/>
          <p:nvPr/>
        </p:nvSpPr>
        <p:spPr>
          <a:xfrm>
            <a:off x="9565921" y="1979272"/>
            <a:ext cx="2288552" cy="4545353"/>
          </a:xfrm>
          <a:prstGeom prst="roundRect">
            <a:avLst>
              <a:gd name="adj" fmla="val 10440"/>
            </a:avLst>
          </a:prstGeom>
          <a:solidFill>
            <a:srgbClr val="495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400"/>
              </a:lnSpc>
            </a:pPr>
            <a:r>
              <a:rPr lang="ru-RU" sz="1400" b="1" dirty="0">
                <a:latin typeface="Montserrat" panose="00000500000000000000" pitchFamily="2" charset="-52"/>
              </a:rPr>
              <a:t>Разработка</a:t>
            </a:r>
            <a:br>
              <a:rPr lang="ru-RU" sz="1400" b="1" dirty="0">
                <a:latin typeface="Montserrat" panose="00000500000000000000" pitchFamily="2" charset="-52"/>
              </a:rPr>
            </a:br>
            <a:r>
              <a:rPr lang="ru-RU" sz="1400" b="1" dirty="0">
                <a:latin typeface="Montserrat" panose="00000500000000000000" pitchFamily="2" charset="-52"/>
              </a:rPr>
              <a:t>бизнес-плана</a:t>
            </a:r>
            <a:br>
              <a:rPr lang="ru-RU" sz="1400" b="1" dirty="0">
                <a:latin typeface="Montserrat" panose="00000500000000000000" pitchFamily="2" charset="-52"/>
              </a:rPr>
            </a:br>
            <a:r>
              <a:rPr lang="ru-RU" sz="1400" b="1" dirty="0">
                <a:latin typeface="Montserrat" panose="00000500000000000000" pitchFamily="2" charset="-52"/>
              </a:rPr>
              <a:t>для маникюрной студии имеет значительный потенциал.</a:t>
            </a:r>
            <a:br>
              <a:rPr lang="ru-RU" sz="1400" b="1" dirty="0">
                <a:latin typeface="Montserrat" panose="00000500000000000000" pitchFamily="2" charset="-52"/>
              </a:rPr>
            </a:br>
            <a:r>
              <a:rPr lang="ru-RU" sz="1400" b="1" dirty="0">
                <a:latin typeface="Montserrat" panose="00000500000000000000" pitchFamily="2" charset="-52"/>
              </a:rPr>
              <a:t>Это обусловлено растущим рынком, созданием привлекательного бренда, использованием социальных медиа, проведением акций</a:t>
            </a:r>
          </a:p>
        </p:txBody>
      </p:sp>
      <p:grpSp>
        <p:nvGrpSpPr>
          <p:cNvPr id="348" name="Группа 347"/>
          <p:cNvGrpSpPr/>
          <p:nvPr/>
        </p:nvGrpSpPr>
        <p:grpSpPr>
          <a:xfrm>
            <a:off x="6480491" y="5394842"/>
            <a:ext cx="2772000" cy="980630"/>
            <a:chOff x="6480491" y="5394842"/>
            <a:chExt cx="2772000" cy="980630"/>
          </a:xfrm>
        </p:grpSpPr>
        <p:sp>
          <p:nvSpPr>
            <p:cNvPr id="276" name="Скругленный прямоугольник 275"/>
            <p:cNvSpPr/>
            <p:nvPr/>
          </p:nvSpPr>
          <p:spPr>
            <a:xfrm>
              <a:off x="6480491" y="5394842"/>
              <a:ext cx="2772000" cy="980630"/>
            </a:xfrm>
            <a:prstGeom prst="roundRect">
              <a:avLst>
                <a:gd name="adj" fmla="val 15768"/>
              </a:avLst>
            </a:prstGeom>
            <a:noFill/>
            <a:ln w="12700">
              <a:solidFill>
                <a:srgbClr val="D8294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sp>
          <p:nvSpPr>
            <p:cNvPr id="287" name="Прямоугольник 286"/>
            <p:cNvSpPr/>
            <p:nvPr/>
          </p:nvSpPr>
          <p:spPr>
            <a:xfrm>
              <a:off x="7391820" y="5561991"/>
              <a:ext cx="1837098" cy="6463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ru-RU" sz="14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  <a:t>Законодательство </a:t>
              </a:r>
              <a:br>
                <a:rPr lang="ru-RU" sz="14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</a:br>
              <a:r>
                <a:rPr lang="ru-RU" sz="14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  <a:t>и качество обслуживания</a:t>
              </a:r>
            </a:p>
          </p:txBody>
        </p:sp>
        <p:grpSp>
          <p:nvGrpSpPr>
            <p:cNvPr id="345" name="Группа 344"/>
            <p:cNvGrpSpPr/>
            <p:nvPr/>
          </p:nvGrpSpPr>
          <p:grpSpPr>
            <a:xfrm>
              <a:off x="6553643" y="5512313"/>
              <a:ext cx="774369" cy="745689"/>
              <a:chOff x="6553643" y="5512313"/>
              <a:chExt cx="774369" cy="745689"/>
            </a:xfrm>
          </p:grpSpPr>
          <p:sp>
            <p:nvSpPr>
              <p:cNvPr id="292" name="Скругленный прямоугольник 291"/>
              <p:cNvSpPr/>
              <p:nvPr/>
            </p:nvSpPr>
            <p:spPr>
              <a:xfrm>
                <a:off x="6553643" y="5512313"/>
                <a:ext cx="774369" cy="745689"/>
              </a:xfrm>
              <a:prstGeom prst="roundRect">
                <a:avLst>
                  <a:gd name="adj" fmla="val 15768"/>
                </a:avLst>
              </a:prstGeom>
              <a:solidFill>
                <a:srgbClr val="F0F0F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>
                  <a:lnSpc>
                    <a:spcPts val="2100"/>
                  </a:lnSpc>
                </a:pPr>
                <a:endParaRPr lang="ru-RU" sz="1400" b="1" dirty="0">
                  <a:latin typeface="Montserrat" panose="00000500000000000000" pitchFamily="2" charset="-52"/>
                </a:endParaRPr>
              </a:p>
            </p:txBody>
          </p:sp>
          <p:grpSp>
            <p:nvGrpSpPr>
              <p:cNvPr id="294" name="Group 200">
                <a:extLst>
                  <a:ext uri="{FF2B5EF4-FFF2-40B4-BE49-F238E27FC236}">
                    <a16:creationId xmlns:a16="http://schemas.microsoft.com/office/drawing/2014/main" id="{8F8B8DA5-D727-4AFD-9F24-A47802BA162E}"/>
                  </a:ext>
                </a:extLst>
              </p:cNvPr>
              <p:cNvGrpSpPr/>
              <p:nvPr/>
            </p:nvGrpSpPr>
            <p:grpSpPr>
              <a:xfrm>
                <a:off x="6685642" y="5631313"/>
                <a:ext cx="510371" cy="507689"/>
                <a:chOff x="5521325" y="2178050"/>
                <a:chExt cx="906463" cy="901700"/>
              </a:xfrm>
            </p:grpSpPr>
            <p:sp>
              <p:nvSpPr>
                <p:cNvPr id="295" name="Freeform 122">
                  <a:extLst>
                    <a:ext uri="{FF2B5EF4-FFF2-40B4-BE49-F238E27FC236}">
                      <a16:creationId xmlns:a16="http://schemas.microsoft.com/office/drawing/2014/main" id="{80F0A369-F533-4444-994C-E81A4ABFC4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51575" y="2484438"/>
                  <a:ext cx="160338" cy="550863"/>
                </a:xfrm>
                <a:custGeom>
                  <a:avLst/>
                  <a:gdLst>
                    <a:gd name="T0" fmla="*/ 35 w 43"/>
                    <a:gd name="T1" fmla="*/ 147 h 147"/>
                    <a:gd name="T2" fmla="*/ 35 w 43"/>
                    <a:gd name="T3" fmla="*/ 136 h 147"/>
                    <a:gd name="T4" fmla="*/ 43 w 43"/>
                    <a:gd name="T5" fmla="*/ 97 h 147"/>
                    <a:gd name="T6" fmla="*/ 43 w 43"/>
                    <a:gd name="T7" fmla="*/ 69 h 147"/>
                    <a:gd name="T8" fmla="*/ 39 w 43"/>
                    <a:gd name="T9" fmla="*/ 56 h 147"/>
                    <a:gd name="T10" fmla="*/ 0 w 43"/>
                    <a:gd name="T11" fmla="*/ 0 h 1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3" h="147">
                      <a:moveTo>
                        <a:pt x="35" y="147"/>
                      </a:moveTo>
                      <a:cubicBezTo>
                        <a:pt x="35" y="136"/>
                        <a:pt x="35" y="136"/>
                        <a:pt x="35" y="136"/>
                      </a:cubicBezTo>
                      <a:cubicBezTo>
                        <a:pt x="43" y="97"/>
                        <a:pt x="43" y="97"/>
                        <a:pt x="43" y="97"/>
                      </a:cubicBezTo>
                      <a:cubicBezTo>
                        <a:pt x="43" y="69"/>
                        <a:pt x="43" y="69"/>
                        <a:pt x="43" y="69"/>
                      </a:cubicBezTo>
                      <a:cubicBezTo>
                        <a:pt x="43" y="64"/>
                        <a:pt x="41" y="60"/>
                        <a:pt x="39" y="56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296" name="Freeform 123">
                  <a:extLst>
                    <a:ext uri="{FF2B5EF4-FFF2-40B4-BE49-F238E27FC236}">
                      <a16:creationId xmlns:a16="http://schemas.microsoft.com/office/drawing/2014/main" id="{03DE8518-E3B4-4123-8DB2-72C99FC8C9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32513" y="2586038"/>
                  <a:ext cx="174625" cy="449263"/>
                </a:xfrm>
                <a:custGeom>
                  <a:avLst/>
                  <a:gdLst>
                    <a:gd name="T0" fmla="*/ 32 w 47"/>
                    <a:gd name="T1" fmla="*/ 11 h 120"/>
                    <a:gd name="T2" fmla="*/ 47 w 47"/>
                    <a:gd name="T3" fmla="*/ 35 h 120"/>
                    <a:gd name="T4" fmla="*/ 47 w 47"/>
                    <a:gd name="T5" fmla="*/ 46 h 120"/>
                    <a:gd name="T6" fmla="*/ 40 w 47"/>
                    <a:gd name="T7" fmla="*/ 54 h 120"/>
                    <a:gd name="T8" fmla="*/ 40 w 47"/>
                    <a:gd name="T9" fmla="*/ 54 h 120"/>
                    <a:gd name="T10" fmla="*/ 32 w 47"/>
                    <a:gd name="T11" fmla="*/ 46 h 120"/>
                    <a:gd name="T12" fmla="*/ 32 w 47"/>
                    <a:gd name="T13" fmla="*/ 11 h 120"/>
                    <a:gd name="T14" fmla="*/ 20 w 47"/>
                    <a:gd name="T15" fmla="*/ 0 h 120"/>
                    <a:gd name="T16" fmla="*/ 20 w 47"/>
                    <a:gd name="T17" fmla="*/ 0 h 120"/>
                    <a:gd name="T18" fmla="*/ 9 w 47"/>
                    <a:gd name="T19" fmla="*/ 11 h 120"/>
                    <a:gd name="T20" fmla="*/ 9 w 47"/>
                    <a:gd name="T21" fmla="*/ 50 h 120"/>
                    <a:gd name="T22" fmla="*/ 5 w 47"/>
                    <a:gd name="T23" fmla="*/ 85 h 120"/>
                    <a:gd name="T24" fmla="*/ 20 w 47"/>
                    <a:gd name="T25" fmla="*/ 109 h 120"/>
                    <a:gd name="T26" fmla="*/ 20 w 47"/>
                    <a:gd name="T27" fmla="*/ 120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7" h="120">
                      <a:moveTo>
                        <a:pt x="32" y="11"/>
                      </a:moveTo>
                      <a:cubicBezTo>
                        <a:pt x="47" y="35"/>
                        <a:pt x="47" y="35"/>
                        <a:pt x="47" y="35"/>
                      </a:cubicBezTo>
                      <a:cubicBezTo>
                        <a:pt x="47" y="46"/>
                        <a:pt x="47" y="46"/>
                        <a:pt x="47" y="46"/>
                      </a:cubicBezTo>
                      <a:cubicBezTo>
                        <a:pt x="47" y="51"/>
                        <a:pt x="44" y="54"/>
                        <a:pt x="40" y="54"/>
                      </a:cubicBezTo>
                      <a:cubicBezTo>
                        <a:pt x="40" y="54"/>
                        <a:pt x="40" y="54"/>
                        <a:pt x="40" y="54"/>
                      </a:cubicBezTo>
                      <a:cubicBezTo>
                        <a:pt x="35" y="54"/>
                        <a:pt x="32" y="51"/>
                        <a:pt x="32" y="46"/>
                      </a:cubicBezTo>
                      <a:cubicBezTo>
                        <a:pt x="32" y="11"/>
                        <a:pt x="32" y="11"/>
                        <a:pt x="32" y="11"/>
                      </a:cubicBezTo>
                      <a:cubicBezTo>
                        <a:pt x="32" y="5"/>
                        <a:pt x="27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4" y="0"/>
                        <a:pt x="9" y="5"/>
                        <a:pt x="9" y="11"/>
                      </a:cubicBezTo>
                      <a:cubicBezTo>
                        <a:pt x="9" y="50"/>
                        <a:pt x="9" y="50"/>
                        <a:pt x="9" y="50"/>
                      </a:cubicBezTo>
                      <a:cubicBezTo>
                        <a:pt x="9" y="50"/>
                        <a:pt x="0" y="66"/>
                        <a:pt x="5" y="85"/>
                      </a:cubicBezTo>
                      <a:cubicBezTo>
                        <a:pt x="9" y="101"/>
                        <a:pt x="20" y="109"/>
                        <a:pt x="20" y="109"/>
                      </a:cubicBezTo>
                      <a:cubicBezTo>
                        <a:pt x="20" y="120"/>
                        <a:pt x="20" y="120"/>
                        <a:pt x="20" y="120"/>
                      </a:cubicBezTo>
                    </a:path>
                  </a:pathLst>
                </a:cu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297" name="Freeform 124">
                  <a:extLst>
                    <a:ext uri="{FF2B5EF4-FFF2-40B4-BE49-F238E27FC236}">
                      <a16:creationId xmlns:a16="http://schemas.microsoft.com/office/drawing/2014/main" id="{83E30EC8-385E-4E60-8400-ED924BC8EE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65850" y="3035300"/>
                  <a:ext cx="261938" cy="44450"/>
                </a:xfrm>
                <a:custGeom>
                  <a:avLst/>
                  <a:gdLst>
                    <a:gd name="T0" fmla="*/ 0 w 165"/>
                    <a:gd name="T1" fmla="*/ 28 h 28"/>
                    <a:gd name="T2" fmla="*/ 0 w 165"/>
                    <a:gd name="T3" fmla="*/ 0 h 28"/>
                    <a:gd name="T4" fmla="*/ 165 w 165"/>
                    <a:gd name="T5" fmla="*/ 0 h 28"/>
                    <a:gd name="T6" fmla="*/ 165 w 165"/>
                    <a:gd name="T7" fmla="*/ 2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65" h="28">
                      <a:moveTo>
                        <a:pt x="0" y="28"/>
                      </a:moveTo>
                      <a:lnTo>
                        <a:pt x="0" y="0"/>
                      </a:lnTo>
                      <a:lnTo>
                        <a:pt x="165" y="0"/>
                      </a:lnTo>
                      <a:lnTo>
                        <a:pt x="165" y="28"/>
                      </a:lnTo>
                    </a:path>
                  </a:pathLst>
                </a:custGeom>
                <a:noFill/>
                <a:ln w="12700" cap="sq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298" name="Line 125">
                  <a:extLst>
                    <a:ext uri="{FF2B5EF4-FFF2-40B4-BE49-F238E27FC236}">
                      <a16:creationId xmlns:a16="http://schemas.microsoft.com/office/drawing/2014/main" id="{CF3CDE43-4960-457B-8965-F673E03E178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6003925" y="2979738"/>
                  <a:ext cx="173038" cy="0"/>
                </a:xfrm>
                <a:prstGeom prst="line">
                  <a:avLst/>
                </a:prstGeom>
                <a:noFill/>
                <a:ln w="12700" cap="sq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299" name="Freeform 126">
                  <a:extLst>
                    <a:ext uri="{FF2B5EF4-FFF2-40B4-BE49-F238E27FC236}">
                      <a16:creationId xmlns:a16="http://schemas.microsoft.com/office/drawing/2014/main" id="{AD688E2F-FBEE-490F-A0BE-27896A5BBB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11813" y="2178050"/>
                  <a:ext cx="639763" cy="449263"/>
                </a:xfrm>
                <a:custGeom>
                  <a:avLst/>
                  <a:gdLst>
                    <a:gd name="T0" fmla="*/ 0 w 171"/>
                    <a:gd name="T1" fmla="*/ 0 h 120"/>
                    <a:gd name="T2" fmla="*/ 148 w 171"/>
                    <a:gd name="T3" fmla="*/ 0 h 120"/>
                    <a:gd name="T4" fmla="*/ 171 w 171"/>
                    <a:gd name="T5" fmla="*/ 23 h 120"/>
                    <a:gd name="T6" fmla="*/ 171 w 171"/>
                    <a:gd name="T7" fmla="*/ 120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71" h="120">
                      <a:moveTo>
                        <a:pt x="0" y="0"/>
                      </a:moveTo>
                      <a:cubicBezTo>
                        <a:pt x="148" y="0"/>
                        <a:pt x="148" y="0"/>
                        <a:pt x="148" y="0"/>
                      </a:cubicBezTo>
                      <a:cubicBezTo>
                        <a:pt x="160" y="0"/>
                        <a:pt x="171" y="10"/>
                        <a:pt x="171" y="23"/>
                      </a:cubicBezTo>
                      <a:cubicBezTo>
                        <a:pt x="171" y="120"/>
                        <a:pt x="171" y="120"/>
                        <a:pt x="171" y="120"/>
                      </a:cubicBezTo>
                    </a:path>
                  </a:pathLst>
                </a:custGeom>
                <a:noFill/>
                <a:ln w="12700" cap="sq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00" name="Freeform 127">
                  <a:extLst>
                    <a:ext uri="{FF2B5EF4-FFF2-40B4-BE49-F238E27FC236}">
                      <a16:creationId xmlns:a16="http://schemas.microsoft.com/office/drawing/2014/main" id="{2AE116DB-92C2-49F4-AF3E-0A600B5981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21325" y="2178050"/>
                  <a:ext cx="220663" cy="801688"/>
                </a:xfrm>
                <a:custGeom>
                  <a:avLst/>
                  <a:gdLst>
                    <a:gd name="T0" fmla="*/ 16 w 59"/>
                    <a:gd name="T1" fmla="*/ 31 h 214"/>
                    <a:gd name="T2" fmla="*/ 0 w 59"/>
                    <a:gd name="T3" fmla="*/ 31 h 214"/>
                    <a:gd name="T4" fmla="*/ 0 w 59"/>
                    <a:gd name="T5" fmla="*/ 19 h 214"/>
                    <a:gd name="T6" fmla="*/ 20 w 59"/>
                    <a:gd name="T7" fmla="*/ 0 h 214"/>
                    <a:gd name="T8" fmla="*/ 20 w 59"/>
                    <a:gd name="T9" fmla="*/ 0 h 214"/>
                    <a:gd name="T10" fmla="*/ 39 w 59"/>
                    <a:gd name="T11" fmla="*/ 19 h 214"/>
                    <a:gd name="T12" fmla="*/ 39 w 59"/>
                    <a:gd name="T13" fmla="*/ 214 h 214"/>
                    <a:gd name="T14" fmla="*/ 59 w 59"/>
                    <a:gd name="T15" fmla="*/ 214 h 2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9" h="214">
                      <a:moveTo>
                        <a:pt x="16" y="31"/>
                      </a:move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9"/>
                        <a:pt x="9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31" y="0"/>
                        <a:pt x="39" y="9"/>
                        <a:pt x="39" y="19"/>
                      </a:cubicBezTo>
                      <a:cubicBezTo>
                        <a:pt x="39" y="214"/>
                        <a:pt x="39" y="214"/>
                        <a:pt x="39" y="214"/>
                      </a:cubicBezTo>
                      <a:cubicBezTo>
                        <a:pt x="59" y="214"/>
                        <a:pt x="59" y="214"/>
                        <a:pt x="59" y="214"/>
                      </a:cubicBezTo>
                    </a:path>
                  </a:pathLst>
                </a:custGeom>
                <a:noFill/>
                <a:ln w="12700" cap="sq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01" name="Line 128">
                  <a:extLst>
                    <a:ext uri="{FF2B5EF4-FFF2-40B4-BE49-F238E27FC236}">
                      <a16:creationId xmlns:a16="http://schemas.microsoft.com/office/drawing/2014/main" id="{56C763DE-66B8-4F8F-85C3-D270DDBBD35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873750" y="2354263"/>
                  <a:ext cx="171450" cy="0"/>
                </a:xfrm>
                <a:prstGeom prst="line">
                  <a:avLst/>
                </a:pr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02" name="Line 129">
                  <a:extLst>
                    <a:ext uri="{FF2B5EF4-FFF2-40B4-BE49-F238E27FC236}">
                      <a16:creationId xmlns:a16="http://schemas.microsoft.com/office/drawing/2014/main" id="{0FD60BC2-F71A-4B1B-863B-A3F1B4B2305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783263" y="2484438"/>
                  <a:ext cx="352425" cy="0"/>
                </a:xfrm>
                <a:prstGeom prst="line">
                  <a:avLst/>
                </a:pr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03" name="Line 130">
                  <a:extLst>
                    <a:ext uri="{FF2B5EF4-FFF2-40B4-BE49-F238E27FC236}">
                      <a16:creationId xmlns:a16="http://schemas.microsoft.com/office/drawing/2014/main" id="{8F6F20A5-136F-4B2E-BF89-0A3763C1C56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783263" y="2571750"/>
                  <a:ext cx="307975" cy="0"/>
                </a:xfrm>
                <a:prstGeom prst="line">
                  <a:avLst/>
                </a:pr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04" name="Line 131">
                  <a:extLst>
                    <a:ext uri="{FF2B5EF4-FFF2-40B4-BE49-F238E27FC236}">
                      <a16:creationId xmlns:a16="http://schemas.microsoft.com/office/drawing/2014/main" id="{9131DD40-5870-451F-B96C-C39AE7220DE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783263" y="2657475"/>
                  <a:ext cx="161925" cy="0"/>
                </a:xfrm>
                <a:prstGeom prst="line">
                  <a:avLst/>
                </a:pr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05" name="Freeform 132">
                  <a:extLst>
                    <a:ext uri="{FF2B5EF4-FFF2-40B4-BE49-F238E27FC236}">
                      <a16:creationId xmlns:a16="http://schemas.microsoft.com/office/drawing/2014/main" id="{5082C4D1-B5A9-4357-8687-0499F26202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29300" y="2933700"/>
                  <a:ext cx="115888" cy="146050"/>
                </a:xfrm>
                <a:custGeom>
                  <a:avLst/>
                  <a:gdLst>
                    <a:gd name="T0" fmla="*/ 63 w 73"/>
                    <a:gd name="T1" fmla="*/ 0 h 92"/>
                    <a:gd name="T2" fmla="*/ 73 w 73"/>
                    <a:gd name="T3" fmla="*/ 92 h 92"/>
                    <a:gd name="T4" fmla="*/ 37 w 73"/>
                    <a:gd name="T5" fmla="*/ 73 h 92"/>
                    <a:gd name="T6" fmla="*/ 0 w 73"/>
                    <a:gd name="T7" fmla="*/ 92 h 92"/>
                    <a:gd name="T8" fmla="*/ 9 w 73"/>
                    <a:gd name="T9" fmla="*/ 0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92">
                      <a:moveTo>
                        <a:pt x="63" y="0"/>
                      </a:moveTo>
                      <a:lnTo>
                        <a:pt x="73" y="92"/>
                      </a:lnTo>
                      <a:lnTo>
                        <a:pt x="37" y="73"/>
                      </a:lnTo>
                      <a:lnTo>
                        <a:pt x="0" y="92"/>
                      </a:lnTo>
                      <a:lnTo>
                        <a:pt x="9" y="0"/>
                      </a:lnTo>
                    </a:path>
                  </a:pathLst>
                </a:custGeom>
                <a:noFill/>
                <a:ln w="12700" cap="sq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06" name="Freeform 133">
                  <a:extLst>
                    <a:ext uri="{FF2B5EF4-FFF2-40B4-BE49-F238E27FC236}">
                      <a16:creationId xmlns:a16="http://schemas.microsoft.com/office/drawing/2014/main" id="{BFDF331E-34D4-4DBF-B92D-0DA4DC7906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88025" y="2751138"/>
                  <a:ext cx="198438" cy="193675"/>
                </a:xfrm>
                <a:custGeom>
                  <a:avLst/>
                  <a:gdLst>
                    <a:gd name="T0" fmla="*/ 46 w 53"/>
                    <a:gd name="T1" fmla="*/ 10 h 52"/>
                    <a:gd name="T2" fmla="*/ 46 w 53"/>
                    <a:gd name="T3" fmla="*/ 10 h 52"/>
                    <a:gd name="T4" fmla="*/ 42 w 53"/>
                    <a:gd name="T5" fmla="*/ 6 h 52"/>
                    <a:gd name="T6" fmla="*/ 42 w 53"/>
                    <a:gd name="T7" fmla="*/ 6 h 52"/>
                    <a:gd name="T8" fmla="*/ 29 w 53"/>
                    <a:gd name="T9" fmla="*/ 1 h 52"/>
                    <a:gd name="T10" fmla="*/ 29 w 53"/>
                    <a:gd name="T11" fmla="*/ 1 h 52"/>
                    <a:gd name="T12" fmla="*/ 24 w 53"/>
                    <a:gd name="T13" fmla="*/ 1 h 52"/>
                    <a:gd name="T14" fmla="*/ 24 w 53"/>
                    <a:gd name="T15" fmla="*/ 1 h 52"/>
                    <a:gd name="T16" fmla="*/ 11 w 53"/>
                    <a:gd name="T17" fmla="*/ 6 h 52"/>
                    <a:gd name="T18" fmla="*/ 11 w 53"/>
                    <a:gd name="T19" fmla="*/ 6 h 52"/>
                    <a:gd name="T20" fmla="*/ 7 w 53"/>
                    <a:gd name="T21" fmla="*/ 10 h 52"/>
                    <a:gd name="T22" fmla="*/ 7 w 53"/>
                    <a:gd name="T23" fmla="*/ 10 h 52"/>
                    <a:gd name="T24" fmla="*/ 2 w 53"/>
                    <a:gd name="T25" fmla="*/ 23 h 52"/>
                    <a:gd name="T26" fmla="*/ 2 w 53"/>
                    <a:gd name="T27" fmla="*/ 23 h 52"/>
                    <a:gd name="T28" fmla="*/ 2 w 53"/>
                    <a:gd name="T29" fmla="*/ 29 h 52"/>
                    <a:gd name="T30" fmla="*/ 2 w 53"/>
                    <a:gd name="T31" fmla="*/ 29 h 52"/>
                    <a:gd name="T32" fmla="*/ 7 w 53"/>
                    <a:gd name="T33" fmla="*/ 41 h 52"/>
                    <a:gd name="T34" fmla="*/ 7 w 53"/>
                    <a:gd name="T35" fmla="*/ 41 h 52"/>
                    <a:gd name="T36" fmla="*/ 11 w 53"/>
                    <a:gd name="T37" fmla="*/ 45 h 52"/>
                    <a:gd name="T38" fmla="*/ 11 w 53"/>
                    <a:gd name="T39" fmla="*/ 45 h 52"/>
                    <a:gd name="T40" fmla="*/ 24 w 53"/>
                    <a:gd name="T41" fmla="*/ 51 h 52"/>
                    <a:gd name="T42" fmla="*/ 24 w 53"/>
                    <a:gd name="T43" fmla="*/ 51 h 52"/>
                    <a:gd name="T44" fmla="*/ 29 w 53"/>
                    <a:gd name="T45" fmla="*/ 51 h 52"/>
                    <a:gd name="T46" fmla="*/ 29 w 53"/>
                    <a:gd name="T47" fmla="*/ 51 h 52"/>
                    <a:gd name="T48" fmla="*/ 42 w 53"/>
                    <a:gd name="T49" fmla="*/ 45 h 52"/>
                    <a:gd name="T50" fmla="*/ 42 w 53"/>
                    <a:gd name="T51" fmla="*/ 45 h 52"/>
                    <a:gd name="T52" fmla="*/ 46 w 53"/>
                    <a:gd name="T53" fmla="*/ 41 h 52"/>
                    <a:gd name="T54" fmla="*/ 46 w 53"/>
                    <a:gd name="T55" fmla="*/ 41 h 52"/>
                    <a:gd name="T56" fmla="*/ 51 w 53"/>
                    <a:gd name="T57" fmla="*/ 29 h 52"/>
                    <a:gd name="T58" fmla="*/ 51 w 53"/>
                    <a:gd name="T59" fmla="*/ 29 h 52"/>
                    <a:gd name="T60" fmla="*/ 51 w 53"/>
                    <a:gd name="T61" fmla="*/ 23 h 52"/>
                    <a:gd name="T62" fmla="*/ 51 w 53"/>
                    <a:gd name="T63" fmla="*/ 23 h 52"/>
                    <a:gd name="T64" fmla="*/ 46 w 53"/>
                    <a:gd name="T65" fmla="*/ 1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53" h="52">
                      <a:moveTo>
                        <a:pt x="46" y="10"/>
                      </a:moveTo>
                      <a:cubicBezTo>
                        <a:pt x="46" y="10"/>
                        <a:pt x="46" y="10"/>
                        <a:pt x="46" y="10"/>
                      </a:cubicBezTo>
                      <a:cubicBezTo>
                        <a:pt x="46" y="8"/>
                        <a:pt x="44" y="6"/>
                        <a:pt x="42" y="6"/>
                      </a:cubicBezTo>
                      <a:cubicBezTo>
                        <a:pt x="42" y="6"/>
                        <a:pt x="42" y="6"/>
                        <a:pt x="42" y="6"/>
                      </a:cubicBezTo>
                      <a:cubicBezTo>
                        <a:pt x="37" y="6"/>
                        <a:pt x="33" y="4"/>
                        <a:pt x="29" y="1"/>
                      </a:cubicBezTo>
                      <a:cubicBezTo>
                        <a:pt x="29" y="1"/>
                        <a:pt x="29" y="1"/>
                        <a:pt x="29" y="1"/>
                      </a:cubicBezTo>
                      <a:cubicBezTo>
                        <a:pt x="28" y="0"/>
                        <a:pt x="25" y="0"/>
                        <a:pt x="24" y="1"/>
                      </a:cubicBezTo>
                      <a:cubicBezTo>
                        <a:pt x="24" y="1"/>
                        <a:pt x="24" y="1"/>
                        <a:pt x="24" y="1"/>
                      </a:cubicBezTo>
                      <a:cubicBezTo>
                        <a:pt x="21" y="4"/>
                        <a:pt x="16" y="6"/>
                        <a:pt x="11" y="6"/>
                      </a:cubicBezTo>
                      <a:cubicBezTo>
                        <a:pt x="11" y="6"/>
                        <a:pt x="11" y="6"/>
                        <a:pt x="11" y="6"/>
                      </a:cubicBezTo>
                      <a:cubicBezTo>
                        <a:pt x="9" y="6"/>
                        <a:pt x="7" y="8"/>
                        <a:pt x="7" y="10"/>
                      </a:cubicBezTo>
                      <a:cubicBezTo>
                        <a:pt x="7" y="10"/>
                        <a:pt x="7" y="10"/>
                        <a:pt x="7" y="10"/>
                      </a:cubicBezTo>
                      <a:cubicBezTo>
                        <a:pt x="7" y="15"/>
                        <a:pt x="5" y="20"/>
                        <a:pt x="2" y="23"/>
                      </a:cubicBezTo>
                      <a:cubicBezTo>
                        <a:pt x="2" y="23"/>
                        <a:pt x="2" y="23"/>
                        <a:pt x="2" y="23"/>
                      </a:cubicBezTo>
                      <a:cubicBezTo>
                        <a:pt x="0" y="25"/>
                        <a:pt x="0" y="27"/>
                        <a:pt x="2" y="29"/>
                      </a:cubicBezTo>
                      <a:cubicBezTo>
                        <a:pt x="2" y="29"/>
                        <a:pt x="2" y="29"/>
                        <a:pt x="2" y="29"/>
                      </a:cubicBezTo>
                      <a:cubicBezTo>
                        <a:pt x="5" y="32"/>
                        <a:pt x="7" y="37"/>
                        <a:pt x="7" y="41"/>
                      </a:cubicBezTo>
                      <a:cubicBezTo>
                        <a:pt x="7" y="41"/>
                        <a:pt x="7" y="41"/>
                        <a:pt x="7" y="41"/>
                      </a:cubicBezTo>
                      <a:cubicBezTo>
                        <a:pt x="7" y="44"/>
                        <a:pt x="9" y="45"/>
                        <a:pt x="11" y="45"/>
                      </a:cubicBezTo>
                      <a:cubicBezTo>
                        <a:pt x="11" y="45"/>
                        <a:pt x="11" y="45"/>
                        <a:pt x="11" y="45"/>
                      </a:cubicBezTo>
                      <a:cubicBezTo>
                        <a:pt x="16" y="45"/>
                        <a:pt x="21" y="47"/>
                        <a:pt x="24" y="51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5" y="52"/>
                        <a:pt x="28" y="52"/>
                        <a:pt x="29" y="51"/>
                      </a:cubicBezTo>
                      <a:cubicBezTo>
                        <a:pt x="29" y="51"/>
                        <a:pt x="29" y="51"/>
                        <a:pt x="29" y="51"/>
                      </a:cubicBezTo>
                      <a:cubicBezTo>
                        <a:pt x="33" y="47"/>
                        <a:pt x="37" y="45"/>
                        <a:pt x="42" y="45"/>
                      </a:cubicBezTo>
                      <a:cubicBezTo>
                        <a:pt x="42" y="45"/>
                        <a:pt x="42" y="45"/>
                        <a:pt x="42" y="45"/>
                      </a:cubicBezTo>
                      <a:cubicBezTo>
                        <a:pt x="44" y="45"/>
                        <a:pt x="46" y="44"/>
                        <a:pt x="46" y="41"/>
                      </a:cubicBezTo>
                      <a:cubicBezTo>
                        <a:pt x="46" y="41"/>
                        <a:pt x="46" y="41"/>
                        <a:pt x="46" y="41"/>
                      </a:cubicBezTo>
                      <a:cubicBezTo>
                        <a:pt x="46" y="37"/>
                        <a:pt x="48" y="32"/>
                        <a:pt x="51" y="29"/>
                      </a:cubicBezTo>
                      <a:cubicBezTo>
                        <a:pt x="51" y="29"/>
                        <a:pt x="51" y="29"/>
                        <a:pt x="51" y="29"/>
                      </a:cubicBezTo>
                      <a:cubicBezTo>
                        <a:pt x="53" y="27"/>
                        <a:pt x="53" y="25"/>
                        <a:pt x="51" y="23"/>
                      </a:cubicBezTo>
                      <a:cubicBezTo>
                        <a:pt x="51" y="23"/>
                        <a:pt x="51" y="23"/>
                        <a:pt x="51" y="23"/>
                      </a:cubicBezTo>
                      <a:cubicBezTo>
                        <a:pt x="48" y="20"/>
                        <a:pt x="46" y="15"/>
                        <a:pt x="46" y="10"/>
                      </a:cubicBezTo>
                      <a:close/>
                    </a:path>
                  </a:pathLst>
                </a:custGeom>
                <a:noFill/>
                <a:ln w="12700" cap="sq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</p:grpSp>
        </p:grpSp>
      </p:grpSp>
      <p:grpSp>
        <p:nvGrpSpPr>
          <p:cNvPr id="347" name="Группа 346"/>
          <p:cNvGrpSpPr/>
          <p:nvPr/>
        </p:nvGrpSpPr>
        <p:grpSpPr>
          <a:xfrm>
            <a:off x="3498704" y="5394842"/>
            <a:ext cx="2772000" cy="980630"/>
            <a:chOff x="3498704" y="5394842"/>
            <a:chExt cx="2772000" cy="980630"/>
          </a:xfrm>
        </p:grpSpPr>
        <p:sp>
          <p:nvSpPr>
            <p:cNvPr id="274" name="Скругленный прямоугольник 273"/>
            <p:cNvSpPr/>
            <p:nvPr/>
          </p:nvSpPr>
          <p:spPr>
            <a:xfrm>
              <a:off x="3498704" y="5394842"/>
              <a:ext cx="2772000" cy="980630"/>
            </a:xfrm>
            <a:prstGeom prst="roundRect">
              <a:avLst>
                <a:gd name="adj" fmla="val 15768"/>
              </a:avLst>
            </a:prstGeom>
            <a:noFill/>
            <a:ln w="12700">
              <a:solidFill>
                <a:srgbClr val="D8294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293" name="Группа 292"/>
            <p:cNvGrpSpPr/>
            <p:nvPr/>
          </p:nvGrpSpPr>
          <p:grpSpPr>
            <a:xfrm>
              <a:off x="4454452" y="5561991"/>
              <a:ext cx="1670708" cy="680345"/>
              <a:chOff x="4454452" y="5561991"/>
              <a:chExt cx="1670708" cy="680345"/>
            </a:xfrm>
          </p:grpSpPr>
          <p:sp>
            <p:nvSpPr>
              <p:cNvPr id="281" name="Прямоугольник 280"/>
              <p:cNvSpPr/>
              <p:nvPr/>
            </p:nvSpPr>
            <p:spPr>
              <a:xfrm>
                <a:off x="4454453" y="5780671"/>
                <a:ext cx="1670707" cy="46166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r>
                  <a:rPr lang="ru-RU" sz="1000" dirty="0">
                    <a:solidFill>
                      <a:srgbClr val="404040"/>
                    </a:solidFill>
                    <a:latin typeface="Montserrat" panose="00000500000000000000" pitchFamily="2" charset="-52"/>
                  </a:rPr>
                  <a:t>в некоторых регионах спрос на услуги зависит</a:t>
                </a:r>
                <a:br>
                  <a:rPr lang="ru-RU" sz="1000" dirty="0">
                    <a:solidFill>
                      <a:srgbClr val="404040"/>
                    </a:solidFill>
                    <a:latin typeface="Montserrat" panose="00000500000000000000" pitchFamily="2" charset="-52"/>
                  </a:rPr>
                </a:br>
                <a:r>
                  <a:rPr lang="ru-RU" sz="1000" dirty="0">
                    <a:solidFill>
                      <a:srgbClr val="404040"/>
                    </a:solidFill>
                    <a:latin typeface="Montserrat" panose="00000500000000000000" pitchFamily="2" charset="-52"/>
                  </a:rPr>
                  <a:t>от времени года</a:t>
                </a:r>
              </a:p>
            </p:txBody>
          </p:sp>
          <p:sp>
            <p:nvSpPr>
              <p:cNvPr id="282" name="Прямоугольник 281"/>
              <p:cNvSpPr/>
              <p:nvPr/>
            </p:nvSpPr>
            <p:spPr>
              <a:xfrm>
                <a:off x="4454452" y="5561991"/>
                <a:ext cx="1141338" cy="21544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spAutoFit/>
              </a:bodyPr>
              <a:lstStyle/>
              <a:p>
                <a:r>
                  <a:rPr lang="ru-RU" sz="1400" b="1" dirty="0">
                    <a:solidFill>
                      <a:srgbClr val="D8294C"/>
                    </a:solidFill>
                    <a:latin typeface="Montserrat" panose="00000500000000000000" pitchFamily="2" charset="-52"/>
                  </a:rPr>
                  <a:t>Сезонность</a:t>
                </a:r>
              </a:p>
            </p:txBody>
          </p:sp>
        </p:grpSp>
        <p:grpSp>
          <p:nvGrpSpPr>
            <p:cNvPr id="344" name="Группа 343"/>
            <p:cNvGrpSpPr/>
            <p:nvPr/>
          </p:nvGrpSpPr>
          <p:grpSpPr>
            <a:xfrm>
              <a:off x="3571856" y="5512313"/>
              <a:ext cx="774369" cy="745689"/>
              <a:chOff x="3571856" y="5512313"/>
              <a:chExt cx="774369" cy="745689"/>
            </a:xfrm>
          </p:grpSpPr>
          <p:sp>
            <p:nvSpPr>
              <p:cNvPr id="290" name="Скругленный прямоугольник 289"/>
              <p:cNvSpPr/>
              <p:nvPr/>
            </p:nvSpPr>
            <p:spPr>
              <a:xfrm>
                <a:off x="3571856" y="5512313"/>
                <a:ext cx="774369" cy="745689"/>
              </a:xfrm>
              <a:prstGeom prst="roundRect">
                <a:avLst>
                  <a:gd name="adj" fmla="val 15768"/>
                </a:avLst>
              </a:prstGeom>
              <a:solidFill>
                <a:srgbClr val="F0F0F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>
                  <a:lnSpc>
                    <a:spcPts val="2100"/>
                  </a:lnSpc>
                </a:pPr>
                <a:endParaRPr lang="ru-RU" sz="1400" b="1" dirty="0">
                  <a:latin typeface="Montserrat" panose="00000500000000000000" pitchFamily="2" charset="-52"/>
                </a:endParaRPr>
              </a:p>
            </p:txBody>
          </p:sp>
          <p:grpSp>
            <p:nvGrpSpPr>
              <p:cNvPr id="307" name="Group 4130">
                <a:extLst>
                  <a:ext uri="{FF2B5EF4-FFF2-40B4-BE49-F238E27FC236}">
                    <a16:creationId xmlns:a16="http://schemas.microsoft.com/office/drawing/2014/main" id="{4DDBA863-327A-4AC2-A1EA-69D0E3D33011}"/>
                  </a:ext>
                </a:extLst>
              </p:cNvPr>
              <p:cNvGrpSpPr/>
              <p:nvPr/>
            </p:nvGrpSpPr>
            <p:grpSpPr>
              <a:xfrm>
                <a:off x="3688808" y="5631962"/>
                <a:ext cx="540465" cy="506391"/>
                <a:chOff x="679971" y="3514504"/>
                <a:chExt cx="576337" cy="540000"/>
              </a:xfrm>
            </p:grpSpPr>
            <p:sp>
              <p:nvSpPr>
                <p:cNvPr id="308" name="Line 739">
                  <a:extLst>
                    <a:ext uri="{FF2B5EF4-FFF2-40B4-BE49-F238E27FC236}">
                      <a16:creationId xmlns:a16="http://schemas.microsoft.com/office/drawing/2014/main" id="{31458299-A7BD-4E69-A6A4-5A41BF8061B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5324" y="3551687"/>
                  <a:ext cx="83661" cy="0"/>
                </a:xfrm>
                <a:prstGeom prst="line">
                  <a:avLst/>
                </a:prstGeom>
                <a:noFill/>
                <a:ln w="12700" cap="sq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09" name="Line 740">
                  <a:extLst>
                    <a:ext uri="{FF2B5EF4-FFF2-40B4-BE49-F238E27FC236}">
                      <a16:creationId xmlns:a16="http://schemas.microsoft.com/office/drawing/2014/main" id="{6AD594FA-2B8E-476D-BCF8-87E2B6BC964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6591" y="3551687"/>
                  <a:ext cx="74366" cy="0"/>
                </a:xfrm>
                <a:prstGeom prst="line">
                  <a:avLst/>
                </a:prstGeom>
                <a:noFill/>
                <a:ln w="12700" cap="sq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10" name="Freeform 741">
                  <a:extLst>
                    <a:ext uri="{FF2B5EF4-FFF2-40B4-BE49-F238E27FC236}">
                      <a16:creationId xmlns:a16="http://schemas.microsoft.com/office/drawing/2014/main" id="{D587B961-2755-4A71-80B1-F57F1C7D20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9971" y="3551687"/>
                  <a:ext cx="576337" cy="502817"/>
                </a:xfrm>
                <a:custGeom>
                  <a:avLst/>
                  <a:gdLst>
                    <a:gd name="T0" fmla="*/ 208 w 248"/>
                    <a:gd name="T1" fmla="*/ 0 h 216"/>
                    <a:gd name="T2" fmla="*/ 232 w 248"/>
                    <a:gd name="T3" fmla="*/ 0 h 216"/>
                    <a:gd name="T4" fmla="*/ 248 w 248"/>
                    <a:gd name="T5" fmla="*/ 16 h 216"/>
                    <a:gd name="T6" fmla="*/ 248 w 248"/>
                    <a:gd name="T7" fmla="*/ 160 h 216"/>
                    <a:gd name="T8" fmla="*/ 192 w 248"/>
                    <a:gd name="T9" fmla="*/ 216 h 216"/>
                    <a:gd name="T10" fmla="*/ 16 w 248"/>
                    <a:gd name="T11" fmla="*/ 216 h 216"/>
                    <a:gd name="T12" fmla="*/ 0 w 248"/>
                    <a:gd name="T13" fmla="*/ 200 h 216"/>
                    <a:gd name="T14" fmla="*/ 0 w 248"/>
                    <a:gd name="T15" fmla="*/ 16 h 216"/>
                    <a:gd name="T16" fmla="*/ 16 w 248"/>
                    <a:gd name="T17" fmla="*/ 0 h 216"/>
                    <a:gd name="T18" fmla="*/ 44 w 248"/>
                    <a:gd name="T19" fmla="*/ 0 h 2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8" h="216">
                      <a:moveTo>
                        <a:pt x="208" y="0"/>
                      </a:moveTo>
                      <a:cubicBezTo>
                        <a:pt x="232" y="0"/>
                        <a:pt x="232" y="0"/>
                        <a:pt x="232" y="0"/>
                      </a:cubicBezTo>
                      <a:cubicBezTo>
                        <a:pt x="241" y="0"/>
                        <a:pt x="248" y="7"/>
                        <a:pt x="248" y="16"/>
                      </a:cubicBezTo>
                      <a:cubicBezTo>
                        <a:pt x="248" y="160"/>
                        <a:pt x="248" y="160"/>
                        <a:pt x="248" y="160"/>
                      </a:cubicBezTo>
                      <a:cubicBezTo>
                        <a:pt x="192" y="216"/>
                        <a:pt x="192" y="216"/>
                        <a:pt x="192" y="216"/>
                      </a:cubicBezTo>
                      <a:cubicBezTo>
                        <a:pt x="16" y="216"/>
                        <a:pt x="16" y="216"/>
                        <a:pt x="16" y="216"/>
                      </a:cubicBezTo>
                      <a:cubicBezTo>
                        <a:pt x="7" y="216"/>
                        <a:pt x="0" y="209"/>
                        <a:pt x="0" y="200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7"/>
                        <a:pt x="7" y="0"/>
                        <a:pt x="16" y="0"/>
                      </a:cubicBezTo>
                      <a:cubicBezTo>
                        <a:pt x="44" y="0"/>
                        <a:pt x="44" y="0"/>
                        <a:pt x="44" y="0"/>
                      </a:cubicBezTo>
                    </a:path>
                  </a:pathLst>
                </a:custGeom>
                <a:noFill/>
                <a:ln w="12700" cap="sq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11" name="Freeform 742">
                  <a:extLst>
                    <a:ext uri="{FF2B5EF4-FFF2-40B4-BE49-F238E27FC236}">
                      <a16:creationId xmlns:a16="http://schemas.microsoft.com/office/drawing/2014/main" id="{FA99ED47-9B46-4377-9322-FAEE75C53B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6169" y="3924363"/>
                  <a:ext cx="65070" cy="120845"/>
                </a:xfrm>
                <a:custGeom>
                  <a:avLst/>
                  <a:gdLst>
                    <a:gd name="T0" fmla="*/ 0 w 28"/>
                    <a:gd name="T1" fmla="*/ 52 h 52"/>
                    <a:gd name="T2" fmla="*/ 0 w 28"/>
                    <a:gd name="T3" fmla="*/ 12 h 52"/>
                    <a:gd name="T4" fmla="*/ 12 w 28"/>
                    <a:gd name="T5" fmla="*/ 0 h 52"/>
                    <a:gd name="T6" fmla="*/ 28 w 28"/>
                    <a:gd name="T7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8" h="52">
                      <a:moveTo>
                        <a:pt x="0" y="52"/>
                      </a:move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28" y="0"/>
                        <a:pt x="28" y="0"/>
                        <a:pt x="28" y="0"/>
                      </a:cubicBezTo>
                    </a:path>
                  </a:pathLst>
                </a:custGeom>
                <a:noFill/>
                <a:ln w="12700" cap="flat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12" name="Line 743">
                  <a:extLst>
                    <a:ext uri="{FF2B5EF4-FFF2-40B4-BE49-F238E27FC236}">
                      <a16:creationId xmlns:a16="http://schemas.microsoft.com/office/drawing/2014/main" id="{9347233D-6C45-46CF-9DE0-7A1CC0D3D64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35746" y="3681828"/>
                  <a:ext cx="464788" cy="0"/>
                </a:xfrm>
                <a:prstGeom prst="line">
                  <a:avLst/>
                </a:pr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13" name="Rectangle 744">
                  <a:extLst>
                    <a:ext uri="{FF2B5EF4-FFF2-40B4-BE49-F238E27FC236}">
                      <a16:creationId xmlns:a16="http://schemas.microsoft.com/office/drawing/2014/main" id="{AC301FA5-5C76-4196-8729-AF606DDF0A5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5746" y="3756194"/>
                  <a:ext cx="74366" cy="74366"/>
                </a:xfrm>
                <a:prstGeom prst="rect">
                  <a:avLst/>
                </a:pr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14" name="Rectangle 745">
                  <a:extLst>
                    <a:ext uri="{FF2B5EF4-FFF2-40B4-BE49-F238E27FC236}">
                      <a16:creationId xmlns:a16="http://schemas.microsoft.com/office/drawing/2014/main" id="{495F4434-8F0D-4A43-BAD3-11B6BABCD11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5746" y="3887180"/>
                  <a:ext cx="74366" cy="74366"/>
                </a:xfrm>
                <a:prstGeom prst="rect">
                  <a:avLst/>
                </a:pr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15" name="Rectangle 746">
                  <a:extLst>
                    <a:ext uri="{FF2B5EF4-FFF2-40B4-BE49-F238E27FC236}">
                      <a16:creationId xmlns:a16="http://schemas.microsoft.com/office/drawing/2014/main" id="{809B211F-8F70-4B7C-8013-FFBD3F6555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65887" y="3887180"/>
                  <a:ext cx="74366" cy="74366"/>
                </a:xfrm>
                <a:prstGeom prst="rect">
                  <a:avLst/>
                </a:pr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16" name="Rectangle 747">
                  <a:extLst>
                    <a:ext uri="{FF2B5EF4-FFF2-40B4-BE49-F238E27FC236}">
                      <a16:creationId xmlns:a16="http://schemas.microsoft.com/office/drawing/2014/main" id="{D587A9D6-A8D8-4040-A4BA-ECD4A110D1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96028" y="3887180"/>
                  <a:ext cx="74366" cy="74366"/>
                </a:xfrm>
                <a:prstGeom prst="rect">
                  <a:avLst/>
                </a:pr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17" name="Rectangle 748">
                  <a:extLst>
                    <a:ext uri="{FF2B5EF4-FFF2-40B4-BE49-F238E27FC236}">
                      <a16:creationId xmlns:a16="http://schemas.microsoft.com/office/drawing/2014/main" id="{A1E9B387-1853-42A3-A1E8-73422EBA74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96028" y="3756194"/>
                  <a:ext cx="74366" cy="74366"/>
                </a:xfrm>
                <a:prstGeom prst="rect">
                  <a:avLst/>
                </a:pr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18" name="Rectangle 749">
                  <a:extLst>
                    <a:ext uri="{FF2B5EF4-FFF2-40B4-BE49-F238E27FC236}">
                      <a16:creationId xmlns:a16="http://schemas.microsoft.com/office/drawing/2014/main" id="{E70A27F7-5C55-4F12-81C4-CDF81D24E46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26169" y="3756194"/>
                  <a:ext cx="74366" cy="74366"/>
                </a:xfrm>
                <a:prstGeom prst="rect">
                  <a:avLst/>
                </a:pr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19" name="Freeform 750">
                  <a:extLst>
                    <a:ext uri="{FF2B5EF4-FFF2-40B4-BE49-F238E27FC236}">
                      <a16:creationId xmlns:a16="http://schemas.microsoft.com/office/drawing/2014/main" id="{1D3623C3-C9A9-43E3-AF25-E9BB62FE11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6591" y="3737602"/>
                  <a:ext cx="92957" cy="92957"/>
                </a:xfrm>
                <a:custGeom>
                  <a:avLst/>
                  <a:gdLst>
                    <a:gd name="T0" fmla="*/ 110 w 110"/>
                    <a:gd name="T1" fmla="*/ 0 h 110"/>
                    <a:gd name="T2" fmla="*/ 44 w 110"/>
                    <a:gd name="T3" fmla="*/ 110 h 110"/>
                    <a:gd name="T4" fmla="*/ 0 w 110"/>
                    <a:gd name="T5" fmla="*/ 55 h 1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10" h="110">
                      <a:moveTo>
                        <a:pt x="110" y="0"/>
                      </a:moveTo>
                      <a:lnTo>
                        <a:pt x="44" y="110"/>
                      </a:lnTo>
                      <a:lnTo>
                        <a:pt x="0" y="55"/>
                      </a:lnTo>
                    </a:path>
                  </a:pathLst>
                </a:cu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20" name="Line 751">
                  <a:extLst>
                    <a:ext uri="{FF2B5EF4-FFF2-40B4-BE49-F238E27FC236}">
                      <a16:creationId xmlns:a16="http://schemas.microsoft.com/office/drawing/2014/main" id="{78052FD5-0B99-4582-92F2-C4BC52C79CE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819408" y="3514504"/>
                  <a:ext cx="0" cy="83661"/>
                </a:xfrm>
                <a:prstGeom prst="line">
                  <a:avLst/>
                </a:pr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21" name="Line 752">
                  <a:extLst>
                    <a:ext uri="{FF2B5EF4-FFF2-40B4-BE49-F238E27FC236}">
                      <a16:creationId xmlns:a16="http://schemas.microsoft.com/office/drawing/2014/main" id="{D72C0BA7-7EDC-49B4-B80D-53E90DD39D5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126169" y="3514504"/>
                  <a:ext cx="0" cy="83661"/>
                </a:xfrm>
                <a:prstGeom prst="line">
                  <a:avLst/>
                </a:pr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22" name="Line 753">
                  <a:extLst>
                    <a:ext uri="{FF2B5EF4-FFF2-40B4-BE49-F238E27FC236}">
                      <a16:creationId xmlns:a16="http://schemas.microsoft.com/office/drawing/2014/main" id="{F7137EBC-0C38-4908-946C-08BDFCD7E27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68140" y="3514504"/>
                  <a:ext cx="0" cy="83661"/>
                </a:xfrm>
                <a:prstGeom prst="line">
                  <a:avLst/>
                </a:pr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23" name="Oval 754">
                  <a:extLst>
                    <a:ext uri="{FF2B5EF4-FFF2-40B4-BE49-F238E27FC236}">
                      <a16:creationId xmlns:a16="http://schemas.microsoft.com/office/drawing/2014/main" id="{4F2DED73-8E47-4D17-9C19-D923410E1ED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00816" y="3598165"/>
                  <a:ext cx="37183" cy="37183"/>
                </a:xfrm>
                <a:prstGeom prst="ellipse">
                  <a:avLst/>
                </a:prstGeom>
                <a:noFill/>
                <a:ln w="12700">
                  <a:solidFill>
                    <a:srgbClr val="40404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24" name="Oval 755">
                  <a:extLst>
                    <a:ext uri="{FF2B5EF4-FFF2-40B4-BE49-F238E27FC236}">
                      <a16:creationId xmlns:a16="http://schemas.microsoft.com/office/drawing/2014/main" id="{484B7ADD-1A6B-47AD-8D76-6B85E8FAF6C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49548" y="3598165"/>
                  <a:ext cx="37183" cy="37183"/>
                </a:xfrm>
                <a:prstGeom prst="ellipse">
                  <a:avLst/>
                </a:prstGeom>
                <a:noFill/>
                <a:ln w="12700">
                  <a:solidFill>
                    <a:srgbClr val="40404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25" name="Oval 756">
                  <a:extLst>
                    <a:ext uri="{FF2B5EF4-FFF2-40B4-BE49-F238E27FC236}">
                      <a16:creationId xmlns:a16="http://schemas.microsoft.com/office/drawing/2014/main" id="{51516D33-4ADB-46EF-8633-13FAF43633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7577" y="3598165"/>
                  <a:ext cx="37183" cy="37183"/>
                </a:xfrm>
                <a:prstGeom prst="ellipse">
                  <a:avLst/>
                </a:prstGeom>
                <a:noFill/>
                <a:ln w="12700">
                  <a:solidFill>
                    <a:srgbClr val="40404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</p:grpSp>
        </p:grpSp>
      </p:grpSp>
      <p:grpSp>
        <p:nvGrpSpPr>
          <p:cNvPr id="346" name="Группа 345"/>
          <p:cNvGrpSpPr/>
          <p:nvPr/>
        </p:nvGrpSpPr>
        <p:grpSpPr>
          <a:xfrm>
            <a:off x="516918" y="5394842"/>
            <a:ext cx="2772000" cy="980630"/>
            <a:chOff x="516918" y="5394842"/>
            <a:chExt cx="2772000" cy="980630"/>
          </a:xfrm>
        </p:grpSpPr>
        <p:sp>
          <p:nvSpPr>
            <p:cNvPr id="273" name="Скругленный прямоугольник 272"/>
            <p:cNvSpPr/>
            <p:nvPr/>
          </p:nvSpPr>
          <p:spPr>
            <a:xfrm>
              <a:off x="516918" y="5394842"/>
              <a:ext cx="2772000" cy="980630"/>
            </a:xfrm>
            <a:prstGeom prst="roundRect">
              <a:avLst>
                <a:gd name="adj" fmla="val 15768"/>
              </a:avLst>
            </a:prstGeom>
            <a:noFill/>
            <a:ln w="12700">
              <a:solidFill>
                <a:srgbClr val="D8294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sp>
          <p:nvSpPr>
            <p:cNvPr id="279" name="Прямоугольник 278"/>
            <p:cNvSpPr/>
            <p:nvPr/>
          </p:nvSpPr>
          <p:spPr>
            <a:xfrm>
              <a:off x="1472666" y="5561991"/>
              <a:ext cx="1632909" cy="6463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ru-RU" sz="14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  <a:t>Конкуренция</a:t>
              </a:r>
              <a:br>
                <a:rPr lang="ru-RU" sz="14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</a:br>
              <a:r>
                <a:rPr lang="ru-RU" sz="14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  <a:t>на рынке</a:t>
              </a:r>
              <a:br>
                <a:rPr lang="ru-RU" sz="14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</a:br>
              <a:r>
                <a:rPr lang="ru-RU" sz="14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  <a:t>нейл-индустрии</a:t>
              </a:r>
            </a:p>
          </p:txBody>
        </p:sp>
        <p:grpSp>
          <p:nvGrpSpPr>
            <p:cNvPr id="343" name="Группа 342"/>
            <p:cNvGrpSpPr/>
            <p:nvPr/>
          </p:nvGrpSpPr>
          <p:grpSpPr>
            <a:xfrm>
              <a:off x="590070" y="5512313"/>
              <a:ext cx="774369" cy="745689"/>
              <a:chOff x="590070" y="5512313"/>
              <a:chExt cx="774369" cy="745689"/>
            </a:xfrm>
          </p:grpSpPr>
          <p:sp>
            <p:nvSpPr>
              <p:cNvPr id="289" name="Скругленный прямоугольник 288"/>
              <p:cNvSpPr/>
              <p:nvPr/>
            </p:nvSpPr>
            <p:spPr>
              <a:xfrm>
                <a:off x="590070" y="5512313"/>
                <a:ext cx="774369" cy="745689"/>
              </a:xfrm>
              <a:prstGeom prst="roundRect">
                <a:avLst>
                  <a:gd name="adj" fmla="val 15768"/>
                </a:avLst>
              </a:prstGeom>
              <a:solidFill>
                <a:srgbClr val="F0F0F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>
                  <a:lnSpc>
                    <a:spcPts val="2100"/>
                  </a:lnSpc>
                </a:pPr>
                <a:endParaRPr lang="ru-RU" sz="1400" b="1" dirty="0">
                  <a:latin typeface="Montserrat" panose="00000500000000000000" pitchFamily="2" charset="-52"/>
                </a:endParaRPr>
              </a:p>
            </p:txBody>
          </p:sp>
          <p:grpSp>
            <p:nvGrpSpPr>
              <p:cNvPr id="332" name="Group 4312">
                <a:extLst>
                  <a:ext uri="{FF2B5EF4-FFF2-40B4-BE49-F238E27FC236}">
                    <a16:creationId xmlns:a16="http://schemas.microsoft.com/office/drawing/2014/main" id="{C1D9BFC4-B84B-48E7-9A71-8CD7CBA7F838}"/>
                  </a:ext>
                </a:extLst>
              </p:cNvPr>
              <p:cNvGrpSpPr/>
              <p:nvPr/>
            </p:nvGrpSpPr>
            <p:grpSpPr>
              <a:xfrm>
                <a:off x="702396" y="5666328"/>
                <a:ext cx="549717" cy="437659"/>
                <a:chOff x="4300538" y="5889625"/>
                <a:chExt cx="825501" cy="657225"/>
              </a:xfrm>
            </p:grpSpPr>
            <p:sp>
              <p:nvSpPr>
                <p:cNvPr id="333" name="Freeform 150">
                  <a:extLst>
                    <a:ext uri="{FF2B5EF4-FFF2-40B4-BE49-F238E27FC236}">
                      <a16:creationId xmlns:a16="http://schemas.microsoft.com/office/drawing/2014/main" id="{94F36FA0-D2E3-4239-9EBA-BCBE31D988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00538" y="5949950"/>
                  <a:ext cx="690563" cy="596900"/>
                </a:xfrm>
                <a:custGeom>
                  <a:avLst/>
                  <a:gdLst>
                    <a:gd name="T0" fmla="*/ 0 w 435"/>
                    <a:gd name="T1" fmla="*/ 255 h 376"/>
                    <a:gd name="T2" fmla="*/ 435 w 435"/>
                    <a:gd name="T3" fmla="*/ 376 h 376"/>
                    <a:gd name="T4" fmla="*/ 435 w 435"/>
                    <a:gd name="T5" fmla="*/ 225 h 376"/>
                    <a:gd name="T6" fmla="*/ 291 w 435"/>
                    <a:gd name="T7" fmla="*/ 188 h 376"/>
                    <a:gd name="T8" fmla="*/ 291 w 435"/>
                    <a:gd name="T9" fmla="*/ 32 h 376"/>
                    <a:gd name="T10" fmla="*/ 140 w 435"/>
                    <a:gd name="T11" fmla="*/ 0 h 376"/>
                    <a:gd name="T12" fmla="*/ 140 w 435"/>
                    <a:gd name="T13" fmla="*/ 109 h 376"/>
                    <a:gd name="T14" fmla="*/ 0 w 435"/>
                    <a:gd name="T15" fmla="*/ 76 h 376"/>
                    <a:gd name="T16" fmla="*/ 0 w 435"/>
                    <a:gd name="T17" fmla="*/ 255 h 3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35" h="376">
                      <a:moveTo>
                        <a:pt x="0" y="255"/>
                      </a:moveTo>
                      <a:lnTo>
                        <a:pt x="435" y="376"/>
                      </a:lnTo>
                      <a:lnTo>
                        <a:pt x="435" y="225"/>
                      </a:lnTo>
                      <a:lnTo>
                        <a:pt x="291" y="188"/>
                      </a:lnTo>
                      <a:lnTo>
                        <a:pt x="291" y="32"/>
                      </a:lnTo>
                      <a:lnTo>
                        <a:pt x="140" y="0"/>
                      </a:lnTo>
                      <a:lnTo>
                        <a:pt x="140" y="109"/>
                      </a:lnTo>
                      <a:lnTo>
                        <a:pt x="0" y="76"/>
                      </a:lnTo>
                      <a:lnTo>
                        <a:pt x="0" y="255"/>
                      </a:lnTo>
                      <a:close/>
                    </a:path>
                  </a:pathLst>
                </a:cu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34" name="Freeform 151">
                  <a:extLst>
                    <a:ext uri="{FF2B5EF4-FFF2-40B4-BE49-F238E27FC236}">
                      <a16:creationId xmlns:a16="http://schemas.microsoft.com/office/drawing/2014/main" id="{973023C4-95E9-4843-88B4-47AF7790ED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10101" y="6046788"/>
                  <a:ext cx="41275" cy="103188"/>
                </a:xfrm>
                <a:custGeom>
                  <a:avLst/>
                  <a:gdLst>
                    <a:gd name="T0" fmla="*/ 0 w 26"/>
                    <a:gd name="T1" fmla="*/ 13 h 65"/>
                    <a:gd name="T2" fmla="*/ 26 w 26"/>
                    <a:gd name="T3" fmla="*/ 0 h 65"/>
                    <a:gd name="T4" fmla="*/ 26 w 26"/>
                    <a:gd name="T5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6" h="65">
                      <a:moveTo>
                        <a:pt x="0" y="13"/>
                      </a:moveTo>
                      <a:lnTo>
                        <a:pt x="26" y="0"/>
                      </a:lnTo>
                      <a:lnTo>
                        <a:pt x="26" y="65"/>
                      </a:lnTo>
                    </a:path>
                  </a:pathLst>
                </a:cu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35" name="Freeform 152">
                  <a:extLst>
                    <a:ext uri="{FF2B5EF4-FFF2-40B4-BE49-F238E27FC236}">
                      <a16:creationId xmlns:a16="http://schemas.microsoft.com/office/drawing/2014/main" id="{9FE71DA7-1956-4D5E-AD32-E8D3100C19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84676" y="6157913"/>
                  <a:ext cx="55563" cy="120650"/>
                </a:xfrm>
                <a:custGeom>
                  <a:avLst/>
                  <a:gdLst>
                    <a:gd name="T0" fmla="*/ 35 w 35"/>
                    <a:gd name="T1" fmla="*/ 76 h 76"/>
                    <a:gd name="T2" fmla="*/ 0 w 35"/>
                    <a:gd name="T3" fmla="*/ 66 h 76"/>
                    <a:gd name="T4" fmla="*/ 0 w 35"/>
                    <a:gd name="T5" fmla="*/ 33 h 76"/>
                    <a:gd name="T6" fmla="*/ 35 w 35"/>
                    <a:gd name="T7" fmla="*/ 42 h 76"/>
                    <a:gd name="T8" fmla="*/ 35 w 35"/>
                    <a:gd name="T9" fmla="*/ 11 h 76"/>
                    <a:gd name="T10" fmla="*/ 0 w 35"/>
                    <a:gd name="T11" fmla="*/ 0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5" h="76">
                      <a:moveTo>
                        <a:pt x="35" y="76"/>
                      </a:moveTo>
                      <a:lnTo>
                        <a:pt x="0" y="66"/>
                      </a:lnTo>
                      <a:lnTo>
                        <a:pt x="0" y="33"/>
                      </a:lnTo>
                      <a:lnTo>
                        <a:pt x="35" y="42"/>
                      </a:lnTo>
                      <a:lnTo>
                        <a:pt x="35" y="1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36" name="Freeform 153">
                  <a:extLst>
                    <a:ext uri="{FF2B5EF4-FFF2-40B4-BE49-F238E27FC236}">
                      <a16:creationId xmlns:a16="http://schemas.microsoft.com/office/drawing/2014/main" id="{2156E221-3A0D-4D40-9D7F-2B849F8F64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27588" y="6330950"/>
                  <a:ext cx="55563" cy="119063"/>
                </a:xfrm>
                <a:custGeom>
                  <a:avLst/>
                  <a:gdLst>
                    <a:gd name="T0" fmla="*/ 0 w 35"/>
                    <a:gd name="T1" fmla="*/ 66 h 75"/>
                    <a:gd name="T2" fmla="*/ 35 w 35"/>
                    <a:gd name="T3" fmla="*/ 75 h 75"/>
                    <a:gd name="T4" fmla="*/ 35 w 35"/>
                    <a:gd name="T5" fmla="*/ 9 h 75"/>
                    <a:gd name="T6" fmla="*/ 0 w 35"/>
                    <a:gd name="T7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5" h="75">
                      <a:moveTo>
                        <a:pt x="0" y="66"/>
                      </a:moveTo>
                      <a:lnTo>
                        <a:pt x="35" y="75"/>
                      </a:lnTo>
                      <a:lnTo>
                        <a:pt x="35" y="9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37" name="Line 154">
                  <a:extLst>
                    <a:ext uri="{FF2B5EF4-FFF2-40B4-BE49-F238E27FC236}">
                      <a16:creationId xmlns:a16="http://schemas.microsoft.com/office/drawing/2014/main" id="{BEB6FABB-3270-427A-A5B8-93B64437F9C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4827588" y="6383338"/>
                  <a:ext cx="55563" cy="14288"/>
                </a:xfrm>
                <a:prstGeom prst="line">
                  <a:avLst/>
                </a:pr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38" name="Line 155">
                  <a:extLst>
                    <a:ext uri="{FF2B5EF4-FFF2-40B4-BE49-F238E27FC236}">
                      <a16:creationId xmlns:a16="http://schemas.microsoft.com/office/drawing/2014/main" id="{6E17753F-E624-4710-B030-7FA205B6C53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762501" y="6184900"/>
                  <a:ext cx="150813" cy="63500"/>
                </a:xfrm>
                <a:prstGeom prst="line">
                  <a:avLst/>
                </a:pr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39" name="Line 156">
                  <a:extLst>
                    <a:ext uri="{FF2B5EF4-FFF2-40B4-BE49-F238E27FC236}">
                      <a16:creationId xmlns:a16="http://schemas.microsoft.com/office/drawing/2014/main" id="{F1A3653C-A2D2-45CC-BA17-61A93857AED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762501" y="5935663"/>
                  <a:ext cx="150813" cy="65088"/>
                </a:xfrm>
                <a:prstGeom prst="line">
                  <a:avLst/>
                </a:pr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40" name="Line 157">
                  <a:extLst>
                    <a:ext uri="{FF2B5EF4-FFF2-40B4-BE49-F238E27FC236}">
                      <a16:creationId xmlns:a16="http://schemas.microsoft.com/office/drawing/2014/main" id="{862A6596-4BED-4F09-A352-5268691EA8E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300538" y="6015038"/>
                  <a:ext cx="160338" cy="55563"/>
                </a:xfrm>
                <a:prstGeom prst="line">
                  <a:avLst/>
                </a:pr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41" name="Line 158">
                  <a:extLst>
                    <a:ext uri="{FF2B5EF4-FFF2-40B4-BE49-F238E27FC236}">
                      <a16:creationId xmlns:a16="http://schemas.microsoft.com/office/drawing/2014/main" id="{1672D206-787D-43C7-AA76-DC04B878959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991101" y="6240463"/>
                  <a:ext cx="134938" cy="66675"/>
                </a:xfrm>
                <a:prstGeom prst="line">
                  <a:avLst/>
                </a:pr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342" name="Freeform 159">
                  <a:extLst>
                    <a:ext uri="{FF2B5EF4-FFF2-40B4-BE49-F238E27FC236}">
                      <a16:creationId xmlns:a16="http://schemas.microsoft.com/office/drawing/2014/main" id="{ADCF7E4C-1243-49CB-AFAC-270C60DBE3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22788" y="5889625"/>
                  <a:ext cx="603250" cy="654050"/>
                </a:xfrm>
                <a:custGeom>
                  <a:avLst/>
                  <a:gdLst>
                    <a:gd name="T0" fmla="*/ 295 w 380"/>
                    <a:gd name="T1" fmla="*/ 412 h 412"/>
                    <a:gd name="T2" fmla="*/ 380 w 380"/>
                    <a:gd name="T3" fmla="*/ 361 h 412"/>
                    <a:gd name="T4" fmla="*/ 380 w 380"/>
                    <a:gd name="T5" fmla="*/ 221 h 412"/>
                    <a:gd name="T6" fmla="*/ 246 w 380"/>
                    <a:gd name="T7" fmla="*/ 186 h 412"/>
                    <a:gd name="T8" fmla="*/ 246 w 380"/>
                    <a:gd name="T9" fmla="*/ 29 h 412"/>
                    <a:gd name="T10" fmla="*/ 103 w 380"/>
                    <a:gd name="T11" fmla="*/ 0 h 412"/>
                    <a:gd name="T12" fmla="*/ 0 w 380"/>
                    <a:gd name="T13" fmla="*/ 38 h 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80" h="412">
                      <a:moveTo>
                        <a:pt x="295" y="412"/>
                      </a:moveTo>
                      <a:lnTo>
                        <a:pt x="380" y="361"/>
                      </a:lnTo>
                      <a:lnTo>
                        <a:pt x="380" y="221"/>
                      </a:lnTo>
                      <a:lnTo>
                        <a:pt x="246" y="186"/>
                      </a:lnTo>
                      <a:lnTo>
                        <a:pt x="246" y="29"/>
                      </a:lnTo>
                      <a:lnTo>
                        <a:pt x="103" y="0"/>
                      </a:lnTo>
                      <a:lnTo>
                        <a:pt x="0" y="38"/>
                      </a:lnTo>
                    </a:path>
                  </a:pathLst>
                </a:custGeom>
                <a:noFill/>
                <a:ln w="12700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</p:grpSp>
        </p:grpSp>
      </p:grpSp>
      <p:pic>
        <p:nvPicPr>
          <p:cNvPr id="1662" name="Picture 8">
            <a:extLst>
              <a:ext uri="{FF2B5EF4-FFF2-40B4-BE49-F238E27FC236}">
                <a16:creationId xmlns:a16="http://schemas.microsoft.com/office/drawing/2014/main" id="{04750FD3-8777-4787-837F-6D711881FF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 l="10521" t="15962" r="77292" b="69215"/>
          <a:stretch>
            <a:fillRect/>
          </a:stretch>
        </p:blipFill>
        <p:spPr bwMode="auto">
          <a:xfrm>
            <a:off x="11200660" y="0"/>
            <a:ext cx="991340" cy="978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545371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5169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4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/>
          <p:cNvSpPr/>
          <p:nvPr/>
        </p:nvSpPr>
        <p:spPr>
          <a:xfrm>
            <a:off x="212720" y="6598515"/>
            <a:ext cx="244486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ru-RU" sz="1200" b="1" i="1" dirty="0">
                <a:solidFill>
                  <a:srgbClr val="4950D0"/>
                </a:solidFill>
                <a:latin typeface="Montserrat" panose="00000500000000000000" pitchFamily="2" charset="-52"/>
              </a:rPr>
              <a:t>3</a:t>
            </a:r>
            <a:r>
              <a:rPr lang="en-US" sz="1200" dirty="0">
                <a:solidFill>
                  <a:srgbClr val="4950D0"/>
                </a:solidFill>
                <a:latin typeface="Montserrat" panose="00000500000000000000" pitchFamily="2" charset="-52"/>
              </a:rPr>
              <a:t>/</a:t>
            </a:r>
            <a:r>
              <a:rPr lang="en-US" sz="800" dirty="0">
                <a:solidFill>
                  <a:srgbClr val="4950D0"/>
                </a:solidFill>
                <a:latin typeface="Montserrat" panose="00000500000000000000" pitchFamily="2" charset="-52"/>
              </a:rPr>
              <a:t>13</a:t>
            </a:r>
            <a:endParaRPr lang="ru-RU" sz="800" dirty="0">
              <a:solidFill>
                <a:srgbClr val="4950D0"/>
              </a:solidFill>
              <a:latin typeface="Montserrat" panose="00000500000000000000" pitchFamily="2" charset="-52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51657" y="720917"/>
            <a:ext cx="11505381" cy="10259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4000"/>
              </a:lnSpc>
            </a:pPr>
            <a:r>
              <a:rPr lang="ru-RU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В проекте использована </a:t>
            </a:r>
            <a:r>
              <a:rPr lang="ru-RU" sz="3200" b="1" dirty="0" err="1">
                <a:solidFill>
                  <a:srgbClr val="D8294C"/>
                </a:solidFill>
                <a:latin typeface="Montserrat" panose="00000500000000000000" pitchFamily="2" charset="-52"/>
              </a:rPr>
              <a:t>Agile</a:t>
            </a:r>
            <a:r>
              <a:rPr lang="ru-RU" sz="3200" b="1" dirty="0">
                <a:solidFill>
                  <a:srgbClr val="D8294C"/>
                </a:solidFill>
                <a:latin typeface="Montserrat" panose="00000500000000000000" pitchFamily="2" charset="-52"/>
              </a:rPr>
              <a:t>-методология</a:t>
            </a:r>
            <a:r>
              <a:rPr lang="ru-RU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 — быстрое реагирование на изменение рынка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334963" y="1979272"/>
            <a:ext cx="8524557" cy="4545353"/>
          </a:xfrm>
          <a:prstGeom prst="roundRect">
            <a:avLst>
              <a:gd name="adj" fmla="val 591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9" name="Группа 38"/>
          <p:cNvGrpSpPr/>
          <p:nvPr/>
        </p:nvGrpSpPr>
        <p:grpSpPr>
          <a:xfrm>
            <a:off x="516918" y="2075962"/>
            <a:ext cx="8028000" cy="301008"/>
            <a:chOff x="516918" y="2075962"/>
            <a:chExt cx="8028000" cy="301008"/>
          </a:xfrm>
        </p:grpSpPr>
        <p:sp>
          <p:nvSpPr>
            <p:cNvPr id="44" name="Прямоугольник 43"/>
            <p:cNvSpPr/>
            <p:nvPr/>
          </p:nvSpPr>
          <p:spPr>
            <a:xfrm>
              <a:off x="516918" y="2075962"/>
              <a:ext cx="7249695" cy="24622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ru-RU" sz="1600" dirty="0">
                  <a:solidFill>
                    <a:srgbClr val="777777"/>
                  </a:solidFill>
                  <a:latin typeface="Montserrat Medium" panose="00000600000000000000" pitchFamily="2" charset="-52"/>
                </a:rPr>
                <a:t>Преимущества </a:t>
              </a:r>
              <a:r>
                <a:rPr lang="ru-RU" sz="1600" dirty="0" err="1">
                  <a:solidFill>
                    <a:srgbClr val="777777"/>
                  </a:solidFill>
                  <a:latin typeface="Montserrat Medium" panose="00000600000000000000" pitchFamily="2" charset="-52"/>
                </a:rPr>
                <a:t>Agile</a:t>
              </a:r>
              <a:r>
                <a:rPr lang="ru-RU" sz="1600" dirty="0">
                  <a:solidFill>
                    <a:srgbClr val="777777"/>
                  </a:solidFill>
                  <a:latin typeface="Montserrat Medium" panose="00000600000000000000" pitchFamily="2" charset="-52"/>
                </a:rPr>
                <a:t>-методологии в разработке </a:t>
              </a:r>
              <a:r>
                <a:rPr lang="ru-RU" sz="1600" dirty="0" err="1">
                  <a:solidFill>
                    <a:srgbClr val="777777"/>
                  </a:solidFill>
                  <a:latin typeface="Montserrat Medium" panose="00000600000000000000" pitchFamily="2" charset="-52"/>
                </a:rPr>
                <a:t>стартап</a:t>
              </a:r>
              <a:r>
                <a:rPr lang="ru-RU" sz="1600" dirty="0">
                  <a:solidFill>
                    <a:srgbClr val="777777"/>
                  </a:solidFill>
                  <a:latin typeface="Montserrat Medium" panose="00000600000000000000" pitchFamily="2" charset="-52"/>
                </a:rPr>
                <a:t>-проектов</a:t>
              </a:r>
            </a:p>
          </p:txBody>
        </p:sp>
        <p:cxnSp>
          <p:nvCxnSpPr>
            <p:cNvPr id="5" name="Прямая соединительная линия 4"/>
            <p:cNvCxnSpPr/>
            <p:nvPr/>
          </p:nvCxnSpPr>
          <p:spPr>
            <a:xfrm>
              <a:off x="516918" y="2376970"/>
              <a:ext cx="8028000" cy="0"/>
            </a:xfrm>
            <a:prstGeom prst="line">
              <a:avLst/>
            </a:prstGeom>
            <a:ln w="12700" cap="rnd">
              <a:solidFill>
                <a:srgbClr val="969696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5" name="Группа 124"/>
          <p:cNvGrpSpPr/>
          <p:nvPr/>
        </p:nvGrpSpPr>
        <p:grpSpPr>
          <a:xfrm>
            <a:off x="70413" y="56746"/>
            <a:ext cx="11655531" cy="422119"/>
            <a:chOff x="70413" y="56746"/>
            <a:chExt cx="11655531" cy="422119"/>
          </a:xfrm>
        </p:grpSpPr>
        <p:sp>
          <p:nvSpPr>
            <p:cNvPr id="126" name="Скругленный прямоугольник 125"/>
            <p:cNvSpPr/>
            <p:nvPr/>
          </p:nvSpPr>
          <p:spPr>
            <a:xfrm>
              <a:off x="70413" y="56746"/>
              <a:ext cx="11655531" cy="422119"/>
            </a:xfrm>
            <a:prstGeom prst="roundRect">
              <a:avLst>
                <a:gd name="adj" fmla="val 17873"/>
              </a:avLst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7" name="Скругленный прямоугольник 126"/>
            <p:cNvSpPr/>
            <p:nvPr/>
          </p:nvSpPr>
          <p:spPr>
            <a:xfrm>
              <a:off x="108899" y="103316"/>
              <a:ext cx="710251" cy="328978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Введение</a:t>
              </a:r>
            </a:p>
          </p:txBody>
        </p:sp>
        <p:sp>
          <p:nvSpPr>
            <p:cNvPr id="128" name="Скругленный прямоугольник 127"/>
            <p:cNvSpPr/>
            <p:nvPr/>
          </p:nvSpPr>
          <p:spPr>
            <a:xfrm>
              <a:off x="938864" y="103317"/>
              <a:ext cx="949961" cy="328977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tx1"/>
                  </a:solidFill>
                  <a:latin typeface="Montserrat ExtraBold" panose="00000900000000000000" pitchFamily="2" charset="-52"/>
                </a:rPr>
                <a:t>Методология разработки</a:t>
              </a:r>
            </a:p>
          </p:txBody>
        </p:sp>
        <p:sp>
          <p:nvSpPr>
            <p:cNvPr id="129" name="Скругленный прямоугольник 128"/>
            <p:cNvSpPr/>
            <p:nvPr/>
          </p:nvSpPr>
          <p:spPr>
            <a:xfrm>
              <a:off x="2008539" y="103317"/>
              <a:ext cx="190318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Бизнес-модель и бизнес-план </a:t>
              </a:r>
              <a:r>
                <a:rPr lang="ru-RU" sz="800" dirty="0" err="1">
                  <a:solidFill>
                    <a:schemeClr val="bg1"/>
                  </a:solidFill>
                  <a:latin typeface="Montserrat Light" panose="00000400000000000000" pitchFamily="2" charset="-52"/>
                </a:rPr>
                <a:t>стартап</a:t>
              </a:r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-проекта</a:t>
              </a:r>
            </a:p>
          </p:txBody>
        </p:sp>
        <p:sp>
          <p:nvSpPr>
            <p:cNvPr id="130" name="Скругленный прямоугольник 129"/>
            <p:cNvSpPr/>
            <p:nvPr/>
          </p:nvSpPr>
          <p:spPr>
            <a:xfrm>
              <a:off x="4031433" y="103317"/>
              <a:ext cx="171625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Маркетинговый анализ, стратегия и сбыт продукта</a:t>
              </a:r>
            </a:p>
          </p:txBody>
        </p:sp>
        <p:sp>
          <p:nvSpPr>
            <p:cNvPr id="131" name="Скругленный прямоугольник 130"/>
            <p:cNvSpPr/>
            <p:nvPr/>
          </p:nvSpPr>
          <p:spPr>
            <a:xfrm>
              <a:off x="5867397" y="103317"/>
              <a:ext cx="1290695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Производственный план</a:t>
              </a:r>
            </a:p>
          </p:txBody>
        </p:sp>
        <p:sp>
          <p:nvSpPr>
            <p:cNvPr id="132" name="Скругленный прямоугольник 131"/>
            <p:cNvSpPr/>
            <p:nvPr/>
          </p:nvSpPr>
          <p:spPr>
            <a:xfrm>
              <a:off x="7277806" y="103317"/>
              <a:ext cx="1177370" cy="328976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Организационный план</a:t>
              </a:r>
            </a:p>
          </p:txBody>
        </p:sp>
        <p:sp>
          <p:nvSpPr>
            <p:cNvPr id="133" name="Скругленный прямоугольник 132"/>
            <p:cNvSpPr/>
            <p:nvPr/>
          </p:nvSpPr>
          <p:spPr>
            <a:xfrm>
              <a:off x="8574890" y="103317"/>
              <a:ext cx="871316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Финансовый план</a:t>
              </a:r>
            </a:p>
          </p:txBody>
        </p:sp>
        <p:sp>
          <p:nvSpPr>
            <p:cNvPr id="134" name="Скругленный прямоугольник 133"/>
            <p:cNvSpPr/>
            <p:nvPr/>
          </p:nvSpPr>
          <p:spPr>
            <a:xfrm>
              <a:off x="9565920" y="103317"/>
              <a:ext cx="73861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Риски</a:t>
              </a:r>
              <a:b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</a:br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и гарантии</a:t>
              </a:r>
            </a:p>
          </p:txBody>
        </p:sp>
        <p:sp>
          <p:nvSpPr>
            <p:cNvPr id="135" name="Скругленный прямоугольник 134"/>
            <p:cNvSpPr/>
            <p:nvPr/>
          </p:nvSpPr>
          <p:spPr>
            <a:xfrm>
              <a:off x="10424241" y="103317"/>
              <a:ext cx="802559" cy="328976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Заключение</a:t>
              </a:r>
            </a:p>
          </p:txBody>
        </p:sp>
        <p:grpSp>
          <p:nvGrpSpPr>
            <p:cNvPr id="136" name="Группа 135"/>
            <p:cNvGrpSpPr/>
            <p:nvPr/>
          </p:nvGrpSpPr>
          <p:grpSpPr>
            <a:xfrm>
              <a:off x="879007" y="109521"/>
              <a:ext cx="9485380" cy="316568"/>
              <a:chOff x="879007" y="69805"/>
              <a:chExt cx="9485380" cy="396000"/>
            </a:xfrm>
          </p:grpSpPr>
          <p:cxnSp>
            <p:nvCxnSpPr>
              <p:cNvPr id="137" name="Прямая соединительная линия 136"/>
              <p:cNvCxnSpPr/>
              <p:nvPr/>
            </p:nvCxnSpPr>
            <p:spPr>
              <a:xfrm>
                <a:off x="87900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Прямая соединительная линия 137"/>
              <p:cNvCxnSpPr/>
              <p:nvPr/>
            </p:nvCxnSpPr>
            <p:spPr>
              <a:xfrm>
                <a:off x="1948682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Прямая соединительная линия 138"/>
              <p:cNvCxnSpPr/>
              <p:nvPr/>
            </p:nvCxnSpPr>
            <p:spPr>
              <a:xfrm>
                <a:off x="3971576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Прямая соединительная линия 139"/>
              <p:cNvCxnSpPr/>
              <p:nvPr/>
            </p:nvCxnSpPr>
            <p:spPr>
              <a:xfrm>
                <a:off x="5807540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Прямая соединительная линия 140"/>
              <p:cNvCxnSpPr/>
              <p:nvPr/>
            </p:nvCxnSpPr>
            <p:spPr>
              <a:xfrm>
                <a:off x="7217949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Прямая соединительная линия 141"/>
              <p:cNvCxnSpPr/>
              <p:nvPr/>
            </p:nvCxnSpPr>
            <p:spPr>
              <a:xfrm>
                <a:off x="851503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Прямая соединительная линия 142"/>
              <p:cNvCxnSpPr/>
              <p:nvPr/>
            </p:nvCxnSpPr>
            <p:spPr>
              <a:xfrm>
                <a:off x="950606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Прямая соединительная линия 143"/>
              <p:cNvCxnSpPr/>
              <p:nvPr/>
            </p:nvCxnSpPr>
            <p:spPr>
              <a:xfrm>
                <a:off x="1036438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98" name="Прямоугольник 97"/>
          <p:cNvSpPr/>
          <p:nvPr/>
        </p:nvSpPr>
        <p:spPr>
          <a:xfrm>
            <a:off x="513801" y="4251948"/>
            <a:ext cx="1549696" cy="20364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171450" indent="-171450">
              <a:spcAft>
                <a:spcPts val="9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Принятие архитектурных решений</a:t>
            </a:r>
          </a:p>
          <a:p>
            <a:pPr marL="171450" indent="-171450">
              <a:spcAft>
                <a:spcPts val="9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Выбор</a:t>
            </a:r>
            <a:b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технологий</a:t>
            </a:r>
          </a:p>
          <a:p>
            <a:pPr marL="171450" indent="-171450">
              <a:spcAft>
                <a:spcPts val="9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Выбор способа решения задач</a:t>
            </a:r>
          </a:p>
          <a:p>
            <a:pPr marL="171450" indent="-171450">
              <a:spcAft>
                <a:spcPts val="9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Свобода</a:t>
            </a:r>
            <a:br>
              <a:rPr lang="en-US" sz="9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применения практик</a:t>
            </a:r>
          </a:p>
          <a:p>
            <a:pPr marL="171450" indent="-171450">
              <a:spcAft>
                <a:spcPts val="9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Отсутствие </a:t>
            </a:r>
            <a:r>
              <a:rPr lang="ru-RU" sz="900" dirty="0" err="1">
                <a:solidFill>
                  <a:srgbClr val="404040"/>
                </a:solidFill>
                <a:latin typeface="Montserrat" panose="00000500000000000000" pitchFamily="2" charset="-52"/>
              </a:rPr>
              <a:t>микроменеджмента</a:t>
            </a:r>
            <a:endParaRPr lang="en-US" sz="900" dirty="0">
              <a:solidFill>
                <a:srgbClr val="404040"/>
              </a:solidFill>
              <a:latin typeface="Montserrat" panose="00000500000000000000" pitchFamily="2" charset="-52"/>
            </a:endParaRPr>
          </a:p>
        </p:txBody>
      </p:sp>
      <p:sp>
        <p:nvSpPr>
          <p:cNvPr id="99" name="Прямоугольник 98"/>
          <p:cNvSpPr/>
          <p:nvPr/>
        </p:nvSpPr>
        <p:spPr>
          <a:xfrm>
            <a:off x="513800" y="4017893"/>
            <a:ext cx="1041952" cy="1692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Для команды</a:t>
            </a:r>
          </a:p>
        </p:txBody>
      </p:sp>
      <p:grpSp>
        <p:nvGrpSpPr>
          <p:cNvPr id="15" name="Группа 14"/>
          <p:cNvGrpSpPr/>
          <p:nvPr/>
        </p:nvGrpSpPr>
        <p:grpSpPr>
          <a:xfrm>
            <a:off x="513800" y="2576860"/>
            <a:ext cx="1339177" cy="1339177"/>
            <a:chOff x="513800" y="2576860"/>
            <a:chExt cx="1339177" cy="1339177"/>
          </a:xfrm>
        </p:grpSpPr>
        <p:grpSp>
          <p:nvGrpSpPr>
            <p:cNvPr id="3" name="Группа 2"/>
            <p:cNvGrpSpPr/>
            <p:nvPr/>
          </p:nvGrpSpPr>
          <p:grpSpPr>
            <a:xfrm>
              <a:off x="513800" y="2576860"/>
              <a:ext cx="1339177" cy="1339177"/>
              <a:chOff x="513800" y="2576860"/>
              <a:chExt cx="1396158" cy="1396158"/>
            </a:xfrm>
          </p:grpSpPr>
          <p:sp>
            <p:nvSpPr>
              <p:cNvPr id="196" name="Скругленный прямоугольник 195"/>
              <p:cNvSpPr/>
              <p:nvPr/>
            </p:nvSpPr>
            <p:spPr>
              <a:xfrm>
                <a:off x="513800" y="2576860"/>
                <a:ext cx="1396158" cy="1396158"/>
              </a:xfrm>
              <a:prstGeom prst="roundRect">
                <a:avLst>
                  <a:gd name="adj" fmla="val 15768"/>
                </a:avLst>
              </a:prstGeom>
              <a:noFill/>
              <a:ln w="12700">
                <a:solidFill>
                  <a:srgbClr val="96969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>
                  <a:lnSpc>
                    <a:spcPts val="2100"/>
                  </a:lnSpc>
                </a:pPr>
                <a:endParaRPr lang="ru-RU" sz="1400" b="1" dirty="0">
                  <a:latin typeface="Montserrat" panose="00000500000000000000" pitchFamily="2" charset="-52"/>
                </a:endParaRPr>
              </a:p>
            </p:txBody>
          </p:sp>
          <p:sp>
            <p:nvSpPr>
              <p:cNvPr id="199" name="Скругленный прямоугольник 198"/>
              <p:cNvSpPr/>
              <p:nvPr/>
            </p:nvSpPr>
            <p:spPr>
              <a:xfrm>
                <a:off x="563879" y="2626939"/>
                <a:ext cx="1296000" cy="1296000"/>
              </a:xfrm>
              <a:prstGeom prst="roundRect">
                <a:avLst>
                  <a:gd name="adj" fmla="val 15768"/>
                </a:avLst>
              </a:prstGeom>
              <a:solidFill>
                <a:srgbClr val="D8294C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>
                  <a:lnSpc>
                    <a:spcPts val="2100"/>
                  </a:lnSpc>
                </a:pPr>
                <a:endParaRPr lang="ru-RU" sz="1400" b="1" dirty="0">
                  <a:latin typeface="Montserrat" panose="00000500000000000000" pitchFamily="2" charset="-52"/>
                </a:endParaRPr>
              </a:p>
            </p:txBody>
          </p:sp>
        </p:grpSp>
        <p:sp>
          <p:nvSpPr>
            <p:cNvPr id="95" name="Прямоугольник 94"/>
            <p:cNvSpPr/>
            <p:nvPr/>
          </p:nvSpPr>
          <p:spPr>
            <a:xfrm>
              <a:off x="729671" y="2969449"/>
              <a:ext cx="907434" cy="55399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Свобода принятия решений</a:t>
              </a:r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2186785" y="2576860"/>
            <a:ext cx="1339177" cy="1339177"/>
            <a:chOff x="1992209" y="2576860"/>
            <a:chExt cx="1339177" cy="1339177"/>
          </a:xfrm>
        </p:grpSpPr>
        <p:grpSp>
          <p:nvGrpSpPr>
            <p:cNvPr id="351" name="Группа 350"/>
            <p:cNvGrpSpPr/>
            <p:nvPr/>
          </p:nvGrpSpPr>
          <p:grpSpPr>
            <a:xfrm>
              <a:off x="1992209" y="2576860"/>
              <a:ext cx="1339177" cy="1339177"/>
              <a:chOff x="513800" y="2576860"/>
              <a:chExt cx="1396158" cy="1396158"/>
            </a:xfrm>
          </p:grpSpPr>
          <p:sp>
            <p:nvSpPr>
              <p:cNvPr id="352" name="Скругленный прямоугольник 351"/>
              <p:cNvSpPr/>
              <p:nvPr/>
            </p:nvSpPr>
            <p:spPr>
              <a:xfrm>
                <a:off x="513800" y="2576860"/>
                <a:ext cx="1396158" cy="1396158"/>
              </a:xfrm>
              <a:prstGeom prst="roundRect">
                <a:avLst>
                  <a:gd name="adj" fmla="val 15768"/>
                </a:avLst>
              </a:prstGeom>
              <a:noFill/>
              <a:ln w="12700">
                <a:solidFill>
                  <a:srgbClr val="96969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>
                  <a:lnSpc>
                    <a:spcPts val="2100"/>
                  </a:lnSpc>
                </a:pPr>
                <a:endParaRPr lang="ru-RU" sz="1400" b="1" dirty="0">
                  <a:latin typeface="Montserrat" panose="00000500000000000000" pitchFamily="2" charset="-52"/>
                </a:endParaRPr>
              </a:p>
            </p:txBody>
          </p:sp>
          <p:sp>
            <p:nvSpPr>
              <p:cNvPr id="353" name="Скругленный прямоугольник 352"/>
              <p:cNvSpPr/>
              <p:nvPr/>
            </p:nvSpPr>
            <p:spPr>
              <a:xfrm>
                <a:off x="563879" y="2626939"/>
                <a:ext cx="1296000" cy="1296000"/>
              </a:xfrm>
              <a:prstGeom prst="roundRect">
                <a:avLst>
                  <a:gd name="adj" fmla="val 15768"/>
                </a:avLst>
              </a:prstGeom>
              <a:solidFill>
                <a:srgbClr val="D8294C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>
                  <a:lnSpc>
                    <a:spcPts val="2100"/>
                  </a:lnSpc>
                </a:pPr>
                <a:endParaRPr lang="ru-RU" sz="1400" b="1" dirty="0">
                  <a:latin typeface="Montserrat" panose="00000500000000000000" pitchFamily="2" charset="-52"/>
                </a:endParaRPr>
              </a:p>
            </p:txBody>
          </p:sp>
        </p:grpSp>
        <p:sp>
          <p:nvSpPr>
            <p:cNvPr id="363" name="Прямоугольник 362"/>
            <p:cNvSpPr/>
            <p:nvPr/>
          </p:nvSpPr>
          <p:spPr>
            <a:xfrm>
              <a:off x="2146564" y="2877116"/>
              <a:ext cx="1030466" cy="73866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Интересная работа</a:t>
              </a:r>
              <a:br>
                <a:rPr lang="ru-RU" sz="12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</a:br>
              <a:r>
                <a:rPr lang="ru-RU" sz="12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и развитие навыков</a:t>
              </a: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3859770" y="2576860"/>
            <a:ext cx="1339177" cy="1339177"/>
            <a:chOff x="3470618" y="2576860"/>
            <a:chExt cx="1339177" cy="1339177"/>
          </a:xfrm>
        </p:grpSpPr>
        <p:grpSp>
          <p:nvGrpSpPr>
            <p:cNvPr id="354" name="Группа 353"/>
            <p:cNvGrpSpPr/>
            <p:nvPr/>
          </p:nvGrpSpPr>
          <p:grpSpPr>
            <a:xfrm>
              <a:off x="3470618" y="2576860"/>
              <a:ext cx="1339177" cy="1339177"/>
              <a:chOff x="513800" y="2576860"/>
              <a:chExt cx="1396158" cy="1396158"/>
            </a:xfrm>
          </p:grpSpPr>
          <p:sp>
            <p:nvSpPr>
              <p:cNvPr id="355" name="Скругленный прямоугольник 354"/>
              <p:cNvSpPr/>
              <p:nvPr/>
            </p:nvSpPr>
            <p:spPr>
              <a:xfrm>
                <a:off x="513800" y="2576860"/>
                <a:ext cx="1396158" cy="1396158"/>
              </a:xfrm>
              <a:prstGeom prst="roundRect">
                <a:avLst>
                  <a:gd name="adj" fmla="val 15768"/>
                </a:avLst>
              </a:prstGeom>
              <a:noFill/>
              <a:ln w="12700">
                <a:solidFill>
                  <a:srgbClr val="96969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>
                  <a:lnSpc>
                    <a:spcPts val="2100"/>
                  </a:lnSpc>
                </a:pPr>
                <a:endParaRPr lang="ru-RU" sz="1400" b="1" dirty="0">
                  <a:latin typeface="Montserrat" panose="00000500000000000000" pitchFamily="2" charset="-52"/>
                </a:endParaRPr>
              </a:p>
            </p:txBody>
          </p:sp>
          <p:sp>
            <p:nvSpPr>
              <p:cNvPr id="356" name="Скругленный прямоугольник 355"/>
              <p:cNvSpPr/>
              <p:nvPr/>
            </p:nvSpPr>
            <p:spPr>
              <a:xfrm>
                <a:off x="563879" y="2626939"/>
                <a:ext cx="1296000" cy="1296000"/>
              </a:xfrm>
              <a:prstGeom prst="roundRect">
                <a:avLst>
                  <a:gd name="adj" fmla="val 15768"/>
                </a:avLst>
              </a:prstGeom>
              <a:solidFill>
                <a:srgbClr val="D8294C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>
                  <a:lnSpc>
                    <a:spcPts val="2100"/>
                  </a:lnSpc>
                </a:pPr>
                <a:endParaRPr lang="ru-RU" sz="1400" b="1" dirty="0">
                  <a:latin typeface="Montserrat" panose="00000500000000000000" pitchFamily="2" charset="-52"/>
                </a:endParaRPr>
              </a:p>
            </p:txBody>
          </p:sp>
        </p:grpSp>
        <p:sp>
          <p:nvSpPr>
            <p:cNvPr id="364" name="Прямоугольник 363"/>
            <p:cNvSpPr/>
            <p:nvPr/>
          </p:nvSpPr>
          <p:spPr>
            <a:xfrm>
              <a:off x="3548575" y="2969449"/>
              <a:ext cx="1183263" cy="55399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Быстрая реакция</a:t>
              </a:r>
              <a:br>
                <a:rPr lang="ru-RU" sz="12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</a:br>
              <a:r>
                <a:rPr lang="ru-RU" sz="12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на изменения</a:t>
              </a: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5532755" y="2576860"/>
            <a:ext cx="1339177" cy="1339177"/>
            <a:chOff x="4949027" y="2576860"/>
            <a:chExt cx="1339177" cy="1339177"/>
          </a:xfrm>
        </p:grpSpPr>
        <p:grpSp>
          <p:nvGrpSpPr>
            <p:cNvPr id="357" name="Группа 356"/>
            <p:cNvGrpSpPr/>
            <p:nvPr/>
          </p:nvGrpSpPr>
          <p:grpSpPr>
            <a:xfrm>
              <a:off x="4949027" y="2576860"/>
              <a:ext cx="1339177" cy="1339177"/>
              <a:chOff x="513800" y="2576860"/>
              <a:chExt cx="1396158" cy="1396158"/>
            </a:xfrm>
          </p:grpSpPr>
          <p:sp>
            <p:nvSpPr>
              <p:cNvPr id="358" name="Скругленный прямоугольник 357"/>
              <p:cNvSpPr/>
              <p:nvPr/>
            </p:nvSpPr>
            <p:spPr>
              <a:xfrm>
                <a:off x="513800" y="2576860"/>
                <a:ext cx="1396158" cy="1396158"/>
              </a:xfrm>
              <a:prstGeom prst="roundRect">
                <a:avLst>
                  <a:gd name="adj" fmla="val 15768"/>
                </a:avLst>
              </a:prstGeom>
              <a:noFill/>
              <a:ln w="12700">
                <a:solidFill>
                  <a:srgbClr val="96969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>
                  <a:lnSpc>
                    <a:spcPts val="2100"/>
                  </a:lnSpc>
                </a:pPr>
                <a:endParaRPr lang="ru-RU" sz="1400" b="1" dirty="0">
                  <a:latin typeface="Montserrat" panose="00000500000000000000" pitchFamily="2" charset="-52"/>
                </a:endParaRPr>
              </a:p>
            </p:txBody>
          </p:sp>
          <p:sp>
            <p:nvSpPr>
              <p:cNvPr id="359" name="Скругленный прямоугольник 358"/>
              <p:cNvSpPr/>
              <p:nvPr/>
            </p:nvSpPr>
            <p:spPr>
              <a:xfrm>
                <a:off x="563879" y="2626939"/>
                <a:ext cx="1296000" cy="1296000"/>
              </a:xfrm>
              <a:prstGeom prst="roundRect">
                <a:avLst>
                  <a:gd name="adj" fmla="val 15768"/>
                </a:avLst>
              </a:prstGeom>
              <a:solidFill>
                <a:srgbClr val="D8294C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>
                  <a:lnSpc>
                    <a:spcPts val="2100"/>
                  </a:lnSpc>
                </a:pPr>
                <a:endParaRPr lang="ru-RU" sz="1400" b="1" dirty="0">
                  <a:latin typeface="Montserrat" panose="00000500000000000000" pitchFamily="2" charset="-52"/>
                </a:endParaRPr>
              </a:p>
            </p:txBody>
          </p:sp>
        </p:grpSp>
        <p:sp>
          <p:nvSpPr>
            <p:cNvPr id="368" name="Прямоугольник 367"/>
            <p:cNvSpPr/>
            <p:nvPr/>
          </p:nvSpPr>
          <p:spPr>
            <a:xfrm>
              <a:off x="5026984" y="3154115"/>
              <a:ext cx="1183263" cy="18466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Клиенты</a:t>
              </a: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7205741" y="2576860"/>
            <a:ext cx="1339177" cy="1339177"/>
            <a:chOff x="6427436" y="2576860"/>
            <a:chExt cx="1339177" cy="1339177"/>
          </a:xfrm>
        </p:grpSpPr>
        <p:grpSp>
          <p:nvGrpSpPr>
            <p:cNvPr id="360" name="Группа 359"/>
            <p:cNvGrpSpPr/>
            <p:nvPr/>
          </p:nvGrpSpPr>
          <p:grpSpPr>
            <a:xfrm>
              <a:off x="6427436" y="2576860"/>
              <a:ext cx="1339177" cy="1339177"/>
              <a:chOff x="513800" y="2576860"/>
              <a:chExt cx="1396158" cy="1396158"/>
            </a:xfrm>
          </p:grpSpPr>
          <p:sp>
            <p:nvSpPr>
              <p:cNvPr id="361" name="Скругленный прямоугольник 360"/>
              <p:cNvSpPr/>
              <p:nvPr/>
            </p:nvSpPr>
            <p:spPr>
              <a:xfrm>
                <a:off x="513800" y="2576860"/>
                <a:ext cx="1396158" cy="1396158"/>
              </a:xfrm>
              <a:prstGeom prst="roundRect">
                <a:avLst>
                  <a:gd name="adj" fmla="val 15768"/>
                </a:avLst>
              </a:prstGeom>
              <a:noFill/>
              <a:ln w="12700">
                <a:solidFill>
                  <a:srgbClr val="96969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>
                  <a:lnSpc>
                    <a:spcPts val="2100"/>
                  </a:lnSpc>
                </a:pPr>
                <a:endParaRPr lang="ru-RU" sz="1400" b="1" dirty="0">
                  <a:latin typeface="Montserrat" panose="00000500000000000000" pitchFamily="2" charset="-52"/>
                </a:endParaRPr>
              </a:p>
            </p:txBody>
          </p:sp>
          <p:sp>
            <p:nvSpPr>
              <p:cNvPr id="362" name="Скругленный прямоугольник 361"/>
              <p:cNvSpPr/>
              <p:nvPr/>
            </p:nvSpPr>
            <p:spPr>
              <a:xfrm>
                <a:off x="563879" y="2626939"/>
                <a:ext cx="1296000" cy="1296000"/>
              </a:xfrm>
              <a:prstGeom prst="roundRect">
                <a:avLst>
                  <a:gd name="adj" fmla="val 15768"/>
                </a:avLst>
              </a:prstGeom>
              <a:solidFill>
                <a:srgbClr val="D8294C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>
                  <a:lnSpc>
                    <a:spcPts val="2100"/>
                  </a:lnSpc>
                </a:pPr>
                <a:endParaRPr lang="ru-RU" sz="1400" b="1" dirty="0">
                  <a:latin typeface="Montserrat" panose="00000500000000000000" pitchFamily="2" charset="-52"/>
                </a:endParaRPr>
              </a:p>
            </p:txBody>
          </p:sp>
        </p:grpSp>
        <p:sp>
          <p:nvSpPr>
            <p:cNvPr id="369" name="Прямоугольник 368"/>
            <p:cNvSpPr/>
            <p:nvPr/>
          </p:nvSpPr>
          <p:spPr>
            <a:xfrm>
              <a:off x="6505393" y="3154115"/>
              <a:ext cx="1183263" cy="18466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Профит</a:t>
              </a:r>
            </a:p>
          </p:txBody>
        </p:sp>
      </p:grpSp>
      <p:cxnSp>
        <p:nvCxnSpPr>
          <p:cNvPr id="9" name="Прямая со стрелкой 8"/>
          <p:cNvCxnSpPr/>
          <p:nvPr/>
        </p:nvCxnSpPr>
        <p:spPr>
          <a:xfrm>
            <a:off x="1749881" y="3246448"/>
            <a:ext cx="540000" cy="0"/>
          </a:xfrm>
          <a:prstGeom prst="straightConnector1">
            <a:avLst/>
          </a:prstGeom>
          <a:ln w="38100">
            <a:solidFill>
              <a:srgbClr val="969696"/>
            </a:solidFill>
            <a:headEnd type="oval" w="sm" len="sm"/>
            <a:tailEnd type="triangle"/>
          </a:ln>
          <a:effectLst>
            <a:glow rad="127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Прямая со стрелкой 369"/>
          <p:cNvCxnSpPr/>
          <p:nvPr/>
        </p:nvCxnSpPr>
        <p:spPr>
          <a:xfrm>
            <a:off x="3422866" y="3246448"/>
            <a:ext cx="540000" cy="0"/>
          </a:xfrm>
          <a:prstGeom prst="straightConnector1">
            <a:avLst/>
          </a:prstGeom>
          <a:ln w="38100">
            <a:solidFill>
              <a:srgbClr val="969696"/>
            </a:solidFill>
            <a:headEnd type="oval" w="sm" len="sm"/>
            <a:tailEnd type="triangle"/>
          </a:ln>
          <a:effectLst>
            <a:glow rad="127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" name="Прямая со стрелкой 370"/>
          <p:cNvCxnSpPr/>
          <p:nvPr/>
        </p:nvCxnSpPr>
        <p:spPr>
          <a:xfrm>
            <a:off x="5095851" y="3246448"/>
            <a:ext cx="540000" cy="0"/>
          </a:xfrm>
          <a:prstGeom prst="straightConnector1">
            <a:avLst/>
          </a:prstGeom>
          <a:ln w="38100">
            <a:solidFill>
              <a:srgbClr val="969696"/>
            </a:solidFill>
            <a:headEnd type="oval" w="sm" len="sm"/>
            <a:tailEnd type="triangle"/>
          </a:ln>
          <a:effectLst>
            <a:glow rad="127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Прямая со стрелкой 371"/>
          <p:cNvCxnSpPr/>
          <p:nvPr/>
        </p:nvCxnSpPr>
        <p:spPr>
          <a:xfrm>
            <a:off x="6768836" y="3246448"/>
            <a:ext cx="540000" cy="0"/>
          </a:xfrm>
          <a:prstGeom prst="straightConnector1">
            <a:avLst/>
          </a:prstGeom>
          <a:ln w="38100">
            <a:solidFill>
              <a:srgbClr val="969696"/>
            </a:solidFill>
            <a:headEnd type="oval" w="sm" len="sm"/>
            <a:tailEnd type="triangle"/>
          </a:ln>
          <a:effectLst>
            <a:glow rad="127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5" name="Прямоугольник 374"/>
          <p:cNvSpPr/>
          <p:nvPr/>
        </p:nvSpPr>
        <p:spPr>
          <a:xfrm>
            <a:off x="2186785" y="4251948"/>
            <a:ext cx="1549696" cy="17312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171450" indent="-171450">
              <a:spcAft>
                <a:spcPts val="9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Возможность работать с интересными технологиями</a:t>
            </a:r>
          </a:p>
          <a:p>
            <a:pPr marL="171450" indent="-171450">
              <a:spcAft>
                <a:spcPts val="9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Возможность</a:t>
            </a:r>
            <a:b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влиять на процессы</a:t>
            </a:r>
            <a:b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и продукт</a:t>
            </a:r>
          </a:p>
          <a:p>
            <a:pPr marL="171450" indent="-171450">
              <a:spcAft>
                <a:spcPts val="9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Ценность</a:t>
            </a:r>
            <a:b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для компании</a:t>
            </a:r>
          </a:p>
          <a:p>
            <a:pPr marL="171450" indent="-171450">
              <a:spcAft>
                <a:spcPts val="9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Увлекательный процесс работы</a:t>
            </a:r>
          </a:p>
        </p:txBody>
      </p:sp>
      <p:sp>
        <p:nvSpPr>
          <p:cNvPr id="376" name="Прямоугольник 375"/>
          <p:cNvSpPr/>
          <p:nvPr/>
        </p:nvSpPr>
        <p:spPr>
          <a:xfrm>
            <a:off x="2186784" y="4017893"/>
            <a:ext cx="1412246" cy="1692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Для разработчика</a:t>
            </a:r>
          </a:p>
        </p:txBody>
      </p:sp>
      <p:sp>
        <p:nvSpPr>
          <p:cNvPr id="377" name="Прямоугольник 376"/>
          <p:cNvSpPr/>
          <p:nvPr/>
        </p:nvSpPr>
        <p:spPr>
          <a:xfrm>
            <a:off x="3859769" y="4251948"/>
            <a:ext cx="1549696" cy="2008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171450" indent="-171450">
              <a:spcAft>
                <a:spcPts val="9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Актуальный</a:t>
            </a:r>
            <a:br>
              <a:rPr lang="en-US" sz="9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продукт</a:t>
            </a:r>
          </a:p>
          <a:p>
            <a:pPr marL="171450" indent="-171450">
              <a:spcAft>
                <a:spcPts val="9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Способность оперативно корректировать направление развития</a:t>
            </a:r>
          </a:p>
          <a:p>
            <a:pPr marL="171450" indent="-171450">
              <a:spcAft>
                <a:spcPts val="9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Ближе</a:t>
            </a:r>
            <a:b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к потребностям Пользователей</a:t>
            </a:r>
          </a:p>
          <a:p>
            <a:pPr marL="171450" indent="-171450">
              <a:spcAft>
                <a:spcPts val="9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Довольные сотрудники</a:t>
            </a:r>
          </a:p>
        </p:txBody>
      </p:sp>
      <p:sp>
        <p:nvSpPr>
          <p:cNvPr id="378" name="Прямоугольник 377"/>
          <p:cNvSpPr/>
          <p:nvPr/>
        </p:nvSpPr>
        <p:spPr>
          <a:xfrm>
            <a:off x="3859768" y="4017893"/>
            <a:ext cx="971420" cy="1692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Для бизнеса</a:t>
            </a:r>
          </a:p>
        </p:txBody>
      </p:sp>
      <p:sp>
        <p:nvSpPr>
          <p:cNvPr id="379" name="Прямоугольник 378"/>
          <p:cNvSpPr/>
          <p:nvPr/>
        </p:nvSpPr>
        <p:spPr>
          <a:xfrm>
            <a:off x="5532754" y="4251948"/>
            <a:ext cx="1549696" cy="18697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171450" indent="-171450">
              <a:spcAft>
                <a:spcPts val="9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Удовлетворение потребностей</a:t>
            </a:r>
          </a:p>
          <a:p>
            <a:pPr marL="171450" indent="-171450">
              <a:spcAft>
                <a:spcPts val="9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Позитивный опыт взаимодействия</a:t>
            </a:r>
          </a:p>
          <a:p>
            <a:pPr marL="171450" indent="-171450">
              <a:spcAft>
                <a:spcPts val="9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Возможность влиять на развитие любимого продукта</a:t>
            </a:r>
          </a:p>
          <a:p>
            <a:pPr marL="171450" indent="-171450">
              <a:spcAft>
                <a:spcPts val="9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Постоянное добавление нового функционала</a:t>
            </a:r>
            <a:b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и устранение багов</a:t>
            </a:r>
          </a:p>
        </p:txBody>
      </p:sp>
      <p:sp>
        <p:nvSpPr>
          <p:cNvPr id="380" name="Прямоугольник 379"/>
          <p:cNvSpPr/>
          <p:nvPr/>
        </p:nvSpPr>
        <p:spPr>
          <a:xfrm>
            <a:off x="5532753" y="4017893"/>
            <a:ext cx="973023" cy="1692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Для клиента</a:t>
            </a:r>
          </a:p>
        </p:txBody>
      </p:sp>
      <p:sp>
        <p:nvSpPr>
          <p:cNvPr id="381" name="Прямоугольник 380"/>
          <p:cNvSpPr/>
          <p:nvPr/>
        </p:nvSpPr>
        <p:spPr>
          <a:xfrm>
            <a:off x="7205737" y="4251948"/>
            <a:ext cx="1549696" cy="2046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171450" indent="-171450">
              <a:spcAft>
                <a:spcPts val="6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Высокое</a:t>
            </a:r>
            <a:br>
              <a:rPr lang="en-US" sz="9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качество продукта</a:t>
            </a:r>
          </a:p>
          <a:p>
            <a:pPr marL="171450" indent="-171450">
              <a:spcAft>
                <a:spcPts val="6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Высокий скорость внесения изменений</a:t>
            </a:r>
          </a:p>
          <a:p>
            <a:pPr marL="171450" indent="-171450">
              <a:spcAft>
                <a:spcPts val="6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Высокий уровень удовлетворённости Клиентов</a:t>
            </a:r>
          </a:p>
          <a:p>
            <a:pPr marL="171450" indent="-171450">
              <a:spcAft>
                <a:spcPts val="6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Мотивированные специалисты</a:t>
            </a:r>
          </a:p>
          <a:p>
            <a:pPr marL="171450" indent="-171450">
              <a:spcAft>
                <a:spcPts val="6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Удовольствие</a:t>
            </a:r>
            <a:b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от работы</a:t>
            </a:r>
          </a:p>
          <a:p>
            <a:pPr marL="171450" indent="-171450">
              <a:spcAft>
                <a:spcPts val="6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en-US" sz="900" dirty="0">
                <a:solidFill>
                  <a:srgbClr val="404040"/>
                </a:solidFill>
                <a:latin typeface="Montserrat" panose="00000500000000000000" pitchFamily="2" charset="-52"/>
              </a:rPr>
              <a:t>Fun</a:t>
            </a:r>
            <a:endParaRPr lang="ru-RU" sz="900" dirty="0">
              <a:solidFill>
                <a:srgbClr val="404040"/>
              </a:solidFill>
              <a:latin typeface="Montserrat" panose="00000500000000000000" pitchFamily="2" charset="-52"/>
            </a:endParaRPr>
          </a:p>
        </p:txBody>
      </p:sp>
      <p:sp>
        <p:nvSpPr>
          <p:cNvPr id="382" name="Прямоугольник 381"/>
          <p:cNvSpPr/>
          <p:nvPr/>
        </p:nvSpPr>
        <p:spPr>
          <a:xfrm>
            <a:off x="7205736" y="4017893"/>
            <a:ext cx="686085" cy="1692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Для всех</a:t>
            </a:r>
          </a:p>
        </p:txBody>
      </p:sp>
      <p:sp>
        <p:nvSpPr>
          <p:cNvPr id="385" name="Скругленный прямоугольник 384"/>
          <p:cNvSpPr/>
          <p:nvPr/>
        </p:nvSpPr>
        <p:spPr>
          <a:xfrm>
            <a:off x="8994908" y="1979272"/>
            <a:ext cx="2852610" cy="4545353"/>
          </a:xfrm>
          <a:prstGeom prst="roundRect">
            <a:avLst>
              <a:gd name="adj" fmla="val 5914"/>
            </a:avLst>
          </a:prstGeom>
          <a:solidFill>
            <a:srgbClr val="495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86" name="Группа 385"/>
          <p:cNvGrpSpPr/>
          <p:nvPr/>
        </p:nvGrpSpPr>
        <p:grpSpPr>
          <a:xfrm>
            <a:off x="9176862" y="2075962"/>
            <a:ext cx="2589131" cy="301008"/>
            <a:chOff x="516918" y="2075962"/>
            <a:chExt cx="7249695" cy="301008"/>
          </a:xfrm>
        </p:grpSpPr>
        <p:sp>
          <p:nvSpPr>
            <p:cNvPr id="387" name="Прямоугольник 386"/>
            <p:cNvSpPr/>
            <p:nvPr/>
          </p:nvSpPr>
          <p:spPr>
            <a:xfrm>
              <a:off x="516918" y="2075962"/>
              <a:ext cx="7249695" cy="24622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ru-RU" sz="1600" dirty="0">
                  <a:solidFill>
                    <a:schemeClr val="bg1"/>
                  </a:solidFill>
                  <a:latin typeface="Montserrat Medium" panose="00000600000000000000" pitchFamily="2" charset="-52"/>
                </a:rPr>
                <a:t>Методология включает</a:t>
              </a:r>
            </a:p>
          </p:txBody>
        </p:sp>
        <p:cxnSp>
          <p:nvCxnSpPr>
            <p:cNvPr id="388" name="Прямая соединительная линия 387"/>
            <p:cNvCxnSpPr/>
            <p:nvPr/>
          </p:nvCxnSpPr>
          <p:spPr>
            <a:xfrm>
              <a:off x="516918" y="2376970"/>
              <a:ext cx="7156925" cy="0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9" name="Прямоугольник 388"/>
          <p:cNvSpPr/>
          <p:nvPr/>
        </p:nvSpPr>
        <p:spPr>
          <a:xfrm>
            <a:off x="9176861" y="2488723"/>
            <a:ext cx="2549083" cy="39241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171450" indent="-171450">
              <a:spcAft>
                <a:spcPts val="18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/>
                </a:solidFill>
                <a:latin typeface="Montserrat" panose="00000500000000000000" pitchFamily="2" charset="-52"/>
              </a:rPr>
              <a:t>Гибкость и адаптивность</a:t>
            </a:r>
            <a:br>
              <a:rPr lang="ru-RU" sz="1200" dirty="0">
                <a:solidFill>
                  <a:schemeClr val="bg1"/>
                </a:solidFill>
                <a:latin typeface="Montserrat" panose="00000500000000000000" pitchFamily="2" charset="-52"/>
              </a:rPr>
            </a:br>
            <a:r>
              <a:rPr lang="ru-RU" sz="1200" dirty="0">
                <a:solidFill>
                  <a:schemeClr val="bg1"/>
                </a:solidFill>
                <a:latin typeface="Montserrat" panose="00000500000000000000" pitchFamily="2" charset="-52"/>
              </a:rPr>
              <a:t>к потребностям клиента</a:t>
            </a:r>
          </a:p>
          <a:p>
            <a:pPr marL="171450" indent="-171450">
              <a:spcAft>
                <a:spcPts val="18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/>
                </a:solidFill>
                <a:latin typeface="Montserrat" panose="00000500000000000000" pitchFamily="2" charset="-52"/>
              </a:rPr>
              <a:t>Улучшение коммуникации между участниками проекта</a:t>
            </a:r>
          </a:p>
          <a:p>
            <a:pPr marL="171450" indent="-171450">
              <a:spcAft>
                <a:spcPts val="18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/>
                </a:solidFill>
                <a:latin typeface="Montserrat" panose="00000500000000000000" pitchFamily="2" charset="-52"/>
              </a:rPr>
              <a:t>Быстрое получение результатов после начала работы над проектом</a:t>
            </a:r>
          </a:p>
          <a:p>
            <a:pPr marL="171450" indent="-171450">
              <a:spcAft>
                <a:spcPts val="18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/>
                </a:solidFill>
                <a:latin typeface="Montserrat" panose="00000500000000000000" pitchFamily="2" charset="-52"/>
              </a:rPr>
              <a:t>Постоянный контроль качества с демонстрацией каждого этапа заказчику</a:t>
            </a:r>
          </a:p>
          <a:p>
            <a:pPr marL="171450" indent="-171450">
              <a:spcAft>
                <a:spcPts val="18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/>
                </a:solidFill>
                <a:latin typeface="Montserrat" panose="00000500000000000000" pitchFamily="2" charset="-52"/>
              </a:rPr>
              <a:t>Распределения задач между узкоспециализированными специалистами</a:t>
            </a:r>
          </a:p>
          <a:p>
            <a:pPr marL="171450" indent="-171450">
              <a:spcAft>
                <a:spcPts val="18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/>
                </a:solidFill>
                <a:latin typeface="Montserrat" panose="00000500000000000000" pitchFamily="2" charset="-52"/>
              </a:rPr>
              <a:t>Быстрое выявление</a:t>
            </a:r>
            <a:br>
              <a:rPr lang="ru-RU" sz="1200" dirty="0">
                <a:solidFill>
                  <a:schemeClr val="bg1"/>
                </a:solidFill>
                <a:latin typeface="Montserrat" panose="00000500000000000000" pitchFamily="2" charset="-52"/>
              </a:rPr>
            </a:br>
            <a:r>
              <a:rPr lang="ru-RU" sz="1200" dirty="0">
                <a:solidFill>
                  <a:schemeClr val="bg1"/>
                </a:solidFill>
                <a:latin typeface="Montserrat" panose="00000500000000000000" pitchFamily="2" charset="-52"/>
              </a:rPr>
              <a:t>и устранение ошибок </a:t>
            </a:r>
          </a:p>
        </p:txBody>
      </p:sp>
      <p:pic>
        <p:nvPicPr>
          <p:cNvPr id="1579" name="Picture 8">
            <a:extLst>
              <a:ext uri="{FF2B5EF4-FFF2-40B4-BE49-F238E27FC236}">
                <a16:creationId xmlns:a16="http://schemas.microsoft.com/office/drawing/2014/main" id="{3163411B-7618-47A2-A109-1D0D1FABB0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 l="10521" t="15962" r="77292" b="69215"/>
          <a:stretch>
            <a:fillRect/>
          </a:stretch>
        </p:blipFill>
        <p:spPr bwMode="auto">
          <a:xfrm>
            <a:off x="11263112" y="1"/>
            <a:ext cx="928888" cy="961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96329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2134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9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/>
          <p:cNvSpPr/>
          <p:nvPr/>
        </p:nvSpPr>
        <p:spPr>
          <a:xfrm>
            <a:off x="204216" y="6598515"/>
            <a:ext cx="252990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ru-RU" sz="1200" b="1" i="1" dirty="0">
                <a:solidFill>
                  <a:srgbClr val="4950D0"/>
                </a:solidFill>
                <a:latin typeface="Montserrat" panose="00000500000000000000" pitchFamily="2" charset="-52"/>
              </a:rPr>
              <a:t>4</a:t>
            </a:r>
            <a:r>
              <a:rPr lang="en-US" sz="1200" dirty="0">
                <a:solidFill>
                  <a:srgbClr val="4950D0"/>
                </a:solidFill>
                <a:latin typeface="Montserrat" panose="00000500000000000000" pitchFamily="2" charset="-52"/>
              </a:rPr>
              <a:t>/</a:t>
            </a:r>
            <a:r>
              <a:rPr lang="en-US" sz="800" dirty="0">
                <a:solidFill>
                  <a:srgbClr val="4950D0"/>
                </a:solidFill>
                <a:latin typeface="Montserrat" panose="00000500000000000000" pitchFamily="2" charset="-52"/>
              </a:rPr>
              <a:t>13</a:t>
            </a:r>
            <a:endParaRPr lang="ru-RU" sz="800" dirty="0">
              <a:solidFill>
                <a:srgbClr val="4950D0"/>
              </a:solidFill>
              <a:latin typeface="Montserrat" panose="00000500000000000000" pitchFamily="2" charset="-52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51657" y="720917"/>
            <a:ext cx="11505381" cy="10259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4000"/>
              </a:lnSpc>
            </a:pPr>
            <a:r>
              <a:rPr lang="ru-RU" sz="3200" b="1" dirty="0">
                <a:solidFill>
                  <a:srgbClr val="D8294C"/>
                </a:solidFill>
                <a:latin typeface="Montserrat" panose="00000500000000000000" pitchFamily="2" charset="-52"/>
              </a:rPr>
              <a:t>Бизнес-идея</a:t>
            </a:r>
            <a:r>
              <a:rPr lang="ru-RU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 — предоставление уникальных</a:t>
            </a:r>
            <a:br>
              <a:rPr lang="ru-RU" sz="3200" b="1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услуг, учитывая тренды в данной сфере</a:t>
            </a:r>
          </a:p>
        </p:txBody>
      </p:sp>
      <p:grpSp>
        <p:nvGrpSpPr>
          <p:cNvPr id="125" name="Группа 124"/>
          <p:cNvGrpSpPr/>
          <p:nvPr/>
        </p:nvGrpSpPr>
        <p:grpSpPr>
          <a:xfrm>
            <a:off x="70414" y="56746"/>
            <a:ext cx="11642162" cy="422119"/>
            <a:chOff x="70414" y="56746"/>
            <a:chExt cx="11642162" cy="422119"/>
          </a:xfrm>
        </p:grpSpPr>
        <p:sp>
          <p:nvSpPr>
            <p:cNvPr id="126" name="Скругленный прямоугольник 125"/>
            <p:cNvSpPr/>
            <p:nvPr/>
          </p:nvSpPr>
          <p:spPr>
            <a:xfrm>
              <a:off x="70414" y="56746"/>
              <a:ext cx="11642162" cy="422119"/>
            </a:xfrm>
            <a:prstGeom prst="roundRect">
              <a:avLst>
                <a:gd name="adj" fmla="val 17873"/>
              </a:avLst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7" name="Скругленный прямоугольник 126"/>
            <p:cNvSpPr/>
            <p:nvPr/>
          </p:nvSpPr>
          <p:spPr>
            <a:xfrm>
              <a:off x="108899" y="103316"/>
              <a:ext cx="710251" cy="328978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Введение</a:t>
              </a:r>
            </a:p>
          </p:txBody>
        </p:sp>
        <p:sp>
          <p:nvSpPr>
            <p:cNvPr id="128" name="Скругленный прямоугольник 127"/>
            <p:cNvSpPr/>
            <p:nvPr/>
          </p:nvSpPr>
          <p:spPr>
            <a:xfrm>
              <a:off x="938864" y="103317"/>
              <a:ext cx="949961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Методология разработки</a:t>
              </a:r>
            </a:p>
          </p:txBody>
        </p:sp>
        <p:sp>
          <p:nvSpPr>
            <p:cNvPr id="129" name="Скругленный прямоугольник 128"/>
            <p:cNvSpPr/>
            <p:nvPr/>
          </p:nvSpPr>
          <p:spPr>
            <a:xfrm>
              <a:off x="2008539" y="103317"/>
              <a:ext cx="1903180" cy="328977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tx1"/>
                  </a:solidFill>
                  <a:latin typeface="Montserrat ExtraBold" panose="00000900000000000000" pitchFamily="2" charset="-52"/>
                </a:rPr>
                <a:t>Бизнес-модель и бизнес-план </a:t>
              </a:r>
              <a:r>
                <a:rPr lang="ru-RU" sz="800" dirty="0" err="1">
                  <a:solidFill>
                    <a:schemeClr val="tx1"/>
                  </a:solidFill>
                  <a:latin typeface="Montserrat ExtraBold" panose="00000900000000000000" pitchFamily="2" charset="-52"/>
                </a:rPr>
                <a:t>стартап</a:t>
              </a:r>
              <a:r>
                <a:rPr lang="ru-RU" sz="800" dirty="0">
                  <a:solidFill>
                    <a:schemeClr val="tx1"/>
                  </a:solidFill>
                  <a:latin typeface="Montserrat ExtraBold" panose="00000900000000000000" pitchFamily="2" charset="-52"/>
                </a:rPr>
                <a:t>-проекта</a:t>
              </a:r>
            </a:p>
          </p:txBody>
        </p:sp>
        <p:sp>
          <p:nvSpPr>
            <p:cNvPr id="130" name="Скругленный прямоугольник 129"/>
            <p:cNvSpPr/>
            <p:nvPr/>
          </p:nvSpPr>
          <p:spPr>
            <a:xfrm>
              <a:off x="4031433" y="103317"/>
              <a:ext cx="171625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Маркетинговый анализ, стратегия и сбыт продукта</a:t>
              </a:r>
            </a:p>
          </p:txBody>
        </p:sp>
        <p:sp>
          <p:nvSpPr>
            <p:cNvPr id="131" name="Скругленный прямоугольник 130"/>
            <p:cNvSpPr/>
            <p:nvPr/>
          </p:nvSpPr>
          <p:spPr>
            <a:xfrm>
              <a:off x="5867397" y="103317"/>
              <a:ext cx="1290695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Производственный план</a:t>
              </a:r>
            </a:p>
          </p:txBody>
        </p:sp>
        <p:sp>
          <p:nvSpPr>
            <p:cNvPr id="132" name="Скругленный прямоугольник 131"/>
            <p:cNvSpPr/>
            <p:nvPr/>
          </p:nvSpPr>
          <p:spPr>
            <a:xfrm>
              <a:off x="7277806" y="103317"/>
              <a:ext cx="1177370" cy="328976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Организационный план</a:t>
              </a:r>
            </a:p>
          </p:txBody>
        </p:sp>
        <p:sp>
          <p:nvSpPr>
            <p:cNvPr id="133" name="Скругленный прямоугольник 132"/>
            <p:cNvSpPr/>
            <p:nvPr/>
          </p:nvSpPr>
          <p:spPr>
            <a:xfrm>
              <a:off x="8574890" y="103317"/>
              <a:ext cx="871316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Финансовый план</a:t>
              </a:r>
            </a:p>
          </p:txBody>
        </p:sp>
        <p:sp>
          <p:nvSpPr>
            <p:cNvPr id="134" name="Скругленный прямоугольник 133"/>
            <p:cNvSpPr/>
            <p:nvPr/>
          </p:nvSpPr>
          <p:spPr>
            <a:xfrm>
              <a:off x="9565920" y="103317"/>
              <a:ext cx="73861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Риски</a:t>
              </a:r>
              <a:b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</a:br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и гарантии</a:t>
              </a:r>
            </a:p>
          </p:txBody>
        </p:sp>
        <p:sp>
          <p:nvSpPr>
            <p:cNvPr id="135" name="Скругленный прямоугольник 134"/>
            <p:cNvSpPr/>
            <p:nvPr/>
          </p:nvSpPr>
          <p:spPr>
            <a:xfrm>
              <a:off x="10424241" y="103317"/>
              <a:ext cx="802559" cy="328976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Заключение</a:t>
              </a:r>
            </a:p>
          </p:txBody>
        </p:sp>
        <p:grpSp>
          <p:nvGrpSpPr>
            <p:cNvPr id="136" name="Группа 135"/>
            <p:cNvGrpSpPr/>
            <p:nvPr/>
          </p:nvGrpSpPr>
          <p:grpSpPr>
            <a:xfrm>
              <a:off x="879007" y="109521"/>
              <a:ext cx="9485380" cy="316568"/>
              <a:chOff x="879007" y="69805"/>
              <a:chExt cx="9485380" cy="396000"/>
            </a:xfrm>
          </p:grpSpPr>
          <p:cxnSp>
            <p:nvCxnSpPr>
              <p:cNvPr id="137" name="Прямая соединительная линия 136"/>
              <p:cNvCxnSpPr/>
              <p:nvPr/>
            </p:nvCxnSpPr>
            <p:spPr>
              <a:xfrm>
                <a:off x="87900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Прямая соединительная линия 137"/>
              <p:cNvCxnSpPr/>
              <p:nvPr/>
            </p:nvCxnSpPr>
            <p:spPr>
              <a:xfrm>
                <a:off x="1948682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Прямая соединительная линия 138"/>
              <p:cNvCxnSpPr/>
              <p:nvPr/>
            </p:nvCxnSpPr>
            <p:spPr>
              <a:xfrm>
                <a:off x="3971576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Прямая соединительная линия 139"/>
              <p:cNvCxnSpPr/>
              <p:nvPr/>
            </p:nvCxnSpPr>
            <p:spPr>
              <a:xfrm>
                <a:off x="5807540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Прямая соединительная линия 140"/>
              <p:cNvCxnSpPr/>
              <p:nvPr/>
            </p:nvCxnSpPr>
            <p:spPr>
              <a:xfrm>
                <a:off x="7217949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Прямая соединительная линия 141"/>
              <p:cNvCxnSpPr/>
              <p:nvPr/>
            </p:nvCxnSpPr>
            <p:spPr>
              <a:xfrm>
                <a:off x="851503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Прямая соединительная линия 142"/>
              <p:cNvCxnSpPr/>
              <p:nvPr/>
            </p:nvCxnSpPr>
            <p:spPr>
              <a:xfrm>
                <a:off x="950606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Прямая соединительная линия 143"/>
              <p:cNvCxnSpPr/>
              <p:nvPr/>
            </p:nvCxnSpPr>
            <p:spPr>
              <a:xfrm>
                <a:off x="1036438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6057" y="1894404"/>
            <a:ext cx="1658485" cy="1656000"/>
          </a:xfrm>
          <a:prstGeom prst="roundRect">
            <a:avLst>
              <a:gd name="adj" fmla="val 7239"/>
            </a:avLst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457" y="1894404"/>
            <a:ext cx="1656000" cy="1656000"/>
          </a:xfrm>
          <a:prstGeom prst="roundRect">
            <a:avLst>
              <a:gd name="adj" fmla="val 7239"/>
            </a:avLst>
          </a:prstGeom>
        </p:spPr>
      </p:pic>
      <p:pic>
        <p:nvPicPr>
          <p:cNvPr id="20485" name="Picture 5" descr="дизайн маникюра омбре мятный лиловый, форма квадрат, максимальная четкость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8857" y="1894404"/>
            <a:ext cx="1656000" cy="1656000"/>
          </a:xfrm>
          <a:prstGeom prst="roundRect">
            <a:avLst>
              <a:gd name="adj" fmla="val 7239"/>
            </a:avLst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0257" y="1894404"/>
            <a:ext cx="1656000" cy="1656000"/>
          </a:xfrm>
          <a:prstGeom prst="roundRect">
            <a:avLst>
              <a:gd name="adj" fmla="val 7239"/>
            </a:avLst>
          </a:prstGeom>
        </p:spPr>
      </p:pic>
      <p:pic>
        <p:nvPicPr>
          <p:cNvPr id="146" name="Рисунок 14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57" y="1894404"/>
            <a:ext cx="1656882" cy="1656882"/>
          </a:xfrm>
          <a:prstGeom prst="roundRect">
            <a:avLst>
              <a:gd name="adj" fmla="val 7239"/>
            </a:avLst>
          </a:prstGeom>
        </p:spPr>
      </p:pic>
      <p:sp>
        <p:nvSpPr>
          <p:cNvPr id="162" name="Скругленный прямоугольник 161"/>
          <p:cNvSpPr/>
          <p:nvPr/>
        </p:nvSpPr>
        <p:spPr>
          <a:xfrm>
            <a:off x="351657" y="3191759"/>
            <a:ext cx="1452868" cy="359527"/>
          </a:xfrm>
          <a:prstGeom prst="roundRect">
            <a:avLst>
              <a:gd name="adj" fmla="val 32563"/>
            </a:avLst>
          </a:prstGeom>
          <a:solidFill>
            <a:srgbClr val="495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ru-RU" sz="1000" b="1" dirty="0">
                <a:solidFill>
                  <a:schemeClr val="bg1"/>
                </a:solidFill>
                <a:latin typeface="Montserrat" panose="00000500000000000000" pitchFamily="2" charset="-52"/>
              </a:rPr>
              <a:t>Классический маникюр</a:t>
            </a:r>
          </a:p>
        </p:txBody>
      </p:sp>
      <p:sp>
        <p:nvSpPr>
          <p:cNvPr id="173" name="Скругленный прямоугольник 172"/>
          <p:cNvSpPr/>
          <p:nvPr/>
        </p:nvSpPr>
        <p:spPr>
          <a:xfrm>
            <a:off x="2810257" y="3190877"/>
            <a:ext cx="1452868" cy="359527"/>
          </a:xfrm>
          <a:prstGeom prst="roundRect">
            <a:avLst>
              <a:gd name="adj" fmla="val 32563"/>
            </a:avLst>
          </a:prstGeom>
          <a:solidFill>
            <a:srgbClr val="495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1000" b="1" dirty="0">
                <a:solidFill>
                  <a:schemeClr val="bg1"/>
                </a:solidFill>
                <a:latin typeface="Montserrat" panose="00000500000000000000" pitchFamily="2" charset="-52"/>
              </a:rPr>
              <a:t>SPA-</a:t>
            </a:r>
            <a:r>
              <a:rPr lang="ru-RU" sz="1000" b="1" dirty="0">
                <a:solidFill>
                  <a:schemeClr val="bg1"/>
                </a:solidFill>
                <a:latin typeface="Montserrat" panose="00000500000000000000" pitchFamily="2" charset="-52"/>
              </a:rPr>
              <a:t>маникюр</a:t>
            </a:r>
            <a:br>
              <a:rPr lang="ru-RU" sz="1000" b="1" dirty="0">
                <a:solidFill>
                  <a:schemeClr val="bg1"/>
                </a:solidFill>
                <a:latin typeface="Montserrat" panose="00000500000000000000" pitchFamily="2" charset="-52"/>
              </a:rPr>
            </a:br>
            <a:r>
              <a:rPr lang="ru-RU" sz="1000" b="1" dirty="0">
                <a:solidFill>
                  <a:schemeClr val="bg1"/>
                </a:solidFill>
                <a:latin typeface="Montserrat" panose="00000500000000000000" pitchFamily="2" charset="-52"/>
              </a:rPr>
              <a:t>и педикюр</a:t>
            </a:r>
          </a:p>
        </p:txBody>
      </p:sp>
      <p:sp>
        <p:nvSpPr>
          <p:cNvPr id="174" name="Скругленный прямоугольник 173"/>
          <p:cNvSpPr/>
          <p:nvPr/>
        </p:nvSpPr>
        <p:spPr>
          <a:xfrm>
            <a:off x="5268857" y="3190877"/>
            <a:ext cx="1452868" cy="359527"/>
          </a:xfrm>
          <a:prstGeom prst="roundRect">
            <a:avLst>
              <a:gd name="adj" fmla="val 32563"/>
            </a:avLst>
          </a:prstGeom>
          <a:solidFill>
            <a:srgbClr val="495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ru-RU" sz="1000" b="1" dirty="0" err="1">
                <a:solidFill>
                  <a:schemeClr val="bg1"/>
                </a:solidFill>
                <a:latin typeface="Montserrat" panose="00000500000000000000" pitchFamily="2" charset="-52"/>
              </a:rPr>
              <a:t>Омбре</a:t>
            </a:r>
            <a:r>
              <a:rPr lang="ru-RU" sz="1000" b="1" dirty="0">
                <a:solidFill>
                  <a:schemeClr val="bg1"/>
                </a:solidFill>
                <a:latin typeface="Montserrat" panose="00000500000000000000" pitchFamily="2" charset="-52"/>
              </a:rPr>
              <a:t>-маникюр </a:t>
            </a:r>
          </a:p>
        </p:txBody>
      </p:sp>
      <p:sp>
        <p:nvSpPr>
          <p:cNvPr id="175" name="Скругленный прямоугольник 174"/>
          <p:cNvSpPr/>
          <p:nvPr/>
        </p:nvSpPr>
        <p:spPr>
          <a:xfrm>
            <a:off x="7727457" y="3190877"/>
            <a:ext cx="1452868" cy="359527"/>
          </a:xfrm>
          <a:prstGeom prst="roundRect">
            <a:avLst>
              <a:gd name="adj" fmla="val 32563"/>
            </a:avLst>
          </a:prstGeom>
          <a:solidFill>
            <a:srgbClr val="495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ru-RU" sz="1000" b="1" dirty="0">
                <a:solidFill>
                  <a:schemeClr val="bg1"/>
                </a:solidFill>
                <a:latin typeface="Montserrat" panose="00000500000000000000" pitchFamily="2" charset="-52"/>
              </a:rPr>
              <a:t>Сухой маникюр </a:t>
            </a:r>
          </a:p>
        </p:txBody>
      </p:sp>
      <p:sp>
        <p:nvSpPr>
          <p:cNvPr id="176" name="Скругленный прямоугольник 175"/>
          <p:cNvSpPr/>
          <p:nvPr/>
        </p:nvSpPr>
        <p:spPr>
          <a:xfrm>
            <a:off x="10186057" y="3190877"/>
            <a:ext cx="1452868" cy="359527"/>
          </a:xfrm>
          <a:prstGeom prst="roundRect">
            <a:avLst>
              <a:gd name="adj" fmla="val 32563"/>
            </a:avLst>
          </a:prstGeom>
          <a:solidFill>
            <a:srgbClr val="495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ru-RU" sz="1000" b="1" dirty="0">
                <a:solidFill>
                  <a:schemeClr val="bg1"/>
                </a:solidFill>
                <a:latin typeface="Montserrat" panose="00000500000000000000" pitchFamily="2" charset="-52"/>
              </a:rPr>
              <a:t>Медицинский маникюр</a:t>
            </a:r>
          </a:p>
        </p:txBody>
      </p:sp>
      <p:grpSp>
        <p:nvGrpSpPr>
          <p:cNvPr id="25" name="Группа 24"/>
          <p:cNvGrpSpPr/>
          <p:nvPr/>
        </p:nvGrpSpPr>
        <p:grpSpPr>
          <a:xfrm>
            <a:off x="351657" y="3698851"/>
            <a:ext cx="11490400" cy="1656000"/>
            <a:chOff x="351657" y="3720715"/>
            <a:chExt cx="11490400" cy="1656000"/>
          </a:xfrm>
        </p:grpSpPr>
        <p:pic>
          <p:nvPicPr>
            <p:cNvPr id="20495" name="Picture 15" descr="🦄маникюр, реалистичные женские руки, наращивание ногтей, светоотражающий гель лак, крупные стразы, фольга, втирка, неон, высокая детализация, на однотонном …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86057" y="3720715"/>
              <a:ext cx="1656000" cy="1656000"/>
            </a:xfrm>
            <a:prstGeom prst="roundRect">
              <a:avLst>
                <a:gd name="adj" fmla="val 7239"/>
              </a:avLst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492" name="Picture 12" descr="замысловатая буква вензель “B” в дизайне маникюра ногтей, буква “B” на ногтях крупно, профессиональная съемка для каталога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7457" y="3720715"/>
              <a:ext cx="1656000" cy="1656000"/>
            </a:xfrm>
            <a:prstGeom prst="roundRect">
              <a:avLst>
                <a:gd name="adj" fmla="val 7239"/>
              </a:avLst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2" name="Рисунок 18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68857" y="3720715"/>
              <a:ext cx="1656000" cy="1656000"/>
            </a:xfrm>
            <a:prstGeom prst="roundRect">
              <a:avLst>
                <a:gd name="adj" fmla="val 7239"/>
              </a:avLst>
            </a:prstGeom>
          </p:spPr>
        </p:pic>
        <p:pic>
          <p:nvPicPr>
            <p:cNvPr id="20490" name="Picture 10" descr="детский маникюр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10257" y="3720715"/>
              <a:ext cx="1656000" cy="1656000"/>
            </a:xfrm>
            <a:prstGeom prst="roundRect">
              <a:avLst>
                <a:gd name="adj" fmla="val 7239"/>
              </a:avLst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488" name="Picture 8" descr="идеи для маникюра на свадьбу ,невесте ,свадебный маникюр на длинных ногтях , красиво, эстетично, реалистично, 30mm lens, 1/250s, f/2.8, ISO 100, яркое …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1657" y="3720715"/>
              <a:ext cx="1656000" cy="1656000"/>
            </a:xfrm>
            <a:prstGeom prst="roundRect">
              <a:avLst>
                <a:gd name="adj" fmla="val 7239"/>
              </a:avLst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7" name="Скругленный прямоугольник 176"/>
            <p:cNvSpPr/>
            <p:nvPr/>
          </p:nvSpPr>
          <p:spPr>
            <a:xfrm>
              <a:off x="351657" y="5017188"/>
              <a:ext cx="1452868" cy="359527"/>
            </a:xfrm>
            <a:prstGeom prst="roundRect">
              <a:avLst>
                <a:gd name="adj" fmla="val 32563"/>
              </a:avLst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r>
                <a:rPr lang="ru-RU" sz="10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Свадебный маникюр</a:t>
              </a:r>
            </a:p>
          </p:txBody>
        </p:sp>
        <p:sp>
          <p:nvSpPr>
            <p:cNvPr id="178" name="Скругленный прямоугольник 177"/>
            <p:cNvSpPr/>
            <p:nvPr/>
          </p:nvSpPr>
          <p:spPr>
            <a:xfrm>
              <a:off x="2810257" y="5017188"/>
              <a:ext cx="1452868" cy="359527"/>
            </a:xfrm>
            <a:prstGeom prst="roundRect">
              <a:avLst>
                <a:gd name="adj" fmla="val 32563"/>
              </a:avLst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r>
                <a:rPr lang="ru-RU" sz="1000" b="1">
                  <a:solidFill>
                    <a:schemeClr val="bg1"/>
                  </a:solidFill>
                  <a:latin typeface="Montserrat" panose="00000500000000000000" pitchFamily="2" charset="-52"/>
                </a:rPr>
                <a:t>Детский маникюр</a:t>
              </a:r>
            </a:p>
          </p:txBody>
        </p:sp>
        <p:sp>
          <p:nvSpPr>
            <p:cNvPr id="179" name="Скругленный прямоугольник 178"/>
            <p:cNvSpPr/>
            <p:nvPr/>
          </p:nvSpPr>
          <p:spPr>
            <a:xfrm>
              <a:off x="5268857" y="5017188"/>
              <a:ext cx="1452868" cy="359527"/>
            </a:xfrm>
            <a:prstGeom prst="roundRect">
              <a:avLst>
                <a:gd name="adj" fmla="val 32563"/>
              </a:avLst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r>
                <a:rPr lang="ru-RU" sz="10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Маникюр</a:t>
              </a:r>
              <a:br>
                <a:rPr lang="en-US" sz="10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</a:br>
              <a:r>
                <a:rPr lang="ru-RU" sz="10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в «четыре руки»</a:t>
              </a:r>
            </a:p>
          </p:txBody>
        </p:sp>
        <p:sp>
          <p:nvSpPr>
            <p:cNvPr id="180" name="Скругленный прямоугольник 179"/>
            <p:cNvSpPr/>
            <p:nvPr/>
          </p:nvSpPr>
          <p:spPr>
            <a:xfrm>
              <a:off x="7727457" y="5017188"/>
              <a:ext cx="1452868" cy="359527"/>
            </a:xfrm>
            <a:prstGeom prst="roundRect">
              <a:avLst>
                <a:gd name="adj" fmla="val 32563"/>
              </a:avLst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r>
                <a:rPr lang="ru-RU" sz="10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Дизайн</a:t>
              </a:r>
              <a:br>
                <a:rPr lang="ru-RU" sz="10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</a:br>
              <a:r>
                <a:rPr lang="ru-RU" sz="10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ногтей (в т. ч. 3</a:t>
              </a:r>
              <a:r>
                <a:rPr lang="en-US" sz="10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D</a:t>
              </a:r>
              <a:r>
                <a:rPr lang="ru-RU" sz="10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)</a:t>
              </a:r>
            </a:p>
          </p:txBody>
        </p:sp>
        <p:sp>
          <p:nvSpPr>
            <p:cNvPr id="181" name="Скругленный прямоугольник 180"/>
            <p:cNvSpPr/>
            <p:nvPr/>
          </p:nvSpPr>
          <p:spPr>
            <a:xfrm>
              <a:off x="10186057" y="5017188"/>
              <a:ext cx="1452868" cy="359527"/>
            </a:xfrm>
            <a:prstGeom prst="roundRect">
              <a:avLst>
                <a:gd name="adj" fmla="val 32563"/>
              </a:avLst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r>
                <a:rPr lang="ru-RU" sz="10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Наращивание ногтей</a:t>
              </a:r>
            </a:p>
          </p:txBody>
        </p:sp>
      </p:grpSp>
      <p:grpSp>
        <p:nvGrpSpPr>
          <p:cNvPr id="26" name="Группа 25"/>
          <p:cNvGrpSpPr/>
          <p:nvPr/>
        </p:nvGrpSpPr>
        <p:grpSpPr>
          <a:xfrm>
            <a:off x="330711" y="5502416"/>
            <a:ext cx="11516806" cy="1022209"/>
            <a:chOff x="330711" y="5502416"/>
            <a:chExt cx="11516806" cy="1022209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330711" y="5502416"/>
              <a:ext cx="11516806" cy="1022209"/>
            </a:xfrm>
            <a:prstGeom prst="roundRect">
              <a:avLst>
                <a:gd name="adj" fmla="val 14419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39" name="Группа 38"/>
            <p:cNvGrpSpPr/>
            <p:nvPr/>
          </p:nvGrpSpPr>
          <p:grpSpPr>
            <a:xfrm>
              <a:off x="452257" y="5568640"/>
              <a:ext cx="11304000" cy="204624"/>
              <a:chOff x="516918" y="2114434"/>
              <a:chExt cx="11304000" cy="204624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516918" y="2114434"/>
                <a:ext cx="7249695" cy="16927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r>
                  <a:rPr lang="ru-RU" sz="1100" dirty="0">
                    <a:solidFill>
                      <a:srgbClr val="777777"/>
                    </a:solidFill>
                    <a:latin typeface="Montserrat Medium" panose="00000600000000000000" pitchFamily="2" charset="-52"/>
                  </a:rPr>
                  <a:t>Основные конкурентные преимущества  «</a:t>
                </a:r>
                <a:r>
                  <a:rPr lang="ru-RU" sz="1100" dirty="0" err="1">
                    <a:solidFill>
                      <a:srgbClr val="777777"/>
                    </a:solidFill>
                    <a:latin typeface="Montserrat Medium" panose="00000600000000000000" pitchFamily="2" charset="-52"/>
                  </a:rPr>
                  <a:t>Magic</a:t>
                </a:r>
                <a:r>
                  <a:rPr lang="ru-RU" sz="1100" dirty="0">
                    <a:solidFill>
                      <a:srgbClr val="777777"/>
                    </a:solidFill>
                    <a:latin typeface="Montserrat Medium" panose="00000600000000000000" pitchFamily="2" charset="-52"/>
                  </a:rPr>
                  <a:t> </a:t>
                </a:r>
                <a:r>
                  <a:rPr lang="ru-RU" sz="1100" dirty="0" err="1">
                    <a:solidFill>
                      <a:srgbClr val="777777"/>
                    </a:solidFill>
                    <a:latin typeface="Montserrat Medium" panose="00000600000000000000" pitchFamily="2" charset="-52"/>
                  </a:rPr>
                  <a:t>nails</a:t>
                </a:r>
                <a:r>
                  <a:rPr lang="ru-RU" sz="1100" dirty="0">
                    <a:solidFill>
                      <a:srgbClr val="777777"/>
                    </a:solidFill>
                    <a:latin typeface="Montserrat Medium" panose="00000600000000000000" pitchFamily="2" charset="-52"/>
                  </a:rPr>
                  <a:t>» </a:t>
                </a:r>
              </a:p>
            </p:txBody>
          </p:sp>
          <p:cxnSp>
            <p:nvCxnSpPr>
              <p:cNvPr id="5" name="Прямая соединительная линия 4"/>
              <p:cNvCxnSpPr/>
              <p:nvPr/>
            </p:nvCxnSpPr>
            <p:spPr>
              <a:xfrm>
                <a:off x="516918" y="2319058"/>
                <a:ext cx="11304000" cy="0"/>
              </a:xfrm>
              <a:prstGeom prst="line">
                <a:avLst/>
              </a:prstGeom>
              <a:ln w="12700" cap="rnd">
                <a:solidFill>
                  <a:srgbClr val="969696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7" name="Скругленный прямоугольник 206"/>
            <p:cNvSpPr/>
            <p:nvPr/>
          </p:nvSpPr>
          <p:spPr>
            <a:xfrm>
              <a:off x="452257" y="5850161"/>
              <a:ext cx="1800000" cy="573264"/>
            </a:xfrm>
            <a:prstGeom prst="roundRect">
              <a:avLst>
                <a:gd name="adj" fmla="val 15768"/>
              </a:avLst>
            </a:prstGeom>
            <a:noFill/>
            <a:ln w="12700">
              <a:solidFill>
                <a:srgbClr val="D8294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sp>
          <p:nvSpPr>
            <p:cNvPr id="208" name="Прямоугольник 207"/>
            <p:cNvSpPr/>
            <p:nvPr/>
          </p:nvSpPr>
          <p:spPr>
            <a:xfrm>
              <a:off x="1010974" y="5967515"/>
              <a:ext cx="1176584" cy="3385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ru-RU" sz="11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  <a:t>Удобное расположение</a:t>
              </a:r>
            </a:p>
          </p:txBody>
        </p:sp>
        <p:sp>
          <p:nvSpPr>
            <p:cNvPr id="210" name="Скругленный прямоугольник 209"/>
            <p:cNvSpPr/>
            <p:nvPr/>
          </p:nvSpPr>
          <p:spPr>
            <a:xfrm>
              <a:off x="495021" y="5918835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sp>
          <p:nvSpPr>
            <p:cNvPr id="281" name="Скругленный прямоугольник 280"/>
            <p:cNvSpPr/>
            <p:nvPr/>
          </p:nvSpPr>
          <p:spPr>
            <a:xfrm>
              <a:off x="2358899" y="5850161"/>
              <a:ext cx="1800000" cy="573264"/>
            </a:xfrm>
            <a:prstGeom prst="roundRect">
              <a:avLst>
                <a:gd name="adj" fmla="val 15768"/>
              </a:avLst>
            </a:prstGeom>
            <a:noFill/>
            <a:ln w="12700">
              <a:solidFill>
                <a:srgbClr val="D8294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sp>
          <p:nvSpPr>
            <p:cNvPr id="282" name="Прямоугольник 281"/>
            <p:cNvSpPr/>
            <p:nvPr/>
          </p:nvSpPr>
          <p:spPr>
            <a:xfrm>
              <a:off x="2917617" y="5967516"/>
              <a:ext cx="954578" cy="3385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ru-RU" sz="11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  <a:t>Наличие парковки</a:t>
              </a:r>
            </a:p>
          </p:txBody>
        </p:sp>
        <p:sp>
          <p:nvSpPr>
            <p:cNvPr id="284" name="Скругленный прямоугольник 283"/>
            <p:cNvSpPr/>
            <p:nvPr/>
          </p:nvSpPr>
          <p:spPr>
            <a:xfrm>
              <a:off x="2401663" y="5918835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sp>
          <p:nvSpPr>
            <p:cNvPr id="297" name="Скругленный прямоугольник 296"/>
            <p:cNvSpPr/>
            <p:nvPr/>
          </p:nvSpPr>
          <p:spPr>
            <a:xfrm>
              <a:off x="4265541" y="5850161"/>
              <a:ext cx="1800000" cy="573264"/>
            </a:xfrm>
            <a:prstGeom prst="roundRect">
              <a:avLst>
                <a:gd name="adj" fmla="val 15768"/>
              </a:avLst>
            </a:prstGeom>
            <a:noFill/>
            <a:ln w="12700">
              <a:solidFill>
                <a:srgbClr val="D8294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sp>
          <p:nvSpPr>
            <p:cNvPr id="298" name="Прямоугольник 297"/>
            <p:cNvSpPr/>
            <p:nvPr/>
          </p:nvSpPr>
          <p:spPr>
            <a:xfrm>
              <a:off x="4824259" y="5967516"/>
              <a:ext cx="954578" cy="3385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ru-RU" sz="11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  <a:t>Уютная атмосфера</a:t>
              </a:r>
            </a:p>
          </p:txBody>
        </p:sp>
        <p:sp>
          <p:nvSpPr>
            <p:cNvPr id="300" name="Скругленный прямоугольник 299"/>
            <p:cNvSpPr/>
            <p:nvPr/>
          </p:nvSpPr>
          <p:spPr>
            <a:xfrm>
              <a:off x="4308305" y="5918835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sp>
          <p:nvSpPr>
            <p:cNvPr id="313" name="Скругленный прямоугольник 312"/>
            <p:cNvSpPr/>
            <p:nvPr/>
          </p:nvSpPr>
          <p:spPr>
            <a:xfrm>
              <a:off x="6172183" y="5850161"/>
              <a:ext cx="1800000" cy="573264"/>
            </a:xfrm>
            <a:prstGeom prst="roundRect">
              <a:avLst>
                <a:gd name="adj" fmla="val 15768"/>
              </a:avLst>
            </a:prstGeom>
            <a:noFill/>
            <a:ln w="12700">
              <a:solidFill>
                <a:srgbClr val="D8294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sp>
          <p:nvSpPr>
            <p:cNvPr id="314" name="Прямоугольник 313"/>
            <p:cNvSpPr/>
            <p:nvPr/>
          </p:nvSpPr>
          <p:spPr>
            <a:xfrm>
              <a:off x="6730901" y="5967515"/>
              <a:ext cx="1061758" cy="3385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ru-RU" sz="11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  <a:t>Система абонементов </a:t>
              </a:r>
            </a:p>
          </p:txBody>
        </p:sp>
        <p:sp>
          <p:nvSpPr>
            <p:cNvPr id="316" name="Скругленный прямоугольник 315"/>
            <p:cNvSpPr/>
            <p:nvPr/>
          </p:nvSpPr>
          <p:spPr>
            <a:xfrm>
              <a:off x="6214947" y="5918835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sp>
          <p:nvSpPr>
            <p:cNvPr id="329" name="Скругленный прямоугольник 328"/>
            <p:cNvSpPr/>
            <p:nvPr/>
          </p:nvSpPr>
          <p:spPr>
            <a:xfrm>
              <a:off x="8078825" y="5850161"/>
              <a:ext cx="1800000" cy="573264"/>
            </a:xfrm>
            <a:prstGeom prst="roundRect">
              <a:avLst>
                <a:gd name="adj" fmla="val 15768"/>
              </a:avLst>
            </a:prstGeom>
            <a:noFill/>
            <a:ln w="12700">
              <a:solidFill>
                <a:srgbClr val="D8294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sp>
          <p:nvSpPr>
            <p:cNvPr id="330" name="Прямоугольник 329"/>
            <p:cNvSpPr/>
            <p:nvPr/>
          </p:nvSpPr>
          <p:spPr>
            <a:xfrm>
              <a:off x="8637542" y="5967515"/>
              <a:ext cx="1180413" cy="3385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ru-RU" sz="11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  <a:t>Удобный график работы</a:t>
              </a:r>
            </a:p>
          </p:txBody>
        </p:sp>
        <p:sp>
          <p:nvSpPr>
            <p:cNvPr id="332" name="Скругленный прямоугольник 331"/>
            <p:cNvSpPr/>
            <p:nvPr/>
          </p:nvSpPr>
          <p:spPr>
            <a:xfrm>
              <a:off x="8121589" y="5918835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sp>
          <p:nvSpPr>
            <p:cNvPr id="345" name="Скругленный прямоугольник 344"/>
            <p:cNvSpPr/>
            <p:nvPr/>
          </p:nvSpPr>
          <p:spPr>
            <a:xfrm>
              <a:off x="9985466" y="5850161"/>
              <a:ext cx="1800000" cy="573264"/>
            </a:xfrm>
            <a:prstGeom prst="roundRect">
              <a:avLst>
                <a:gd name="adj" fmla="val 15768"/>
              </a:avLst>
            </a:prstGeom>
            <a:noFill/>
            <a:ln w="12700">
              <a:solidFill>
                <a:srgbClr val="D8294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sp>
          <p:nvSpPr>
            <p:cNvPr id="346" name="Прямоугольник 345"/>
            <p:cNvSpPr/>
            <p:nvPr/>
          </p:nvSpPr>
          <p:spPr>
            <a:xfrm>
              <a:off x="10544184" y="5967516"/>
              <a:ext cx="954578" cy="3385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ru-RU" sz="11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  <a:t>Онлайн-платформа</a:t>
              </a:r>
            </a:p>
          </p:txBody>
        </p:sp>
        <p:sp>
          <p:nvSpPr>
            <p:cNvPr id="348" name="Скругленный прямоугольник 347"/>
            <p:cNvSpPr/>
            <p:nvPr/>
          </p:nvSpPr>
          <p:spPr>
            <a:xfrm>
              <a:off x="10028230" y="5918835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394" name="Group 5038">
              <a:extLst>
                <a:ext uri="{FF2B5EF4-FFF2-40B4-BE49-F238E27FC236}">
                  <a16:creationId xmlns:a16="http://schemas.microsoft.com/office/drawing/2014/main" id="{C5373023-3DB9-43DE-9DBD-CDB001E97110}"/>
                </a:ext>
              </a:extLst>
            </p:cNvPr>
            <p:cNvGrpSpPr/>
            <p:nvPr/>
          </p:nvGrpSpPr>
          <p:grpSpPr>
            <a:xfrm>
              <a:off x="556222" y="5973675"/>
              <a:ext cx="330285" cy="326240"/>
              <a:chOff x="7857589" y="5324733"/>
              <a:chExt cx="466725" cy="461009"/>
            </a:xfrm>
          </p:grpSpPr>
          <p:sp>
            <p:nvSpPr>
              <p:cNvPr id="395" name="Freeform: Shape 5006">
                <a:extLst>
                  <a:ext uri="{FF2B5EF4-FFF2-40B4-BE49-F238E27FC236}">
                    <a16:creationId xmlns:a16="http://schemas.microsoft.com/office/drawing/2014/main" id="{72461829-EA8C-4BE2-9920-8535F0D8F9FE}"/>
                  </a:ext>
                </a:extLst>
              </p:cNvPr>
              <p:cNvSpPr/>
              <p:nvPr/>
            </p:nvSpPr>
            <p:spPr>
              <a:xfrm>
                <a:off x="7857589" y="5509517"/>
                <a:ext cx="466725" cy="171450"/>
              </a:xfrm>
              <a:custGeom>
                <a:avLst/>
                <a:gdLst>
                  <a:gd name="connsiteX0" fmla="*/ 13395 w 466725"/>
                  <a:gd name="connsiteY0" fmla="*/ 165795 h 171450"/>
                  <a:gd name="connsiteX1" fmla="*/ 164842 w 466725"/>
                  <a:gd name="connsiteY1" fmla="*/ 165795 h 171450"/>
                  <a:gd name="connsiteX2" fmla="*/ 344864 w 466725"/>
                  <a:gd name="connsiteY2" fmla="*/ 13395 h 171450"/>
                  <a:gd name="connsiteX3" fmla="*/ 460117 w 466725"/>
                  <a:gd name="connsiteY3" fmla="*/ 13395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6725" h="171450">
                    <a:moveTo>
                      <a:pt x="13395" y="165795"/>
                    </a:moveTo>
                    <a:lnTo>
                      <a:pt x="164842" y="165795"/>
                    </a:lnTo>
                    <a:lnTo>
                      <a:pt x="344864" y="13395"/>
                    </a:lnTo>
                    <a:lnTo>
                      <a:pt x="460117" y="13395"/>
                    </a:ln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6" name="Freeform: Shape 5007">
                <a:extLst>
                  <a:ext uri="{FF2B5EF4-FFF2-40B4-BE49-F238E27FC236}">
                    <a16:creationId xmlns:a16="http://schemas.microsoft.com/office/drawing/2014/main" id="{D24158F1-CC86-4601-BDDE-809950C790DF}"/>
                  </a:ext>
                </a:extLst>
              </p:cNvPr>
              <p:cNvSpPr/>
              <p:nvPr/>
            </p:nvSpPr>
            <p:spPr>
              <a:xfrm>
                <a:off x="7895689" y="5393312"/>
                <a:ext cx="19050" cy="295275"/>
              </a:xfrm>
              <a:custGeom>
                <a:avLst/>
                <a:gdLst>
                  <a:gd name="connsiteX0" fmla="*/ 13395 w 19050"/>
                  <a:gd name="connsiteY0" fmla="*/ 13394 h 295275"/>
                  <a:gd name="connsiteX1" fmla="*/ 13395 w 19050"/>
                  <a:gd name="connsiteY1" fmla="*/ 28200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50" h="295275">
                    <a:moveTo>
                      <a:pt x="13395" y="13394"/>
                    </a:moveTo>
                    <a:lnTo>
                      <a:pt x="13395" y="282000"/>
                    </a:lnTo>
                  </a:path>
                </a:pathLst>
              </a:custGeom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7" name="Freeform: Shape 5008">
                <a:extLst>
                  <a:ext uri="{FF2B5EF4-FFF2-40B4-BE49-F238E27FC236}">
                    <a16:creationId xmlns:a16="http://schemas.microsoft.com/office/drawing/2014/main" id="{E3914933-5CEF-485F-BE10-20ABAD3ECA0F}"/>
                  </a:ext>
                </a:extLst>
              </p:cNvPr>
              <p:cNvSpPr/>
              <p:nvPr/>
            </p:nvSpPr>
            <p:spPr>
              <a:xfrm>
                <a:off x="8162389" y="5393312"/>
                <a:ext cx="104775" cy="142875"/>
              </a:xfrm>
              <a:custGeom>
                <a:avLst/>
                <a:gdLst>
                  <a:gd name="connsiteX0" fmla="*/ 99120 w 104775"/>
                  <a:gd name="connsiteY0" fmla="*/ 129600 h 142875"/>
                  <a:gd name="connsiteX1" fmla="*/ 99120 w 104775"/>
                  <a:gd name="connsiteY1" fmla="*/ 13395 h 142875"/>
                  <a:gd name="connsiteX2" fmla="*/ 13395 w 104775"/>
                  <a:gd name="connsiteY2" fmla="*/ 13395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142875">
                    <a:moveTo>
                      <a:pt x="99120" y="129600"/>
                    </a:moveTo>
                    <a:lnTo>
                      <a:pt x="99120" y="13395"/>
                    </a:lnTo>
                    <a:lnTo>
                      <a:pt x="13395" y="13395"/>
                    </a:ln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8" name="Freeform: Shape 5009">
                <a:extLst>
                  <a:ext uri="{FF2B5EF4-FFF2-40B4-BE49-F238E27FC236}">
                    <a16:creationId xmlns:a16="http://schemas.microsoft.com/office/drawing/2014/main" id="{1475387C-44DA-49B9-BB12-99D5115E2F98}"/>
                  </a:ext>
                </a:extLst>
              </p:cNvPr>
              <p:cNvSpPr/>
              <p:nvPr/>
            </p:nvSpPr>
            <p:spPr>
              <a:xfrm>
                <a:off x="7857589" y="5393312"/>
                <a:ext cx="85725" cy="19050"/>
              </a:xfrm>
              <a:custGeom>
                <a:avLst/>
                <a:gdLst>
                  <a:gd name="connsiteX0" fmla="*/ 76260 w 85725"/>
                  <a:gd name="connsiteY0" fmla="*/ 13394 h 19050"/>
                  <a:gd name="connsiteX1" fmla="*/ 13395 w 85725"/>
                  <a:gd name="connsiteY1" fmla="*/ 13394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725" h="19050">
                    <a:moveTo>
                      <a:pt x="76260" y="13394"/>
                    </a:moveTo>
                    <a:lnTo>
                      <a:pt x="13395" y="13394"/>
                    </a:lnTo>
                  </a:path>
                </a:pathLst>
              </a:custGeom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9" name="Freeform: Shape 5010">
                <a:extLst>
                  <a:ext uri="{FF2B5EF4-FFF2-40B4-BE49-F238E27FC236}">
                    <a16:creationId xmlns:a16="http://schemas.microsoft.com/office/drawing/2014/main" id="{9FF42F8E-E07A-4C9B-9CE1-2C41DE062CEC}"/>
                  </a:ext>
                </a:extLst>
              </p:cNvPr>
              <p:cNvSpPr/>
              <p:nvPr/>
            </p:nvSpPr>
            <p:spPr>
              <a:xfrm>
                <a:off x="8248114" y="5393312"/>
                <a:ext cx="76200" cy="19050"/>
              </a:xfrm>
              <a:custGeom>
                <a:avLst/>
                <a:gdLst>
                  <a:gd name="connsiteX0" fmla="*/ 13395 w 76200"/>
                  <a:gd name="connsiteY0" fmla="*/ 13394 h 19050"/>
                  <a:gd name="connsiteX1" fmla="*/ 69592 w 76200"/>
                  <a:gd name="connsiteY1" fmla="*/ 13394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200" h="19050">
                    <a:moveTo>
                      <a:pt x="13395" y="13394"/>
                    </a:moveTo>
                    <a:lnTo>
                      <a:pt x="69592" y="13394"/>
                    </a:lnTo>
                  </a:path>
                </a:pathLst>
              </a:custGeom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0" name="Freeform: Shape 5011">
                <a:extLst>
                  <a:ext uri="{FF2B5EF4-FFF2-40B4-BE49-F238E27FC236}">
                    <a16:creationId xmlns:a16="http://schemas.microsoft.com/office/drawing/2014/main" id="{B91D5F01-8292-4FB1-9863-C837C9C030DC}"/>
                  </a:ext>
                </a:extLst>
              </p:cNvPr>
              <p:cNvSpPr/>
              <p:nvPr/>
            </p:nvSpPr>
            <p:spPr>
              <a:xfrm>
                <a:off x="7857589" y="5757167"/>
                <a:ext cx="466725" cy="19050"/>
              </a:xfrm>
              <a:custGeom>
                <a:avLst/>
                <a:gdLst>
                  <a:gd name="connsiteX0" fmla="*/ 13395 w 466725"/>
                  <a:gd name="connsiteY0" fmla="*/ 13395 h 19050"/>
                  <a:gd name="connsiteX1" fmla="*/ 460117 w 466725"/>
                  <a:gd name="connsiteY1" fmla="*/ 13395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6725" h="19050">
                    <a:moveTo>
                      <a:pt x="13395" y="13395"/>
                    </a:moveTo>
                    <a:lnTo>
                      <a:pt x="460117" y="13395"/>
                    </a:lnTo>
                  </a:path>
                </a:pathLst>
              </a:custGeom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1" name="Freeform: Shape 5012">
                <a:extLst>
                  <a:ext uri="{FF2B5EF4-FFF2-40B4-BE49-F238E27FC236}">
                    <a16:creationId xmlns:a16="http://schemas.microsoft.com/office/drawing/2014/main" id="{BDC8B3BC-4CA3-441B-9FF0-309B779069FD}"/>
                  </a:ext>
                </a:extLst>
              </p:cNvPr>
              <p:cNvSpPr/>
              <p:nvPr/>
            </p:nvSpPr>
            <p:spPr>
              <a:xfrm>
                <a:off x="8189059" y="5509517"/>
                <a:ext cx="19050" cy="266700"/>
              </a:xfrm>
              <a:custGeom>
                <a:avLst/>
                <a:gdLst>
                  <a:gd name="connsiteX0" fmla="*/ 13394 w 19050"/>
                  <a:gd name="connsiteY0" fmla="*/ 13395 h 266700"/>
                  <a:gd name="connsiteX1" fmla="*/ 13394 w 19050"/>
                  <a:gd name="connsiteY1" fmla="*/ 261045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50" h="266700">
                    <a:moveTo>
                      <a:pt x="13394" y="13395"/>
                    </a:moveTo>
                    <a:lnTo>
                      <a:pt x="13394" y="261045"/>
                    </a:lnTo>
                  </a:path>
                </a:pathLst>
              </a:custGeom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2" name="Freeform: Shape 5013">
                <a:extLst>
                  <a:ext uri="{FF2B5EF4-FFF2-40B4-BE49-F238E27FC236}">
                    <a16:creationId xmlns:a16="http://schemas.microsoft.com/office/drawing/2014/main" id="{098A5D9E-97F5-4C72-9484-E43CF1BED037}"/>
                  </a:ext>
                </a:extLst>
              </p:cNvPr>
              <p:cNvSpPr/>
              <p:nvPr/>
            </p:nvSpPr>
            <p:spPr>
              <a:xfrm>
                <a:off x="8009036" y="5661917"/>
                <a:ext cx="47625" cy="123825"/>
              </a:xfrm>
              <a:custGeom>
                <a:avLst/>
                <a:gdLst>
                  <a:gd name="connsiteX0" fmla="*/ 13395 w 47625"/>
                  <a:gd name="connsiteY0" fmla="*/ 13395 h 123825"/>
                  <a:gd name="connsiteX1" fmla="*/ 42922 w 47625"/>
                  <a:gd name="connsiteY1" fmla="*/ 112455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5" h="123825">
                    <a:moveTo>
                      <a:pt x="13395" y="13395"/>
                    </a:moveTo>
                    <a:lnTo>
                      <a:pt x="42922" y="112455"/>
                    </a:lnTo>
                  </a:path>
                </a:pathLst>
              </a:custGeom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3" name="Freeform: Shape 5014">
                <a:extLst>
                  <a:ext uri="{FF2B5EF4-FFF2-40B4-BE49-F238E27FC236}">
                    <a16:creationId xmlns:a16="http://schemas.microsoft.com/office/drawing/2014/main" id="{E1F8E02A-08B7-4CAE-AACB-61AA139D77BD}"/>
                  </a:ext>
                </a:extLst>
              </p:cNvPr>
              <p:cNvSpPr/>
              <p:nvPr/>
            </p:nvSpPr>
            <p:spPr>
              <a:xfrm>
                <a:off x="8189059" y="5645725"/>
                <a:ext cx="133350" cy="19050"/>
              </a:xfrm>
              <a:custGeom>
                <a:avLst/>
                <a:gdLst>
                  <a:gd name="connsiteX0" fmla="*/ 13394 w 133350"/>
                  <a:gd name="connsiteY0" fmla="*/ 13394 h 19050"/>
                  <a:gd name="connsiteX1" fmla="*/ 128647 w 133350"/>
                  <a:gd name="connsiteY1" fmla="*/ 13394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3350" h="19050">
                    <a:moveTo>
                      <a:pt x="13394" y="13394"/>
                    </a:moveTo>
                    <a:lnTo>
                      <a:pt x="128647" y="13394"/>
                    </a:lnTo>
                  </a:path>
                </a:pathLst>
              </a:custGeom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4" name="Freeform: Shape 5015">
                <a:extLst>
                  <a:ext uri="{FF2B5EF4-FFF2-40B4-BE49-F238E27FC236}">
                    <a16:creationId xmlns:a16="http://schemas.microsoft.com/office/drawing/2014/main" id="{17310763-3FFF-46C5-98E2-B57485B5A0BA}"/>
                  </a:ext>
                </a:extLst>
              </p:cNvPr>
              <p:cNvSpPr/>
              <p:nvPr/>
            </p:nvSpPr>
            <p:spPr>
              <a:xfrm>
                <a:off x="7942361" y="5324733"/>
                <a:ext cx="219075" cy="276225"/>
              </a:xfrm>
              <a:custGeom>
                <a:avLst/>
                <a:gdLst>
                  <a:gd name="connsiteX0" fmla="*/ 121979 w 219075"/>
                  <a:gd name="connsiteY0" fmla="*/ 258187 h 276225"/>
                  <a:gd name="connsiteX1" fmla="*/ 191512 w 219075"/>
                  <a:gd name="connsiteY1" fmla="*/ 160079 h 276225"/>
                  <a:gd name="connsiteX2" fmla="*/ 205800 w 219075"/>
                  <a:gd name="connsiteY2" fmla="*/ 109597 h 276225"/>
                  <a:gd name="connsiteX3" fmla="*/ 109597 w 219075"/>
                  <a:gd name="connsiteY3" fmla="*/ 13395 h 276225"/>
                  <a:gd name="connsiteX4" fmla="*/ 13395 w 219075"/>
                  <a:gd name="connsiteY4" fmla="*/ 109597 h 276225"/>
                  <a:gd name="connsiteX5" fmla="*/ 27682 w 219075"/>
                  <a:gd name="connsiteY5" fmla="*/ 160079 h 276225"/>
                  <a:gd name="connsiteX6" fmla="*/ 97214 w 219075"/>
                  <a:gd name="connsiteY6" fmla="*/ 258187 h 276225"/>
                  <a:gd name="connsiteX7" fmla="*/ 121979 w 219075"/>
                  <a:gd name="connsiteY7" fmla="*/ 258187 h 276225"/>
                  <a:gd name="connsiteX8" fmla="*/ 121979 w 219075"/>
                  <a:gd name="connsiteY8" fmla="*/ 258187 h 276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9075" h="276225">
                    <a:moveTo>
                      <a:pt x="121979" y="258187"/>
                    </a:moveTo>
                    <a:lnTo>
                      <a:pt x="191512" y="160079"/>
                    </a:lnTo>
                    <a:cubicBezTo>
                      <a:pt x="200085" y="145792"/>
                      <a:pt x="205800" y="127695"/>
                      <a:pt x="205800" y="109597"/>
                    </a:cubicBezTo>
                    <a:cubicBezTo>
                      <a:pt x="205800" y="56257"/>
                      <a:pt x="162937" y="13395"/>
                      <a:pt x="109597" y="13395"/>
                    </a:cubicBezTo>
                    <a:cubicBezTo>
                      <a:pt x="56257" y="13395"/>
                      <a:pt x="13395" y="56257"/>
                      <a:pt x="13395" y="109597"/>
                    </a:cubicBezTo>
                    <a:cubicBezTo>
                      <a:pt x="13395" y="127695"/>
                      <a:pt x="18157" y="145792"/>
                      <a:pt x="27682" y="160079"/>
                    </a:cubicBezTo>
                    <a:lnTo>
                      <a:pt x="97214" y="258187"/>
                    </a:lnTo>
                    <a:cubicBezTo>
                      <a:pt x="105787" y="271522"/>
                      <a:pt x="114360" y="270570"/>
                      <a:pt x="121979" y="258187"/>
                    </a:cubicBezTo>
                    <a:lnTo>
                      <a:pt x="121979" y="258187"/>
                    </a:ln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5" name="Freeform: Shape 5016">
                <a:extLst>
                  <a:ext uri="{FF2B5EF4-FFF2-40B4-BE49-F238E27FC236}">
                    <a16:creationId xmlns:a16="http://schemas.microsoft.com/office/drawing/2014/main" id="{FFEEFB42-DBE6-47F6-BC0C-19B3BDAEBA8C}"/>
                  </a:ext>
                </a:extLst>
              </p:cNvPr>
              <p:cNvSpPr/>
              <p:nvPr/>
            </p:nvSpPr>
            <p:spPr>
              <a:xfrm>
                <a:off x="7997572" y="5379025"/>
                <a:ext cx="104775" cy="104775"/>
              </a:xfrm>
              <a:custGeom>
                <a:avLst/>
                <a:gdLst>
                  <a:gd name="connsiteX0" fmla="*/ 55339 w 104775"/>
                  <a:gd name="connsiteY0" fmla="*/ 13395 h 104775"/>
                  <a:gd name="connsiteX1" fmla="*/ 97249 w 104775"/>
                  <a:gd name="connsiteY1" fmla="*/ 55305 h 104775"/>
                  <a:gd name="connsiteX2" fmla="*/ 55339 w 104775"/>
                  <a:gd name="connsiteY2" fmla="*/ 97215 h 104775"/>
                  <a:gd name="connsiteX3" fmla="*/ 13429 w 104775"/>
                  <a:gd name="connsiteY3" fmla="*/ 55305 h 104775"/>
                  <a:gd name="connsiteX4" fmla="*/ 55339 w 104775"/>
                  <a:gd name="connsiteY4" fmla="*/ 1339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775" h="104775">
                    <a:moveTo>
                      <a:pt x="55339" y="13395"/>
                    </a:moveTo>
                    <a:cubicBezTo>
                      <a:pt x="78199" y="13395"/>
                      <a:pt x="97249" y="32445"/>
                      <a:pt x="97249" y="55305"/>
                    </a:cubicBezTo>
                    <a:cubicBezTo>
                      <a:pt x="97249" y="78165"/>
                      <a:pt x="78199" y="97215"/>
                      <a:pt x="55339" y="97215"/>
                    </a:cubicBezTo>
                    <a:cubicBezTo>
                      <a:pt x="32479" y="97215"/>
                      <a:pt x="13429" y="78165"/>
                      <a:pt x="13429" y="55305"/>
                    </a:cubicBezTo>
                    <a:cubicBezTo>
                      <a:pt x="12476" y="32445"/>
                      <a:pt x="31526" y="13395"/>
                      <a:pt x="55339" y="13395"/>
                    </a:cubicBez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406" name="Group 5058">
              <a:extLst>
                <a:ext uri="{FF2B5EF4-FFF2-40B4-BE49-F238E27FC236}">
                  <a16:creationId xmlns:a16="http://schemas.microsoft.com/office/drawing/2014/main" id="{CEF92038-B944-4E43-893C-1636D203BBF7}"/>
                </a:ext>
              </a:extLst>
            </p:cNvPr>
            <p:cNvGrpSpPr/>
            <p:nvPr/>
          </p:nvGrpSpPr>
          <p:grpSpPr>
            <a:xfrm>
              <a:off x="2456024" y="5976601"/>
              <a:ext cx="343964" cy="320388"/>
              <a:chOff x="5641121" y="3924558"/>
              <a:chExt cx="582744" cy="542801"/>
            </a:xfrm>
          </p:grpSpPr>
          <p:sp>
            <p:nvSpPr>
              <p:cNvPr id="407" name="Freeform: Shape 4854">
                <a:extLst>
                  <a:ext uri="{FF2B5EF4-FFF2-40B4-BE49-F238E27FC236}">
                    <a16:creationId xmlns:a16="http://schemas.microsoft.com/office/drawing/2014/main" id="{FDE567FB-E74A-49C4-A6C8-D7086B91B9E3}"/>
                  </a:ext>
                </a:extLst>
              </p:cNvPr>
              <p:cNvSpPr/>
              <p:nvPr/>
            </p:nvSpPr>
            <p:spPr>
              <a:xfrm>
                <a:off x="5884961" y="4307462"/>
                <a:ext cx="66675" cy="66675"/>
              </a:xfrm>
              <a:custGeom>
                <a:avLst/>
                <a:gdLst>
                  <a:gd name="connsiteX0" fmla="*/ 36254 w 66675"/>
                  <a:gd name="connsiteY0" fmla="*/ 13395 h 66675"/>
                  <a:gd name="connsiteX1" fmla="*/ 59115 w 66675"/>
                  <a:gd name="connsiteY1" fmla="*/ 36255 h 66675"/>
                  <a:gd name="connsiteX2" fmla="*/ 36254 w 66675"/>
                  <a:gd name="connsiteY2" fmla="*/ 59115 h 66675"/>
                  <a:gd name="connsiteX3" fmla="*/ 13395 w 66675"/>
                  <a:gd name="connsiteY3" fmla="*/ 36255 h 66675"/>
                  <a:gd name="connsiteX4" fmla="*/ 36254 w 66675"/>
                  <a:gd name="connsiteY4" fmla="*/ 13395 h 66675"/>
                  <a:gd name="connsiteX5" fmla="*/ 36254 w 66675"/>
                  <a:gd name="connsiteY5" fmla="*/ 1339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675" h="66675">
                    <a:moveTo>
                      <a:pt x="36254" y="13395"/>
                    </a:moveTo>
                    <a:cubicBezTo>
                      <a:pt x="48637" y="13395"/>
                      <a:pt x="59115" y="23872"/>
                      <a:pt x="59115" y="36255"/>
                    </a:cubicBezTo>
                    <a:cubicBezTo>
                      <a:pt x="59115" y="48637"/>
                      <a:pt x="48637" y="59115"/>
                      <a:pt x="36254" y="59115"/>
                    </a:cubicBezTo>
                    <a:cubicBezTo>
                      <a:pt x="23872" y="59115"/>
                      <a:pt x="13395" y="48637"/>
                      <a:pt x="13395" y="36255"/>
                    </a:cubicBezTo>
                    <a:cubicBezTo>
                      <a:pt x="13395" y="23872"/>
                      <a:pt x="23872" y="13395"/>
                      <a:pt x="36254" y="13395"/>
                    </a:cubicBezTo>
                    <a:lnTo>
                      <a:pt x="36254" y="13395"/>
                    </a:ln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8" name="Freeform: Shape 4855">
                <a:extLst>
                  <a:ext uri="{FF2B5EF4-FFF2-40B4-BE49-F238E27FC236}">
                    <a16:creationId xmlns:a16="http://schemas.microsoft.com/office/drawing/2014/main" id="{6D6F9867-7F40-4420-8E67-3B1DD8C2CA4A}"/>
                  </a:ext>
                </a:extLst>
              </p:cNvPr>
              <p:cNvSpPr/>
              <p:nvPr/>
            </p:nvSpPr>
            <p:spPr>
              <a:xfrm>
                <a:off x="6101179" y="4307462"/>
                <a:ext cx="66675" cy="66675"/>
              </a:xfrm>
              <a:custGeom>
                <a:avLst/>
                <a:gdLst>
                  <a:gd name="connsiteX0" fmla="*/ 36254 w 66675"/>
                  <a:gd name="connsiteY0" fmla="*/ 13395 h 66675"/>
                  <a:gd name="connsiteX1" fmla="*/ 13395 w 66675"/>
                  <a:gd name="connsiteY1" fmla="*/ 36255 h 66675"/>
                  <a:gd name="connsiteX2" fmla="*/ 36254 w 66675"/>
                  <a:gd name="connsiteY2" fmla="*/ 59115 h 66675"/>
                  <a:gd name="connsiteX3" fmla="*/ 59114 w 66675"/>
                  <a:gd name="connsiteY3" fmla="*/ 36255 h 66675"/>
                  <a:gd name="connsiteX4" fmla="*/ 36254 w 66675"/>
                  <a:gd name="connsiteY4" fmla="*/ 13395 h 66675"/>
                  <a:gd name="connsiteX5" fmla="*/ 36254 w 66675"/>
                  <a:gd name="connsiteY5" fmla="*/ 1339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675" h="66675">
                    <a:moveTo>
                      <a:pt x="36254" y="13395"/>
                    </a:moveTo>
                    <a:cubicBezTo>
                      <a:pt x="23872" y="13395"/>
                      <a:pt x="13395" y="23872"/>
                      <a:pt x="13395" y="36255"/>
                    </a:cubicBezTo>
                    <a:cubicBezTo>
                      <a:pt x="13395" y="48637"/>
                      <a:pt x="23872" y="59115"/>
                      <a:pt x="36254" y="59115"/>
                    </a:cubicBezTo>
                    <a:cubicBezTo>
                      <a:pt x="48637" y="59115"/>
                      <a:pt x="59114" y="48637"/>
                      <a:pt x="59114" y="36255"/>
                    </a:cubicBezTo>
                    <a:cubicBezTo>
                      <a:pt x="59114" y="23872"/>
                      <a:pt x="49589" y="13395"/>
                      <a:pt x="36254" y="13395"/>
                    </a:cubicBezTo>
                    <a:lnTo>
                      <a:pt x="36254" y="13395"/>
                    </a:ln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9" name="Freeform: Shape 4856">
                <a:extLst>
                  <a:ext uri="{FF2B5EF4-FFF2-40B4-BE49-F238E27FC236}">
                    <a16:creationId xmlns:a16="http://schemas.microsoft.com/office/drawing/2014/main" id="{E6675C19-DF48-495B-B248-CE031F61AE8A}"/>
                  </a:ext>
                </a:extLst>
              </p:cNvPr>
              <p:cNvSpPr/>
              <p:nvPr/>
            </p:nvSpPr>
            <p:spPr>
              <a:xfrm>
                <a:off x="5833340" y="4181609"/>
                <a:ext cx="390525" cy="285750"/>
              </a:xfrm>
              <a:custGeom>
                <a:avLst/>
                <a:gdLst>
                  <a:gd name="connsiteX0" fmla="*/ 104069 w 390525"/>
                  <a:gd name="connsiteY0" fmla="*/ 242118 h 285750"/>
                  <a:gd name="connsiteX1" fmla="*/ 104069 w 390525"/>
                  <a:gd name="connsiteY1" fmla="*/ 270693 h 285750"/>
                  <a:gd name="connsiteX2" fmla="*/ 100259 w 390525"/>
                  <a:gd name="connsiteY2" fmla="*/ 275456 h 285750"/>
                  <a:gd name="connsiteX3" fmla="*/ 45014 w 390525"/>
                  <a:gd name="connsiteY3" fmla="*/ 275456 h 285750"/>
                  <a:gd name="connsiteX4" fmla="*/ 40251 w 390525"/>
                  <a:gd name="connsiteY4" fmla="*/ 270693 h 285750"/>
                  <a:gd name="connsiteX5" fmla="*/ 40251 w 390525"/>
                  <a:gd name="connsiteY5" fmla="*/ 231641 h 285750"/>
                  <a:gd name="connsiteX6" fmla="*/ 34536 w 390525"/>
                  <a:gd name="connsiteY6" fmla="*/ 229736 h 285750"/>
                  <a:gd name="connsiteX7" fmla="*/ 34536 w 390525"/>
                  <a:gd name="connsiteY7" fmla="*/ 135438 h 285750"/>
                  <a:gd name="connsiteX8" fmla="*/ 38346 w 390525"/>
                  <a:gd name="connsiteY8" fmla="*/ 120198 h 285750"/>
                  <a:gd name="connsiteX9" fmla="*/ 18344 w 390525"/>
                  <a:gd name="connsiteY9" fmla="*/ 116388 h 285750"/>
                  <a:gd name="connsiteX10" fmla="*/ 13581 w 390525"/>
                  <a:gd name="connsiteY10" fmla="*/ 109721 h 285750"/>
                  <a:gd name="connsiteX11" fmla="*/ 16439 w 390525"/>
                  <a:gd name="connsiteY11" fmla="*/ 91623 h 285750"/>
                  <a:gd name="connsiteX12" fmla="*/ 24059 w 390525"/>
                  <a:gd name="connsiteY12" fmla="*/ 85909 h 285750"/>
                  <a:gd name="connsiteX13" fmla="*/ 49776 w 390525"/>
                  <a:gd name="connsiteY13" fmla="*/ 84956 h 285750"/>
                  <a:gd name="connsiteX14" fmla="*/ 67874 w 390525"/>
                  <a:gd name="connsiteY14" fmla="*/ 29711 h 285750"/>
                  <a:gd name="connsiteX15" fmla="*/ 81209 w 390525"/>
                  <a:gd name="connsiteY15" fmla="*/ 20186 h 285750"/>
                  <a:gd name="connsiteX16" fmla="*/ 314571 w 390525"/>
                  <a:gd name="connsiteY16" fmla="*/ 20186 h 285750"/>
                  <a:gd name="connsiteX17" fmla="*/ 327906 w 390525"/>
                  <a:gd name="connsiteY17" fmla="*/ 29711 h 285750"/>
                  <a:gd name="connsiteX18" fmla="*/ 346004 w 390525"/>
                  <a:gd name="connsiteY18" fmla="*/ 84956 h 285750"/>
                  <a:gd name="connsiteX19" fmla="*/ 371721 w 390525"/>
                  <a:gd name="connsiteY19" fmla="*/ 85909 h 285750"/>
                  <a:gd name="connsiteX20" fmla="*/ 379341 w 390525"/>
                  <a:gd name="connsiteY20" fmla="*/ 91623 h 285750"/>
                  <a:gd name="connsiteX21" fmla="*/ 382199 w 390525"/>
                  <a:gd name="connsiteY21" fmla="*/ 109721 h 285750"/>
                  <a:gd name="connsiteX22" fmla="*/ 377436 w 390525"/>
                  <a:gd name="connsiteY22" fmla="*/ 116388 h 285750"/>
                  <a:gd name="connsiteX23" fmla="*/ 357434 w 390525"/>
                  <a:gd name="connsiteY23" fmla="*/ 120198 h 285750"/>
                  <a:gd name="connsiteX24" fmla="*/ 361244 w 390525"/>
                  <a:gd name="connsiteY24" fmla="*/ 135438 h 285750"/>
                  <a:gd name="connsiteX25" fmla="*/ 361244 w 390525"/>
                  <a:gd name="connsiteY25" fmla="*/ 229736 h 285750"/>
                  <a:gd name="connsiteX26" fmla="*/ 355529 w 390525"/>
                  <a:gd name="connsiteY26" fmla="*/ 231641 h 285750"/>
                  <a:gd name="connsiteX27" fmla="*/ 355529 w 390525"/>
                  <a:gd name="connsiteY27" fmla="*/ 270693 h 285750"/>
                  <a:gd name="connsiteX28" fmla="*/ 350766 w 390525"/>
                  <a:gd name="connsiteY28" fmla="*/ 275456 h 285750"/>
                  <a:gd name="connsiteX29" fmla="*/ 295521 w 390525"/>
                  <a:gd name="connsiteY29" fmla="*/ 275456 h 285750"/>
                  <a:gd name="connsiteX30" fmla="*/ 291711 w 390525"/>
                  <a:gd name="connsiteY30" fmla="*/ 270693 h 285750"/>
                  <a:gd name="connsiteX31" fmla="*/ 291711 w 390525"/>
                  <a:gd name="connsiteY31" fmla="*/ 242118 h 285750"/>
                  <a:gd name="connsiteX32" fmla="*/ 104069 w 390525"/>
                  <a:gd name="connsiteY32" fmla="*/ 242118 h 285750"/>
                  <a:gd name="connsiteX33" fmla="*/ 104069 w 390525"/>
                  <a:gd name="connsiteY33" fmla="*/ 242118 h 28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390525" h="285750">
                    <a:moveTo>
                      <a:pt x="104069" y="242118"/>
                    </a:moveTo>
                    <a:lnTo>
                      <a:pt x="104069" y="270693"/>
                    </a:lnTo>
                    <a:cubicBezTo>
                      <a:pt x="104069" y="273551"/>
                      <a:pt x="103116" y="275456"/>
                      <a:pt x="100259" y="275456"/>
                    </a:cubicBezTo>
                    <a:lnTo>
                      <a:pt x="45014" y="275456"/>
                    </a:lnTo>
                    <a:cubicBezTo>
                      <a:pt x="42156" y="275456"/>
                      <a:pt x="40251" y="273551"/>
                      <a:pt x="40251" y="270693"/>
                    </a:cubicBezTo>
                    <a:lnTo>
                      <a:pt x="40251" y="231641"/>
                    </a:lnTo>
                    <a:lnTo>
                      <a:pt x="34536" y="229736"/>
                    </a:lnTo>
                    <a:lnTo>
                      <a:pt x="34536" y="135438"/>
                    </a:lnTo>
                    <a:lnTo>
                      <a:pt x="38346" y="120198"/>
                    </a:lnTo>
                    <a:lnTo>
                      <a:pt x="18344" y="116388"/>
                    </a:lnTo>
                    <a:cubicBezTo>
                      <a:pt x="15486" y="115436"/>
                      <a:pt x="12629" y="114484"/>
                      <a:pt x="13581" y="109721"/>
                    </a:cubicBezTo>
                    <a:lnTo>
                      <a:pt x="16439" y="91623"/>
                    </a:lnTo>
                    <a:cubicBezTo>
                      <a:pt x="17391" y="87813"/>
                      <a:pt x="20249" y="86861"/>
                      <a:pt x="24059" y="85909"/>
                    </a:cubicBezTo>
                    <a:lnTo>
                      <a:pt x="49776" y="84956"/>
                    </a:lnTo>
                    <a:lnTo>
                      <a:pt x="67874" y="29711"/>
                    </a:lnTo>
                    <a:cubicBezTo>
                      <a:pt x="69779" y="23996"/>
                      <a:pt x="75494" y="20186"/>
                      <a:pt x="81209" y="20186"/>
                    </a:cubicBezTo>
                    <a:cubicBezTo>
                      <a:pt x="159314" y="10661"/>
                      <a:pt x="237419" y="11613"/>
                      <a:pt x="314571" y="20186"/>
                    </a:cubicBezTo>
                    <a:cubicBezTo>
                      <a:pt x="320286" y="20186"/>
                      <a:pt x="326001" y="23043"/>
                      <a:pt x="327906" y="29711"/>
                    </a:cubicBezTo>
                    <a:lnTo>
                      <a:pt x="346004" y="84956"/>
                    </a:lnTo>
                    <a:lnTo>
                      <a:pt x="371721" y="85909"/>
                    </a:lnTo>
                    <a:cubicBezTo>
                      <a:pt x="375531" y="85909"/>
                      <a:pt x="378389" y="87813"/>
                      <a:pt x="379341" y="91623"/>
                    </a:cubicBezTo>
                    <a:lnTo>
                      <a:pt x="382199" y="109721"/>
                    </a:lnTo>
                    <a:cubicBezTo>
                      <a:pt x="383151" y="114484"/>
                      <a:pt x="380294" y="115436"/>
                      <a:pt x="377436" y="116388"/>
                    </a:cubicBezTo>
                    <a:lnTo>
                      <a:pt x="357434" y="120198"/>
                    </a:lnTo>
                    <a:lnTo>
                      <a:pt x="361244" y="135438"/>
                    </a:lnTo>
                    <a:lnTo>
                      <a:pt x="361244" y="229736"/>
                    </a:lnTo>
                    <a:lnTo>
                      <a:pt x="355529" y="231641"/>
                    </a:lnTo>
                    <a:lnTo>
                      <a:pt x="355529" y="270693"/>
                    </a:lnTo>
                    <a:cubicBezTo>
                      <a:pt x="355529" y="273551"/>
                      <a:pt x="353624" y="275456"/>
                      <a:pt x="350766" y="275456"/>
                    </a:cubicBezTo>
                    <a:lnTo>
                      <a:pt x="295521" y="275456"/>
                    </a:lnTo>
                    <a:cubicBezTo>
                      <a:pt x="292664" y="275456"/>
                      <a:pt x="290759" y="273551"/>
                      <a:pt x="291711" y="270693"/>
                    </a:cubicBezTo>
                    <a:lnTo>
                      <a:pt x="291711" y="242118"/>
                    </a:lnTo>
                    <a:cubicBezTo>
                      <a:pt x="226941" y="244976"/>
                      <a:pt x="165029" y="244976"/>
                      <a:pt x="104069" y="242118"/>
                    </a:cubicBezTo>
                    <a:lnTo>
                      <a:pt x="104069" y="242118"/>
                    </a:ln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0" name="Freeform: Shape 4857">
                <a:extLst>
                  <a:ext uri="{FF2B5EF4-FFF2-40B4-BE49-F238E27FC236}">
                    <a16:creationId xmlns:a16="http://schemas.microsoft.com/office/drawing/2014/main" id="{94987362-707B-44E3-913E-7F93B13D4817}"/>
                  </a:ext>
                </a:extLst>
              </p:cNvPr>
              <p:cNvSpPr/>
              <p:nvPr/>
            </p:nvSpPr>
            <p:spPr>
              <a:xfrm>
                <a:off x="5886866" y="4205545"/>
                <a:ext cx="276225" cy="95250"/>
              </a:xfrm>
              <a:custGeom>
                <a:avLst/>
                <a:gdLst>
                  <a:gd name="connsiteX0" fmla="*/ 13395 w 276225"/>
                  <a:gd name="connsiteY0" fmla="*/ 83880 h 95250"/>
                  <a:gd name="connsiteX1" fmla="*/ 270570 w 276225"/>
                  <a:gd name="connsiteY1" fmla="*/ 83880 h 95250"/>
                  <a:gd name="connsiteX2" fmla="*/ 249615 w 276225"/>
                  <a:gd name="connsiteY2" fmla="*/ 19110 h 95250"/>
                  <a:gd name="connsiteX3" fmla="*/ 33397 w 276225"/>
                  <a:gd name="connsiteY3" fmla="*/ 19110 h 95250"/>
                  <a:gd name="connsiteX4" fmla="*/ 13395 w 276225"/>
                  <a:gd name="connsiteY4" fmla="*/ 83880 h 95250"/>
                  <a:gd name="connsiteX5" fmla="*/ 13395 w 276225"/>
                  <a:gd name="connsiteY5" fmla="*/ 8388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6225" h="95250">
                    <a:moveTo>
                      <a:pt x="13395" y="83880"/>
                    </a:moveTo>
                    <a:cubicBezTo>
                      <a:pt x="99120" y="76260"/>
                      <a:pt x="184845" y="76260"/>
                      <a:pt x="270570" y="83880"/>
                    </a:cubicBezTo>
                    <a:lnTo>
                      <a:pt x="249615" y="19110"/>
                    </a:lnTo>
                    <a:cubicBezTo>
                      <a:pt x="177225" y="11489"/>
                      <a:pt x="105787" y="11489"/>
                      <a:pt x="33397" y="19110"/>
                    </a:cubicBezTo>
                    <a:lnTo>
                      <a:pt x="13395" y="83880"/>
                    </a:lnTo>
                    <a:lnTo>
                      <a:pt x="13395" y="83880"/>
                    </a:ln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1" name="Freeform: Shape 4858">
                <a:extLst>
                  <a:ext uri="{FF2B5EF4-FFF2-40B4-BE49-F238E27FC236}">
                    <a16:creationId xmlns:a16="http://schemas.microsoft.com/office/drawing/2014/main" id="{71C8A9D3-0A47-46C1-AE7C-9F24DE16C46D}"/>
                  </a:ext>
                </a:extLst>
              </p:cNvPr>
              <p:cNvSpPr/>
              <p:nvPr/>
            </p:nvSpPr>
            <p:spPr>
              <a:xfrm>
                <a:off x="5770661" y="4024332"/>
                <a:ext cx="104775" cy="76200"/>
              </a:xfrm>
              <a:custGeom>
                <a:avLst/>
                <a:gdLst>
                  <a:gd name="connsiteX0" fmla="*/ 13395 w 104775"/>
                  <a:gd name="connsiteY0" fmla="*/ 13633 h 76200"/>
                  <a:gd name="connsiteX1" fmla="*/ 13395 w 104775"/>
                  <a:gd name="connsiteY1" fmla="*/ 68878 h 76200"/>
                  <a:gd name="connsiteX2" fmla="*/ 79117 w 104775"/>
                  <a:gd name="connsiteY2" fmla="*/ 65068 h 76200"/>
                  <a:gd name="connsiteX3" fmla="*/ 73402 w 104775"/>
                  <a:gd name="connsiteY3" fmla="*/ 14585 h 76200"/>
                  <a:gd name="connsiteX4" fmla="*/ 13395 w 104775"/>
                  <a:gd name="connsiteY4" fmla="*/ 13633 h 76200"/>
                  <a:gd name="connsiteX5" fmla="*/ 13395 w 104775"/>
                  <a:gd name="connsiteY5" fmla="*/ 13633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4775" h="76200">
                    <a:moveTo>
                      <a:pt x="13395" y="13633"/>
                    </a:moveTo>
                    <a:lnTo>
                      <a:pt x="13395" y="68878"/>
                    </a:lnTo>
                    <a:cubicBezTo>
                      <a:pt x="29587" y="68878"/>
                      <a:pt x="67687" y="69830"/>
                      <a:pt x="79117" y="65068"/>
                    </a:cubicBezTo>
                    <a:cubicBezTo>
                      <a:pt x="103882" y="55543"/>
                      <a:pt x="100072" y="19348"/>
                      <a:pt x="73402" y="14585"/>
                    </a:cubicBezTo>
                    <a:cubicBezTo>
                      <a:pt x="58162" y="12680"/>
                      <a:pt x="29587" y="13633"/>
                      <a:pt x="13395" y="13633"/>
                    </a:cubicBezTo>
                    <a:lnTo>
                      <a:pt x="13395" y="13633"/>
                    </a:ln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2" name="Freeform: Shape 4859">
                <a:extLst>
                  <a:ext uri="{FF2B5EF4-FFF2-40B4-BE49-F238E27FC236}">
                    <a16:creationId xmlns:a16="http://schemas.microsoft.com/office/drawing/2014/main" id="{BF340070-E6E6-4EED-8A48-F1F77239F156}"/>
                  </a:ext>
                </a:extLst>
              </p:cNvPr>
              <p:cNvSpPr/>
              <p:nvPr/>
            </p:nvSpPr>
            <p:spPr>
              <a:xfrm>
                <a:off x="5710654" y="3973135"/>
                <a:ext cx="228600" cy="266700"/>
              </a:xfrm>
              <a:custGeom>
                <a:avLst/>
                <a:gdLst>
                  <a:gd name="connsiteX0" fmla="*/ 73402 w 228600"/>
                  <a:gd name="connsiteY0" fmla="*/ 172462 h 266700"/>
                  <a:gd name="connsiteX1" fmla="*/ 73402 w 228600"/>
                  <a:gd name="connsiteY1" fmla="*/ 261045 h 266700"/>
                  <a:gd name="connsiteX2" fmla="*/ 13395 w 228600"/>
                  <a:gd name="connsiteY2" fmla="*/ 261045 h 266700"/>
                  <a:gd name="connsiteX3" fmla="*/ 13395 w 228600"/>
                  <a:gd name="connsiteY3" fmla="*/ 13395 h 266700"/>
                  <a:gd name="connsiteX4" fmla="*/ 105787 w 228600"/>
                  <a:gd name="connsiteY4" fmla="*/ 13395 h 266700"/>
                  <a:gd name="connsiteX5" fmla="*/ 163890 w 228600"/>
                  <a:gd name="connsiteY5" fmla="*/ 17204 h 266700"/>
                  <a:gd name="connsiteX6" fmla="*/ 216277 w 228600"/>
                  <a:gd name="connsiteY6" fmla="*/ 92452 h 266700"/>
                  <a:gd name="connsiteX7" fmla="*/ 159127 w 228600"/>
                  <a:gd name="connsiteY7" fmla="*/ 169604 h 266700"/>
                  <a:gd name="connsiteX8" fmla="*/ 108645 w 228600"/>
                  <a:gd name="connsiteY8" fmla="*/ 173414 h 266700"/>
                  <a:gd name="connsiteX9" fmla="*/ 73402 w 228600"/>
                  <a:gd name="connsiteY9" fmla="*/ 173414 h 266700"/>
                  <a:gd name="connsiteX10" fmla="*/ 73402 w 228600"/>
                  <a:gd name="connsiteY10" fmla="*/ 172462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28600" h="266700">
                    <a:moveTo>
                      <a:pt x="73402" y="172462"/>
                    </a:moveTo>
                    <a:lnTo>
                      <a:pt x="73402" y="261045"/>
                    </a:lnTo>
                    <a:lnTo>
                      <a:pt x="13395" y="261045"/>
                    </a:lnTo>
                    <a:lnTo>
                      <a:pt x="13395" y="13395"/>
                    </a:lnTo>
                    <a:lnTo>
                      <a:pt x="105787" y="13395"/>
                    </a:lnTo>
                    <a:cubicBezTo>
                      <a:pt x="121980" y="13395"/>
                      <a:pt x="147697" y="13395"/>
                      <a:pt x="163890" y="17204"/>
                    </a:cubicBezTo>
                    <a:cubicBezTo>
                      <a:pt x="199132" y="26729"/>
                      <a:pt x="216277" y="57209"/>
                      <a:pt x="216277" y="92452"/>
                    </a:cubicBezTo>
                    <a:cubicBezTo>
                      <a:pt x="216277" y="129599"/>
                      <a:pt x="196275" y="161032"/>
                      <a:pt x="159127" y="169604"/>
                    </a:cubicBezTo>
                    <a:cubicBezTo>
                      <a:pt x="142935" y="172462"/>
                      <a:pt x="124837" y="173414"/>
                      <a:pt x="108645" y="173414"/>
                    </a:cubicBezTo>
                    <a:lnTo>
                      <a:pt x="73402" y="173414"/>
                    </a:lnTo>
                    <a:lnTo>
                      <a:pt x="73402" y="172462"/>
                    </a:ln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3" name="Freeform: Shape 4860">
                <a:extLst>
                  <a:ext uri="{FF2B5EF4-FFF2-40B4-BE49-F238E27FC236}">
                    <a16:creationId xmlns:a16="http://schemas.microsoft.com/office/drawing/2014/main" id="{2C2E8C35-70F8-4739-8EA1-65F011AD9CC2}"/>
                  </a:ext>
                </a:extLst>
              </p:cNvPr>
              <p:cNvSpPr/>
              <p:nvPr/>
            </p:nvSpPr>
            <p:spPr>
              <a:xfrm>
                <a:off x="5641121" y="3924558"/>
                <a:ext cx="361950" cy="361950"/>
              </a:xfrm>
              <a:custGeom>
                <a:avLst/>
                <a:gdLst>
                  <a:gd name="connsiteX0" fmla="*/ 183892 w 361950"/>
                  <a:gd name="connsiteY0" fmla="*/ 349627 h 361950"/>
                  <a:gd name="connsiteX1" fmla="*/ 26730 w 361950"/>
                  <a:gd name="connsiteY1" fmla="*/ 349627 h 361950"/>
                  <a:gd name="connsiteX2" fmla="*/ 13395 w 361950"/>
                  <a:gd name="connsiteY2" fmla="*/ 336292 h 361950"/>
                  <a:gd name="connsiteX3" fmla="*/ 13395 w 361950"/>
                  <a:gd name="connsiteY3" fmla="*/ 26729 h 361950"/>
                  <a:gd name="connsiteX4" fmla="*/ 26730 w 361950"/>
                  <a:gd name="connsiteY4" fmla="*/ 13395 h 361950"/>
                  <a:gd name="connsiteX5" fmla="*/ 337245 w 361950"/>
                  <a:gd name="connsiteY5" fmla="*/ 13395 h 361950"/>
                  <a:gd name="connsiteX6" fmla="*/ 350580 w 361950"/>
                  <a:gd name="connsiteY6" fmla="*/ 26729 h 361950"/>
                  <a:gd name="connsiteX7" fmla="*/ 350580 w 361950"/>
                  <a:gd name="connsiteY7" fmla="*/ 245804 h 36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1950" h="361950">
                    <a:moveTo>
                      <a:pt x="183892" y="349627"/>
                    </a:moveTo>
                    <a:lnTo>
                      <a:pt x="26730" y="349627"/>
                    </a:lnTo>
                    <a:cubicBezTo>
                      <a:pt x="19110" y="349627"/>
                      <a:pt x="13395" y="343912"/>
                      <a:pt x="13395" y="336292"/>
                    </a:cubicBezTo>
                    <a:lnTo>
                      <a:pt x="13395" y="26729"/>
                    </a:lnTo>
                    <a:cubicBezTo>
                      <a:pt x="13395" y="19110"/>
                      <a:pt x="19110" y="13395"/>
                      <a:pt x="26730" y="13395"/>
                    </a:cubicBezTo>
                    <a:lnTo>
                      <a:pt x="337245" y="13395"/>
                    </a:lnTo>
                    <a:cubicBezTo>
                      <a:pt x="344865" y="13395"/>
                      <a:pt x="350580" y="19110"/>
                      <a:pt x="350580" y="26729"/>
                    </a:cubicBezTo>
                    <a:lnTo>
                      <a:pt x="350580" y="245804"/>
                    </a:ln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414" name="Group 4315">
              <a:extLst>
                <a:ext uri="{FF2B5EF4-FFF2-40B4-BE49-F238E27FC236}">
                  <a16:creationId xmlns:a16="http://schemas.microsoft.com/office/drawing/2014/main" id="{0DC03682-7DEE-4DA7-878D-BFAA890609D8}"/>
                </a:ext>
              </a:extLst>
            </p:cNvPr>
            <p:cNvGrpSpPr/>
            <p:nvPr/>
          </p:nvGrpSpPr>
          <p:grpSpPr>
            <a:xfrm>
              <a:off x="4386751" y="5975684"/>
              <a:ext cx="313574" cy="322223"/>
              <a:chOff x="1819275" y="631826"/>
              <a:chExt cx="690563" cy="709612"/>
            </a:xfrm>
          </p:grpSpPr>
          <p:sp>
            <p:nvSpPr>
              <p:cNvPr id="415" name="Line 272">
                <a:extLst>
                  <a:ext uri="{FF2B5EF4-FFF2-40B4-BE49-F238E27FC236}">
                    <a16:creationId xmlns:a16="http://schemas.microsoft.com/office/drawing/2014/main" id="{F21D06BD-E2E2-4524-808B-F1242D88CE0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28800" y="1341438"/>
                <a:ext cx="533400" cy="0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6" name="Freeform 273">
                <a:extLst>
                  <a:ext uri="{FF2B5EF4-FFF2-40B4-BE49-F238E27FC236}">
                    <a16:creationId xmlns:a16="http://schemas.microsoft.com/office/drawing/2014/main" id="{E8195007-F1B8-4C82-A542-6AC1675578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9275" y="866776"/>
                <a:ext cx="549275" cy="401638"/>
              </a:xfrm>
              <a:custGeom>
                <a:avLst/>
                <a:gdLst>
                  <a:gd name="T0" fmla="*/ 53 w 187"/>
                  <a:gd name="T1" fmla="*/ 0 h 137"/>
                  <a:gd name="T2" fmla="*/ 0 w 187"/>
                  <a:gd name="T3" fmla="*/ 0 h 137"/>
                  <a:gd name="T4" fmla="*/ 0 w 187"/>
                  <a:gd name="T5" fmla="*/ 57 h 137"/>
                  <a:gd name="T6" fmla="*/ 80 w 187"/>
                  <a:gd name="T7" fmla="*/ 137 h 137"/>
                  <a:gd name="T8" fmla="*/ 107 w 187"/>
                  <a:gd name="T9" fmla="*/ 137 h 137"/>
                  <a:gd name="T10" fmla="*/ 187 w 187"/>
                  <a:gd name="T11" fmla="*/ 57 h 137"/>
                  <a:gd name="T12" fmla="*/ 187 w 187"/>
                  <a:gd name="T13" fmla="*/ 0 h 137"/>
                  <a:gd name="T14" fmla="*/ 123 w 187"/>
                  <a:gd name="T15" fmla="*/ 0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7" h="137">
                    <a:moveTo>
                      <a:pt x="5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101"/>
                      <a:pt x="36" y="137"/>
                      <a:pt x="80" y="137"/>
                    </a:cubicBezTo>
                    <a:cubicBezTo>
                      <a:pt x="107" y="137"/>
                      <a:pt x="107" y="137"/>
                      <a:pt x="107" y="137"/>
                    </a:cubicBezTo>
                    <a:cubicBezTo>
                      <a:pt x="151" y="137"/>
                      <a:pt x="187" y="101"/>
                      <a:pt x="187" y="57"/>
                    </a:cubicBezTo>
                    <a:cubicBezTo>
                      <a:pt x="187" y="0"/>
                      <a:pt x="187" y="0"/>
                      <a:pt x="187" y="0"/>
                    </a:cubicBezTo>
                    <a:cubicBezTo>
                      <a:pt x="123" y="0"/>
                      <a:pt x="123" y="0"/>
                      <a:pt x="123" y="0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7" name="Freeform 274">
                <a:extLst>
                  <a:ext uri="{FF2B5EF4-FFF2-40B4-BE49-F238E27FC236}">
                    <a16:creationId xmlns:a16="http://schemas.microsoft.com/office/drawing/2014/main" id="{BDA12701-57EF-4680-B7AC-AEA4813757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6763" y="866776"/>
                <a:ext cx="155575" cy="111125"/>
              </a:xfrm>
              <a:custGeom>
                <a:avLst/>
                <a:gdLst>
                  <a:gd name="T0" fmla="*/ 98 w 98"/>
                  <a:gd name="T1" fmla="*/ 0 h 70"/>
                  <a:gd name="T2" fmla="*/ 0 w 98"/>
                  <a:gd name="T3" fmla="*/ 0 h 70"/>
                  <a:gd name="T4" fmla="*/ 0 w 98"/>
                  <a:gd name="T5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8" h="70">
                    <a:moveTo>
                      <a:pt x="98" y="0"/>
                    </a:moveTo>
                    <a:lnTo>
                      <a:pt x="0" y="0"/>
                    </a:lnTo>
                    <a:lnTo>
                      <a:pt x="0" y="70"/>
                    </a:ln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8" name="Freeform 275">
                <a:extLst>
                  <a:ext uri="{FF2B5EF4-FFF2-40B4-BE49-F238E27FC236}">
                    <a16:creationId xmlns:a16="http://schemas.microsoft.com/office/drawing/2014/main" id="{5E2995D0-84AE-4BCC-B764-C98E5BE784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4850" y="987426"/>
                <a:ext cx="117475" cy="146050"/>
              </a:xfrm>
              <a:custGeom>
                <a:avLst/>
                <a:gdLst>
                  <a:gd name="T0" fmla="*/ 0 w 40"/>
                  <a:gd name="T1" fmla="*/ 8 h 50"/>
                  <a:gd name="T2" fmla="*/ 8 w 40"/>
                  <a:gd name="T3" fmla="*/ 0 h 50"/>
                  <a:gd name="T4" fmla="*/ 32 w 40"/>
                  <a:gd name="T5" fmla="*/ 0 h 50"/>
                  <a:gd name="T6" fmla="*/ 40 w 40"/>
                  <a:gd name="T7" fmla="*/ 8 h 50"/>
                  <a:gd name="T8" fmla="*/ 40 w 40"/>
                  <a:gd name="T9" fmla="*/ 50 h 50"/>
                  <a:gd name="T10" fmla="*/ 0 w 40"/>
                  <a:gd name="T11" fmla="*/ 50 h 50"/>
                  <a:gd name="T12" fmla="*/ 0 w 40"/>
                  <a:gd name="T13" fmla="*/ 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50">
                    <a:moveTo>
                      <a:pt x="0" y="8"/>
                    </a:moveTo>
                    <a:cubicBezTo>
                      <a:pt x="0" y="4"/>
                      <a:pt x="3" y="0"/>
                      <a:pt x="8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6" y="0"/>
                      <a:pt x="40" y="4"/>
                      <a:pt x="40" y="8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0" y="50"/>
                      <a:pt x="0" y="50"/>
                      <a:pt x="0" y="50"/>
                    </a:cubicBezTo>
                    <a:lnTo>
                      <a:pt x="0" y="8"/>
                    </a:ln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9" name="Freeform 276">
                <a:extLst>
                  <a:ext uri="{FF2B5EF4-FFF2-40B4-BE49-F238E27FC236}">
                    <a16:creationId xmlns:a16="http://schemas.microsoft.com/office/drawing/2014/main" id="{23385C91-8614-40DC-AA1F-BE155CA36C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4375" y="631826"/>
                <a:ext cx="73025" cy="155575"/>
              </a:xfrm>
              <a:custGeom>
                <a:avLst/>
                <a:gdLst>
                  <a:gd name="T0" fmla="*/ 16 w 25"/>
                  <a:gd name="T1" fmla="*/ 0 h 53"/>
                  <a:gd name="T2" fmla="*/ 14 w 25"/>
                  <a:gd name="T3" fmla="*/ 27 h 53"/>
                  <a:gd name="T4" fmla="*/ 11 w 25"/>
                  <a:gd name="T5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53">
                    <a:moveTo>
                      <a:pt x="16" y="0"/>
                    </a:moveTo>
                    <a:cubicBezTo>
                      <a:pt x="16" y="0"/>
                      <a:pt x="0" y="13"/>
                      <a:pt x="14" y="27"/>
                    </a:cubicBezTo>
                    <a:cubicBezTo>
                      <a:pt x="18" y="32"/>
                      <a:pt x="25" y="41"/>
                      <a:pt x="11" y="53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0" name="Freeform 277">
                <a:extLst>
                  <a:ext uri="{FF2B5EF4-FFF2-40B4-BE49-F238E27FC236}">
                    <a16:creationId xmlns:a16="http://schemas.microsoft.com/office/drawing/2014/main" id="{4FAAF316-35F1-44E9-B728-F81B85C0DC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7250" y="631826"/>
                <a:ext cx="74612" cy="155575"/>
              </a:xfrm>
              <a:custGeom>
                <a:avLst/>
                <a:gdLst>
                  <a:gd name="T0" fmla="*/ 15 w 25"/>
                  <a:gd name="T1" fmla="*/ 0 h 53"/>
                  <a:gd name="T2" fmla="*/ 14 w 25"/>
                  <a:gd name="T3" fmla="*/ 27 h 53"/>
                  <a:gd name="T4" fmla="*/ 11 w 25"/>
                  <a:gd name="T5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53">
                    <a:moveTo>
                      <a:pt x="15" y="0"/>
                    </a:moveTo>
                    <a:cubicBezTo>
                      <a:pt x="15" y="0"/>
                      <a:pt x="0" y="13"/>
                      <a:pt x="14" y="27"/>
                    </a:cubicBezTo>
                    <a:cubicBezTo>
                      <a:pt x="18" y="32"/>
                      <a:pt x="25" y="41"/>
                      <a:pt x="11" y="53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1" name="Freeform 278">
                <a:extLst>
                  <a:ext uri="{FF2B5EF4-FFF2-40B4-BE49-F238E27FC236}">
                    <a16:creationId xmlns:a16="http://schemas.microsoft.com/office/drawing/2014/main" id="{22707712-F66F-4494-8FB5-152B17932E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1563" y="919163"/>
                <a:ext cx="168275" cy="228600"/>
              </a:xfrm>
              <a:custGeom>
                <a:avLst/>
                <a:gdLst>
                  <a:gd name="T0" fmla="*/ 10 w 57"/>
                  <a:gd name="T1" fmla="*/ 1 h 78"/>
                  <a:gd name="T2" fmla="*/ 23 w 57"/>
                  <a:gd name="T3" fmla="*/ 0 h 78"/>
                  <a:gd name="T4" fmla="*/ 55 w 57"/>
                  <a:gd name="T5" fmla="*/ 33 h 78"/>
                  <a:gd name="T6" fmla="*/ 0 w 57"/>
                  <a:gd name="T7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7" h="78">
                    <a:moveTo>
                      <a:pt x="10" y="1"/>
                    </a:moveTo>
                    <a:cubicBezTo>
                      <a:pt x="14" y="0"/>
                      <a:pt x="19" y="0"/>
                      <a:pt x="23" y="0"/>
                    </a:cubicBezTo>
                    <a:cubicBezTo>
                      <a:pt x="42" y="0"/>
                      <a:pt x="57" y="15"/>
                      <a:pt x="55" y="33"/>
                    </a:cubicBezTo>
                    <a:cubicBezTo>
                      <a:pt x="53" y="55"/>
                      <a:pt x="19" y="75"/>
                      <a:pt x="0" y="78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grpSp>
          <p:nvGrpSpPr>
            <p:cNvPr id="422" name="Group 4337">
              <a:extLst>
                <a:ext uri="{FF2B5EF4-FFF2-40B4-BE49-F238E27FC236}">
                  <a16:creationId xmlns:a16="http://schemas.microsoft.com/office/drawing/2014/main" id="{639DDEA6-50CA-43F0-8FFE-308DABB9692F}"/>
                </a:ext>
              </a:extLst>
            </p:cNvPr>
            <p:cNvGrpSpPr/>
            <p:nvPr/>
          </p:nvGrpSpPr>
          <p:grpSpPr>
            <a:xfrm>
              <a:off x="6266349" y="5999129"/>
              <a:ext cx="349883" cy="275332"/>
              <a:chOff x="5875338" y="2017713"/>
              <a:chExt cx="655638" cy="515938"/>
            </a:xfrm>
          </p:grpSpPr>
          <p:sp>
            <p:nvSpPr>
              <p:cNvPr id="423" name="Freeform 262">
                <a:extLst>
                  <a:ext uri="{FF2B5EF4-FFF2-40B4-BE49-F238E27FC236}">
                    <a16:creationId xmlns:a16="http://schemas.microsoft.com/office/drawing/2014/main" id="{DFE5154F-DA7F-4F3B-B3B6-C522BF013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5338" y="2017713"/>
                <a:ext cx="655638" cy="515938"/>
              </a:xfrm>
              <a:custGeom>
                <a:avLst/>
                <a:gdLst>
                  <a:gd name="T0" fmla="*/ 18 w 222"/>
                  <a:gd name="T1" fmla="*/ 175 h 175"/>
                  <a:gd name="T2" fmla="*/ 202 w 222"/>
                  <a:gd name="T3" fmla="*/ 175 h 175"/>
                  <a:gd name="T4" fmla="*/ 222 w 222"/>
                  <a:gd name="T5" fmla="*/ 155 h 175"/>
                  <a:gd name="T6" fmla="*/ 222 w 222"/>
                  <a:gd name="T7" fmla="*/ 0 h 175"/>
                  <a:gd name="T8" fmla="*/ 37 w 222"/>
                  <a:gd name="T9" fmla="*/ 0 h 175"/>
                  <a:gd name="T10" fmla="*/ 37 w 222"/>
                  <a:gd name="T11" fmla="*/ 155 h 175"/>
                  <a:gd name="T12" fmla="*/ 18 w 222"/>
                  <a:gd name="T13" fmla="*/ 175 h 175"/>
                  <a:gd name="T14" fmla="*/ 0 w 222"/>
                  <a:gd name="T15" fmla="*/ 155 h 175"/>
                  <a:gd name="T16" fmla="*/ 0 w 222"/>
                  <a:gd name="T17" fmla="*/ 26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2" h="175">
                    <a:moveTo>
                      <a:pt x="18" y="175"/>
                    </a:moveTo>
                    <a:cubicBezTo>
                      <a:pt x="202" y="175"/>
                      <a:pt x="202" y="175"/>
                      <a:pt x="202" y="175"/>
                    </a:cubicBezTo>
                    <a:cubicBezTo>
                      <a:pt x="213" y="175"/>
                      <a:pt x="222" y="166"/>
                      <a:pt x="222" y="155"/>
                    </a:cubicBezTo>
                    <a:cubicBezTo>
                      <a:pt x="222" y="0"/>
                      <a:pt x="222" y="0"/>
                      <a:pt x="22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7" y="155"/>
                      <a:pt x="37" y="155"/>
                      <a:pt x="37" y="155"/>
                    </a:cubicBezTo>
                    <a:cubicBezTo>
                      <a:pt x="37" y="166"/>
                      <a:pt x="28" y="175"/>
                      <a:pt x="18" y="175"/>
                    </a:cubicBezTo>
                    <a:cubicBezTo>
                      <a:pt x="8" y="175"/>
                      <a:pt x="0" y="166"/>
                      <a:pt x="0" y="155"/>
                    </a:cubicBezTo>
                    <a:cubicBezTo>
                      <a:pt x="0" y="26"/>
                      <a:pt x="0" y="26"/>
                      <a:pt x="0" y="26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4" name="Line 263">
                <a:extLst>
                  <a:ext uri="{FF2B5EF4-FFF2-40B4-BE49-F238E27FC236}">
                    <a16:creationId xmlns:a16="http://schemas.microsoft.com/office/drawing/2014/main" id="{6096A40C-312C-43DE-AAB0-79BD539040A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53138" y="2103438"/>
                <a:ext cx="407988" cy="0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5" name="Line 264">
                <a:extLst>
                  <a:ext uri="{FF2B5EF4-FFF2-40B4-BE49-F238E27FC236}">
                    <a16:creationId xmlns:a16="http://schemas.microsoft.com/office/drawing/2014/main" id="{564337FA-AA69-450C-9082-7312728FF92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53138" y="2189163"/>
                <a:ext cx="407988" cy="0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6" name="Line 265">
                <a:extLst>
                  <a:ext uri="{FF2B5EF4-FFF2-40B4-BE49-F238E27FC236}">
                    <a16:creationId xmlns:a16="http://schemas.microsoft.com/office/drawing/2014/main" id="{73541A0D-7FCD-4C85-9DB8-782860084C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53138" y="2276475"/>
                <a:ext cx="179388" cy="0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7" name="Line 266">
                <a:extLst>
                  <a:ext uri="{FF2B5EF4-FFF2-40B4-BE49-F238E27FC236}">
                    <a16:creationId xmlns:a16="http://schemas.microsoft.com/office/drawing/2014/main" id="{CFA91347-39BF-4051-8933-CA197CE946C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53138" y="2362200"/>
                <a:ext cx="179388" cy="0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8" name="Line 267">
                <a:extLst>
                  <a:ext uri="{FF2B5EF4-FFF2-40B4-BE49-F238E27FC236}">
                    <a16:creationId xmlns:a16="http://schemas.microsoft.com/office/drawing/2014/main" id="{71D347F6-9A34-47F0-9C82-9137093949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53138" y="2451100"/>
                <a:ext cx="179388" cy="0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9" name="Rectangle 268">
                <a:extLst>
                  <a:ext uri="{FF2B5EF4-FFF2-40B4-BE49-F238E27FC236}">
                    <a16:creationId xmlns:a16="http://schemas.microsoft.com/office/drawing/2014/main" id="{666E57BD-1452-4E5B-B1A2-3EBA9873B5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7613" y="2276475"/>
                <a:ext cx="142875" cy="174625"/>
              </a:xfrm>
              <a:prstGeom prst="rect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grpSp>
          <p:nvGrpSpPr>
            <p:cNvPr id="430" name="Group 3">
              <a:extLst>
                <a:ext uri="{FF2B5EF4-FFF2-40B4-BE49-F238E27FC236}">
                  <a16:creationId xmlns:a16="http://schemas.microsoft.com/office/drawing/2014/main" id="{D38B8891-D1D2-40FC-A499-7A5A16B38CB1}"/>
                </a:ext>
              </a:extLst>
            </p:cNvPr>
            <p:cNvGrpSpPr/>
            <p:nvPr/>
          </p:nvGrpSpPr>
          <p:grpSpPr>
            <a:xfrm>
              <a:off x="8195566" y="5984206"/>
              <a:ext cx="304733" cy="305179"/>
              <a:chOff x="5426370" y="3305812"/>
              <a:chExt cx="627892" cy="628811"/>
            </a:xfrm>
          </p:grpSpPr>
          <p:sp>
            <p:nvSpPr>
              <p:cNvPr id="431" name="Freeform 46">
                <a:extLst>
                  <a:ext uri="{FF2B5EF4-FFF2-40B4-BE49-F238E27FC236}">
                    <a16:creationId xmlns:a16="http://schemas.microsoft.com/office/drawing/2014/main" id="{9DB7348D-3043-427A-873B-0289FE3FFD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2238" y="3670780"/>
                <a:ext cx="111237" cy="91012"/>
              </a:xfrm>
              <a:custGeom>
                <a:avLst/>
                <a:gdLst>
                  <a:gd name="T0" fmla="*/ 0 w 121"/>
                  <a:gd name="T1" fmla="*/ 0 h 99"/>
                  <a:gd name="T2" fmla="*/ 0 w 121"/>
                  <a:gd name="T3" fmla="*/ 99 h 99"/>
                  <a:gd name="T4" fmla="*/ 121 w 121"/>
                  <a:gd name="T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1" h="99">
                    <a:moveTo>
                      <a:pt x="0" y="0"/>
                    </a:moveTo>
                    <a:lnTo>
                      <a:pt x="0" y="99"/>
                    </a:lnTo>
                    <a:lnTo>
                      <a:pt x="121" y="99"/>
                    </a:ln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2" name="Oval 47">
                <a:extLst>
                  <a:ext uri="{FF2B5EF4-FFF2-40B4-BE49-F238E27FC236}">
                    <a16:creationId xmlns:a16="http://schemas.microsoft.com/office/drawing/2014/main" id="{39D2F8BC-98F6-4E3B-BF14-615A910A93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90214" y="3569655"/>
                <a:ext cx="364048" cy="364968"/>
              </a:xfrm>
              <a:prstGeom prst="ellips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3" name="Freeform 48">
                <a:extLst>
                  <a:ext uri="{FF2B5EF4-FFF2-40B4-BE49-F238E27FC236}">
                    <a16:creationId xmlns:a16="http://schemas.microsoft.com/office/drawing/2014/main" id="{8D8F2BBB-B06F-4BFD-81F8-88851666C1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370" y="3336150"/>
                <a:ext cx="567217" cy="486317"/>
              </a:xfrm>
              <a:custGeom>
                <a:avLst/>
                <a:gdLst>
                  <a:gd name="T0" fmla="*/ 84 w 224"/>
                  <a:gd name="T1" fmla="*/ 192 h 192"/>
                  <a:gd name="T2" fmla="*/ 8 w 224"/>
                  <a:gd name="T3" fmla="*/ 192 h 192"/>
                  <a:gd name="T4" fmla="*/ 0 w 224"/>
                  <a:gd name="T5" fmla="*/ 184 h 192"/>
                  <a:gd name="T6" fmla="*/ 0 w 224"/>
                  <a:gd name="T7" fmla="*/ 8 h 192"/>
                  <a:gd name="T8" fmla="*/ 8 w 224"/>
                  <a:gd name="T9" fmla="*/ 0 h 192"/>
                  <a:gd name="T10" fmla="*/ 216 w 224"/>
                  <a:gd name="T11" fmla="*/ 0 h 192"/>
                  <a:gd name="T12" fmla="*/ 224 w 224"/>
                  <a:gd name="T13" fmla="*/ 8 h 192"/>
                  <a:gd name="T14" fmla="*/ 224 w 224"/>
                  <a:gd name="T15" fmla="*/ 84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4" h="192">
                    <a:moveTo>
                      <a:pt x="84" y="192"/>
                    </a:moveTo>
                    <a:cubicBezTo>
                      <a:pt x="8" y="192"/>
                      <a:pt x="8" y="192"/>
                      <a:pt x="8" y="192"/>
                    </a:cubicBezTo>
                    <a:cubicBezTo>
                      <a:pt x="4" y="192"/>
                      <a:pt x="0" y="188"/>
                      <a:pt x="0" y="184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4"/>
                      <a:pt x="4" y="0"/>
                      <a:pt x="8" y="0"/>
                    </a:cubicBezTo>
                    <a:cubicBezTo>
                      <a:pt x="216" y="0"/>
                      <a:pt x="216" y="0"/>
                      <a:pt x="216" y="0"/>
                    </a:cubicBezTo>
                    <a:cubicBezTo>
                      <a:pt x="220" y="0"/>
                      <a:pt x="224" y="4"/>
                      <a:pt x="224" y="8"/>
                    </a:cubicBezTo>
                    <a:cubicBezTo>
                      <a:pt x="224" y="84"/>
                      <a:pt x="224" y="84"/>
                      <a:pt x="224" y="84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4" name="Line 49">
                <a:extLst>
                  <a:ext uri="{FF2B5EF4-FFF2-40B4-BE49-F238E27FC236}">
                    <a16:creationId xmlns:a16="http://schemas.microsoft.com/office/drawing/2014/main" id="{C9438988-4224-4E0C-B9CF-784DB605846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27495" y="3305812"/>
                <a:ext cx="0" cy="60675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5" name="Line 50">
                <a:extLst>
                  <a:ext uri="{FF2B5EF4-FFF2-40B4-BE49-F238E27FC236}">
                    <a16:creationId xmlns:a16="http://schemas.microsoft.com/office/drawing/2014/main" id="{21506658-D936-4A89-B359-396E77597E4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619426" y="3305812"/>
                <a:ext cx="0" cy="60675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6" name="Line 51">
                <a:extLst>
                  <a:ext uri="{FF2B5EF4-FFF2-40B4-BE49-F238E27FC236}">
                    <a16:creationId xmlns:a16="http://schemas.microsoft.com/office/drawing/2014/main" id="{FDE54BFB-C95F-4B35-9239-C58D13DC635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10438" y="3305812"/>
                <a:ext cx="0" cy="60675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7" name="Line 52">
                <a:extLst>
                  <a:ext uri="{FF2B5EF4-FFF2-40B4-BE49-F238E27FC236}">
                    <a16:creationId xmlns:a16="http://schemas.microsoft.com/office/drawing/2014/main" id="{D1E8AEC1-433B-4091-B3C7-8F030B692D8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01451" y="3305812"/>
                <a:ext cx="0" cy="60675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8" name="Line 53">
                <a:extLst>
                  <a:ext uri="{FF2B5EF4-FFF2-40B4-BE49-F238E27FC236}">
                    <a16:creationId xmlns:a16="http://schemas.microsoft.com/office/drawing/2014/main" id="{2DF4E0B9-1E33-4CDB-8E3F-708ADD6AFD5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92463" y="3305812"/>
                <a:ext cx="0" cy="60675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9" name="Line 54">
                <a:extLst>
                  <a:ext uri="{FF2B5EF4-FFF2-40B4-BE49-F238E27FC236}">
                    <a16:creationId xmlns:a16="http://schemas.microsoft.com/office/drawing/2014/main" id="{32818D46-1291-4223-91C2-DFD84C449FC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87045" y="3447387"/>
                <a:ext cx="445867" cy="0"/>
              </a:xfrm>
              <a:prstGeom prst="line">
                <a:avLst/>
              </a:prstGeom>
              <a:noFill/>
              <a:ln w="9525" cap="sq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grpSp>
          <p:nvGrpSpPr>
            <p:cNvPr id="440" name="Group 4362">
              <a:extLst>
                <a:ext uri="{FF2B5EF4-FFF2-40B4-BE49-F238E27FC236}">
                  <a16:creationId xmlns:a16="http://schemas.microsoft.com/office/drawing/2014/main" id="{3E2A2ED9-BF65-47C0-B726-9DDD4731028A}"/>
                </a:ext>
              </a:extLst>
            </p:cNvPr>
            <p:cNvGrpSpPr/>
            <p:nvPr/>
          </p:nvGrpSpPr>
          <p:grpSpPr>
            <a:xfrm>
              <a:off x="10096060" y="5976140"/>
              <a:ext cx="317026" cy="321310"/>
              <a:chOff x="222251" y="3321051"/>
              <a:chExt cx="704851" cy="714376"/>
            </a:xfrm>
          </p:grpSpPr>
          <p:sp>
            <p:nvSpPr>
              <p:cNvPr id="441" name="Freeform 124">
                <a:extLst>
                  <a:ext uri="{FF2B5EF4-FFF2-40B4-BE49-F238E27FC236}">
                    <a16:creationId xmlns:a16="http://schemas.microsoft.com/office/drawing/2014/main" id="{7D73ABB9-CD98-4AE1-BB38-CEC0654567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251" y="3748089"/>
                <a:ext cx="460375" cy="287338"/>
              </a:xfrm>
              <a:custGeom>
                <a:avLst/>
                <a:gdLst>
                  <a:gd name="T0" fmla="*/ 123 w 123"/>
                  <a:gd name="T1" fmla="*/ 37 h 77"/>
                  <a:gd name="T2" fmla="*/ 123 w 123"/>
                  <a:gd name="T3" fmla="*/ 65 h 77"/>
                  <a:gd name="T4" fmla="*/ 111 w 123"/>
                  <a:gd name="T5" fmla="*/ 77 h 77"/>
                  <a:gd name="T6" fmla="*/ 12 w 123"/>
                  <a:gd name="T7" fmla="*/ 77 h 77"/>
                  <a:gd name="T8" fmla="*/ 0 w 123"/>
                  <a:gd name="T9" fmla="*/ 65 h 77"/>
                  <a:gd name="T10" fmla="*/ 0 w 123"/>
                  <a:gd name="T11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3" h="77">
                    <a:moveTo>
                      <a:pt x="123" y="37"/>
                    </a:moveTo>
                    <a:cubicBezTo>
                      <a:pt x="123" y="65"/>
                      <a:pt x="123" y="65"/>
                      <a:pt x="123" y="65"/>
                    </a:cubicBezTo>
                    <a:cubicBezTo>
                      <a:pt x="123" y="72"/>
                      <a:pt x="118" y="77"/>
                      <a:pt x="111" y="77"/>
                    </a:cubicBezTo>
                    <a:cubicBezTo>
                      <a:pt x="12" y="77"/>
                      <a:pt x="12" y="77"/>
                      <a:pt x="12" y="77"/>
                    </a:cubicBezTo>
                    <a:cubicBezTo>
                      <a:pt x="6" y="77"/>
                      <a:pt x="0" y="72"/>
                      <a:pt x="0" y="65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9525" cap="sq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2" name="Freeform 125">
                <a:extLst>
                  <a:ext uri="{FF2B5EF4-FFF2-40B4-BE49-F238E27FC236}">
                    <a16:creationId xmlns:a16="http://schemas.microsoft.com/office/drawing/2014/main" id="{923B20AA-95A3-456A-9A33-963FE43C8C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251" y="3321051"/>
                <a:ext cx="460375" cy="220663"/>
              </a:xfrm>
              <a:custGeom>
                <a:avLst/>
                <a:gdLst>
                  <a:gd name="T0" fmla="*/ 0 w 123"/>
                  <a:gd name="T1" fmla="*/ 59 h 59"/>
                  <a:gd name="T2" fmla="*/ 0 w 123"/>
                  <a:gd name="T3" fmla="*/ 13 h 59"/>
                  <a:gd name="T4" fmla="*/ 12 w 123"/>
                  <a:gd name="T5" fmla="*/ 0 h 59"/>
                  <a:gd name="T6" fmla="*/ 111 w 123"/>
                  <a:gd name="T7" fmla="*/ 0 h 59"/>
                  <a:gd name="T8" fmla="*/ 123 w 123"/>
                  <a:gd name="T9" fmla="*/ 13 h 59"/>
                  <a:gd name="T10" fmla="*/ 123 w 123"/>
                  <a:gd name="T11" fmla="*/ 34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3" h="59">
                    <a:moveTo>
                      <a:pt x="0" y="59"/>
                    </a:moveTo>
                    <a:cubicBezTo>
                      <a:pt x="0" y="13"/>
                      <a:pt x="0" y="13"/>
                      <a:pt x="0" y="13"/>
                    </a:cubicBezTo>
                    <a:cubicBezTo>
                      <a:pt x="0" y="6"/>
                      <a:pt x="6" y="0"/>
                      <a:pt x="12" y="0"/>
                    </a:cubicBezTo>
                    <a:cubicBezTo>
                      <a:pt x="111" y="0"/>
                      <a:pt x="111" y="0"/>
                      <a:pt x="111" y="0"/>
                    </a:cubicBezTo>
                    <a:cubicBezTo>
                      <a:pt x="118" y="0"/>
                      <a:pt x="123" y="6"/>
                      <a:pt x="123" y="13"/>
                    </a:cubicBezTo>
                    <a:cubicBezTo>
                      <a:pt x="123" y="34"/>
                      <a:pt x="123" y="34"/>
                      <a:pt x="123" y="34"/>
                    </a:cubicBezTo>
                  </a:path>
                </a:pathLst>
              </a:custGeom>
              <a:noFill/>
              <a:ln w="9525" cap="sq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3" name="Freeform 126">
                <a:extLst>
                  <a:ext uri="{FF2B5EF4-FFF2-40B4-BE49-F238E27FC236}">
                    <a16:creationId xmlns:a16="http://schemas.microsoft.com/office/drawing/2014/main" id="{D0C88604-FDC9-432E-99C5-09BFAB1F1F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689" y="3392489"/>
                <a:ext cx="322263" cy="77788"/>
              </a:xfrm>
              <a:custGeom>
                <a:avLst/>
                <a:gdLst>
                  <a:gd name="T0" fmla="*/ 203 w 203"/>
                  <a:gd name="T1" fmla="*/ 35 h 49"/>
                  <a:gd name="T2" fmla="*/ 203 w 203"/>
                  <a:gd name="T3" fmla="*/ 0 h 49"/>
                  <a:gd name="T4" fmla="*/ 0 w 203"/>
                  <a:gd name="T5" fmla="*/ 0 h 49"/>
                  <a:gd name="T6" fmla="*/ 0 w 203"/>
                  <a:gd name="T7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3" h="49">
                    <a:moveTo>
                      <a:pt x="203" y="35"/>
                    </a:moveTo>
                    <a:lnTo>
                      <a:pt x="203" y="0"/>
                    </a:lnTo>
                    <a:lnTo>
                      <a:pt x="0" y="0"/>
                    </a:lnTo>
                    <a:lnTo>
                      <a:pt x="0" y="49"/>
                    </a:lnTo>
                  </a:path>
                </a:pathLst>
              </a:custGeom>
              <a:noFill/>
              <a:ln w="9525" cap="sq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4" name="Freeform 127">
                <a:extLst>
                  <a:ext uri="{FF2B5EF4-FFF2-40B4-BE49-F238E27FC236}">
                    <a16:creationId xmlns:a16="http://schemas.microsoft.com/office/drawing/2014/main" id="{8AFD1F29-007F-4305-84FD-9CD3F93A4C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689" y="3817939"/>
                <a:ext cx="322263" cy="79375"/>
              </a:xfrm>
              <a:custGeom>
                <a:avLst/>
                <a:gdLst>
                  <a:gd name="T0" fmla="*/ 0 w 203"/>
                  <a:gd name="T1" fmla="*/ 0 h 50"/>
                  <a:gd name="T2" fmla="*/ 0 w 203"/>
                  <a:gd name="T3" fmla="*/ 50 h 50"/>
                  <a:gd name="T4" fmla="*/ 203 w 203"/>
                  <a:gd name="T5" fmla="*/ 50 h 50"/>
                  <a:gd name="T6" fmla="*/ 203 w 203"/>
                  <a:gd name="T7" fmla="*/ 4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3" h="50">
                    <a:moveTo>
                      <a:pt x="0" y="0"/>
                    </a:moveTo>
                    <a:lnTo>
                      <a:pt x="0" y="50"/>
                    </a:lnTo>
                    <a:lnTo>
                      <a:pt x="203" y="50"/>
                    </a:lnTo>
                    <a:lnTo>
                      <a:pt x="203" y="43"/>
                    </a:lnTo>
                  </a:path>
                </a:pathLst>
              </a:custGeom>
              <a:noFill/>
              <a:ln w="9525" cap="sq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5" name="Line 128">
                <a:extLst>
                  <a:ext uri="{FF2B5EF4-FFF2-40B4-BE49-F238E27FC236}">
                    <a16:creationId xmlns:a16="http://schemas.microsoft.com/office/drawing/2014/main" id="{A5480287-818F-4643-BE6D-8D379F5E152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33401" y="3968751"/>
                <a:ext cx="93663" cy="0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6" name="Line 129">
                <a:extLst>
                  <a:ext uri="{FF2B5EF4-FFF2-40B4-BE49-F238E27FC236}">
                    <a16:creationId xmlns:a16="http://schemas.microsoft.com/office/drawing/2014/main" id="{165D74E5-98A3-4DEF-A417-56124498ACD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2251" y="3608389"/>
                <a:ext cx="49213" cy="0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7" name="Line 130">
                <a:extLst>
                  <a:ext uri="{FF2B5EF4-FFF2-40B4-BE49-F238E27FC236}">
                    <a16:creationId xmlns:a16="http://schemas.microsoft.com/office/drawing/2014/main" id="{868B95F4-1AB4-4D06-B2C6-1BAB81718A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8139" y="3608389"/>
                <a:ext cx="104775" cy="0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8" name="Line 131">
                <a:extLst>
                  <a:ext uri="{FF2B5EF4-FFF2-40B4-BE49-F238E27FC236}">
                    <a16:creationId xmlns:a16="http://schemas.microsoft.com/office/drawing/2014/main" id="{86EC3345-1C9F-4CA3-B7A8-E9473D768D4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5589" y="3679826"/>
                <a:ext cx="49213" cy="0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9" name="Line 132">
                <a:extLst>
                  <a:ext uri="{FF2B5EF4-FFF2-40B4-BE49-F238E27FC236}">
                    <a16:creationId xmlns:a16="http://schemas.microsoft.com/office/drawing/2014/main" id="{A9038F32-F59A-40D7-BCAE-C60E49E594E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71476" y="3679826"/>
                <a:ext cx="104775" cy="0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0" name="Freeform 133">
                <a:extLst>
                  <a:ext uri="{FF2B5EF4-FFF2-40B4-BE49-F238E27FC236}">
                    <a16:creationId xmlns:a16="http://schemas.microsoft.com/office/drawing/2014/main" id="{A4DCDA88-AC94-4173-B652-A05F1B3670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914" y="3508376"/>
                <a:ext cx="311150" cy="309563"/>
              </a:xfrm>
              <a:custGeom>
                <a:avLst/>
                <a:gdLst>
                  <a:gd name="T0" fmla="*/ 83 w 83"/>
                  <a:gd name="T1" fmla="*/ 70 h 83"/>
                  <a:gd name="T2" fmla="*/ 83 w 83"/>
                  <a:gd name="T3" fmla="*/ 83 h 83"/>
                  <a:gd name="T4" fmla="*/ 12 w 83"/>
                  <a:gd name="T5" fmla="*/ 83 h 83"/>
                  <a:gd name="T6" fmla="*/ 0 w 83"/>
                  <a:gd name="T7" fmla="*/ 70 h 83"/>
                  <a:gd name="T8" fmla="*/ 0 w 83"/>
                  <a:gd name="T9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83">
                    <a:moveTo>
                      <a:pt x="83" y="70"/>
                    </a:moveTo>
                    <a:cubicBezTo>
                      <a:pt x="83" y="83"/>
                      <a:pt x="83" y="83"/>
                      <a:pt x="83" y="83"/>
                    </a:cubicBezTo>
                    <a:cubicBezTo>
                      <a:pt x="12" y="83"/>
                      <a:pt x="12" y="83"/>
                      <a:pt x="12" y="83"/>
                    </a:cubicBezTo>
                    <a:cubicBezTo>
                      <a:pt x="5" y="83"/>
                      <a:pt x="0" y="77"/>
                      <a:pt x="0" y="7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9525" cap="sq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1" name="Line 134">
                <a:extLst>
                  <a:ext uri="{FF2B5EF4-FFF2-40B4-BE49-F238E27FC236}">
                    <a16:creationId xmlns:a16="http://schemas.microsoft.com/office/drawing/2014/main" id="{CA7EC5A9-93F3-4A04-BDEE-AC63CF12794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81064" y="3530601"/>
                <a:ext cx="0" cy="22225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2" name="Line 135">
                <a:extLst>
                  <a:ext uri="{FF2B5EF4-FFF2-40B4-BE49-F238E27FC236}">
                    <a16:creationId xmlns:a16="http://schemas.microsoft.com/office/drawing/2014/main" id="{D452BFB9-A6C3-42E8-AFFB-BF9FF2C9D19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81064" y="3552826"/>
                <a:ext cx="0" cy="22225"/>
              </a:xfrm>
              <a:prstGeom prst="line">
                <a:avLst/>
              </a:prstGeom>
              <a:noFill/>
              <a:ln w="9525" cap="sq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3" name="Freeform 136">
                <a:extLst>
                  <a:ext uri="{FF2B5EF4-FFF2-40B4-BE49-F238E27FC236}">
                    <a16:creationId xmlns:a16="http://schemas.microsoft.com/office/drawing/2014/main" id="{94CA2946-5555-421B-A855-644100D14B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1839" y="3619501"/>
                <a:ext cx="195263" cy="104775"/>
              </a:xfrm>
              <a:custGeom>
                <a:avLst/>
                <a:gdLst>
                  <a:gd name="T0" fmla="*/ 46 w 52"/>
                  <a:gd name="T1" fmla="*/ 28 h 28"/>
                  <a:gd name="T2" fmla="*/ 0 w 52"/>
                  <a:gd name="T3" fmla="*/ 28 h 28"/>
                  <a:gd name="T4" fmla="*/ 0 w 52"/>
                  <a:gd name="T5" fmla="*/ 0 h 28"/>
                  <a:gd name="T6" fmla="*/ 46 w 52"/>
                  <a:gd name="T7" fmla="*/ 0 h 28"/>
                  <a:gd name="T8" fmla="*/ 52 w 52"/>
                  <a:gd name="T9" fmla="*/ 6 h 28"/>
                  <a:gd name="T10" fmla="*/ 52 w 52"/>
                  <a:gd name="T11" fmla="*/ 22 h 28"/>
                  <a:gd name="T12" fmla="*/ 46 w 52"/>
                  <a:gd name="T13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" h="28">
                    <a:moveTo>
                      <a:pt x="46" y="28"/>
                    </a:moveTo>
                    <a:cubicBezTo>
                      <a:pt x="0" y="28"/>
                      <a:pt x="0" y="28"/>
                      <a:pt x="0" y="2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9" y="0"/>
                      <a:pt x="52" y="3"/>
                      <a:pt x="52" y="6"/>
                    </a:cubicBezTo>
                    <a:cubicBezTo>
                      <a:pt x="52" y="22"/>
                      <a:pt x="52" y="22"/>
                      <a:pt x="52" y="22"/>
                    </a:cubicBezTo>
                    <a:cubicBezTo>
                      <a:pt x="52" y="25"/>
                      <a:pt x="49" y="28"/>
                      <a:pt x="46" y="28"/>
                    </a:cubicBez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4" name="Oval 137">
                <a:extLst>
                  <a:ext uri="{FF2B5EF4-FFF2-40B4-BE49-F238E27FC236}">
                    <a16:creationId xmlns:a16="http://schemas.microsoft.com/office/drawing/2014/main" id="{82454452-8709-49C1-842E-0FCE3411D3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5176" y="3657601"/>
                <a:ext cx="33338" cy="33338"/>
              </a:xfrm>
              <a:prstGeom prst="ellips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5" name="Freeform 138">
                <a:extLst>
                  <a:ext uri="{FF2B5EF4-FFF2-40B4-BE49-F238E27FC236}">
                    <a16:creationId xmlns:a16="http://schemas.microsoft.com/office/drawing/2014/main" id="{AA7CB752-2A93-4606-AD8B-1585679837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914" y="3459164"/>
                <a:ext cx="300038" cy="71438"/>
              </a:xfrm>
              <a:custGeom>
                <a:avLst/>
                <a:gdLst>
                  <a:gd name="T0" fmla="*/ 80 w 80"/>
                  <a:gd name="T1" fmla="*/ 19 h 19"/>
                  <a:gd name="T2" fmla="*/ 9 w 80"/>
                  <a:gd name="T3" fmla="*/ 19 h 19"/>
                  <a:gd name="T4" fmla="*/ 0 w 80"/>
                  <a:gd name="T5" fmla="*/ 9 h 19"/>
                  <a:gd name="T6" fmla="*/ 0 w 80"/>
                  <a:gd name="T7" fmla="*/ 9 h 19"/>
                  <a:gd name="T8" fmla="*/ 9 w 80"/>
                  <a:gd name="T9" fmla="*/ 0 h 19"/>
                  <a:gd name="T10" fmla="*/ 27 w 80"/>
                  <a:gd name="T11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19">
                    <a:moveTo>
                      <a:pt x="80" y="19"/>
                    </a:moveTo>
                    <a:cubicBezTo>
                      <a:pt x="9" y="19"/>
                      <a:pt x="9" y="19"/>
                      <a:pt x="9" y="19"/>
                    </a:cubicBezTo>
                    <a:cubicBezTo>
                      <a:pt x="4" y="19"/>
                      <a:pt x="0" y="15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27" y="0"/>
                      <a:pt x="27" y="0"/>
                      <a:pt x="27" y="0"/>
                    </a:cubicBezTo>
                  </a:path>
                </a:pathLst>
              </a:custGeom>
              <a:noFill/>
              <a:ln w="9525" cap="sq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pic>
        <p:nvPicPr>
          <p:cNvPr id="1669" name="Picture 8">
            <a:extLst>
              <a:ext uri="{FF2B5EF4-FFF2-40B4-BE49-F238E27FC236}">
                <a16:creationId xmlns:a16="http://schemas.microsoft.com/office/drawing/2014/main" id="{12E20B7F-2599-446F-BA4A-E00F9BCE27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/>
          <a:srcRect l="10521" t="15962" r="77292" b="69215"/>
          <a:stretch>
            <a:fillRect/>
          </a:stretch>
        </p:blipFill>
        <p:spPr bwMode="auto">
          <a:xfrm>
            <a:off x="11291430" y="0"/>
            <a:ext cx="900570" cy="931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2957554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2092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2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/>
          <p:cNvSpPr/>
          <p:nvPr/>
        </p:nvSpPr>
        <p:spPr>
          <a:xfrm>
            <a:off x="204216" y="6598515"/>
            <a:ext cx="252990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1200" b="1" i="1" dirty="0">
                <a:solidFill>
                  <a:srgbClr val="4950D0"/>
                </a:solidFill>
                <a:latin typeface="Montserrat" panose="00000500000000000000" pitchFamily="2" charset="-52"/>
              </a:rPr>
              <a:t>5</a:t>
            </a:r>
            <a:r>
              <a:rPr lang="en-US" sz="1200" dirty="0">
                <a:solidFill>
                  <a:srgbClr val="4950D0"/>
                </a:solidFill>
                <a:latin typeface="Montserrat" panose="00000500000000000000" pitchFamily="2" charset="-52"/>
              </a:rPr>
              <a:t>/</a:t>
            </a:r>
            <a:r>
              <a:rPr lang="en-US" sz="800" dirty="0">
                <a:solidFill>
                  <a:srgbClr val="4950D0"/>
                </a:solidFill>
                <a:latin typeface="Montserrat" panose="00000500000000000000" pitchFamily="2" charset="-52"/>
              </a:rPr>
              <a:t>13</a:t>
            </a:r>
            <a:endParaRPr lang="ru-RU" sz="800" dirty="0">
              <a:solidFill>
                <a:srgbClr val="4950D0"/>
              </a:solidFill>
              <a:latin typeface="Montserrat" panose="00000500000000000000" pitchFamily="2" charset="-52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51657" y="720917"/>
            <a:ext cx="11505381" cy="10259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4000"/>
              </a:lnSpc>
            </a:pPr>
            <a:r>
              <a:rPr lang="ru-RU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Целевой аудиторией являются женщины </a:t>
            </a:r>
            <a:r>
              <a:rPr lang="ru-RU" sz="3200" b="1" dirty="0">
                <a:solidFill>
                  <a:srgbClr val="D8294C"/>
                </a:solidFill>
                <a:latin typeface="Montserrat" panose="00000500000000000000" pitchFamily="2" charset="-52"/>
              </a:rPr>
              <a:t>(90%)</a:t>
            </a:r>
            <a:br>
              <a:rPr lang="ru-RU" sz="3200" b="1" dirty="0">
                <a:solidFill>
                  <a:srgbClr val="D8294C"/>
                </a:solidFill>
                <a:latin typeface="Montserrat" panose="00000500000000000000" pitchFamily="2" charset="-52"/>
              </a:rPr>
            </a:br>
            <a:r>
              <a:rPr lang="ru-RU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и мужчины</a:t>
            </a:r>
            <a:r>
              <a:rPr lang="en-US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 </a:t>
            </a:r>
            <a:r>
              <a:rPr lang="ru-RU" sz="3200" b="1" dirty="0">
                <a:solidFill>
                  <a:srgbClr val="D8294C"/>
                </a:solidFill>
                <a:latin typeface="Montserrat" panose="00000500000000000000" pitchFamily="2" charset="-52"/>
              </a:rPr>
              <a:t>(10%)</a:t>
            </a:r>
          </a:p>
        </p:txBody>
      </p:sp>
      <p:grpSp>
        <p:nvGrpSpPr>
          <p:cNvPr id="125" name="Группа 124"/>
          <p:cNvGrpSpPr/>
          <p:nvPr/>
        </p:nvGrpSpPr>
        <p:grpSpPr>
          <a:xfrm>
            <a:off x="70414" y="56746"/>
            <a:ext cx="11642162" cy="422119"/>
            <a:chOff x="70414" y="56746"/>
            <a:chExt cx="11642162" cy="422119"/>
          </a:xfrm>
        </p:grpSpPr>
        <p:sp>
          <p:nvSpPr>
            <p:cNvPr id="126" name="Скругленный прямоугольник 125"/>
            <p:cNvSpPr/>
            <p:nvPr/>
          </p:nvSpPr>
          <p:spPr>
            <a:xfrm>
              <a:off x="70414" y="56746"/>
              <a:ext cx="11642162" cy="422119"/>
            </a:xfrm>
            <a:prstGeom prst="roundRect">
              <a:avLst>
                <a:gd name="adj" fmla="val 17873"/>
              </a:avLst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7" name="Скругленный прямоугольник 126"/>
            <p:cNvSpPr/>
            <p:nvPr/>
          </p:nvSpPr>
          <p:spPr>
            <a:xfrm>
              <a:off x="108899" y="103316"/>
              <a:ext cx="710251" cy="328978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Введение</a:t>
              </a:r>
            </a:p>
          </p:txBody>
        </p:sp>
        <p:sp>
          <p:nvSpPr>
            <p:cNvPr id="128" name="Скругленный прямоугольник 127"/>
            <p:cNvSpPr/>
            <p:nvPr/>
          </p:nvSpPr>
          <p:spPr>
            <a:xfrm>
              <a:off x="938864" y="103317"/>
              <a:ext cx="949961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Методология разработки</a:t>
              </a:r>
            </a:p>
          </p:txBody>
        </p:sp>
        <p:sp>
          <p:nvSpPr>
            <p:cNvPr id="129" name="Скругленный прямоугольник 128"/>
            <p:cNvSpPr/>
            <p:nvPr/>
          </p:nvSpPr>
          <p:spPr>
            <a:xfrm>
              <a:off x="2008539" y="103317"/>
              <a:ext cx="1903180" cy="328977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tx1"/>
                  </a:solidFill>
                  <a:latin typeface="Montserrat ExtraBold" panose="00000900000000000000" pitchFamily="2" charset="-52"/>
                </a:rPr>
                <a:t>Бизнес-модель и бизнес-план </a:t>
              </a:r>
              <a:r>
                <a:rPr lang="ru-RU" sz="800" dirty="0" err="1">
                  <a:solidFill>
                    <a:schemeClr val="tx1"/>
                  </a:solidFill>
                  <a:latin typeface="Montserrat ExtraBold" panose="00000900000000000000" pitchFamily="2" charset="-52"/>
                </a:rPr>
                <a:t>стартап</a:t>
              </a:r>
              <a:r>
                <a:rPr lang="ru-RU" sz="800" dirty="0">
                  <a:solidFill>
                    <a:schemeClr val="tx1"/>
                  </a:solidFill>
                  <a:latin typeface="Montserrat ExtraBold" panose="00000900000000000000" pitchFamily="2" charset="-52"/>
                </a:rPr>
                <a:t>-проекта</a:t>
              </a:r>
            </a:p>
          </p:txBody>
        </p:sp>
        <p:sp>
          <p:nvSpPr>
            <p:cNvPr id="130" name="Скругленный прямоугольник 129"/>
            <p:cNvSpPr/>
            <p:nvPr/>
          </p:nvSpPr>
          <p:spPr>
            <a:xfrm>
              <a:off x="4031433" y="103317"/>
              <a:ext cx="171625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Маркетинговый анализ, стратегия и сбыт продукта</a:t>
              </a:r>
            </a:p>
          </p:txBody>
        </p:sp>
        <p:sp>
          <p:nvSpPr>
            <p:cNvPr id="131" name="Скругленный прямоугольник 130"/>
            <p:cNvSpPr/>
            <p:nvPr/>
          </p:nvSpPr>
          <p:spPr>
            <a:xfrm>
              <a:off x="5867397" y="103317"/>
              <a:ext cx="1290695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Производственный план</a:t>
              </a:r>
            </a:p>
          </p:txBody>
        </p:sp>
        <p:sp>
          <p:nvSpPr>
            <p:cNvPr id="132" name="Скругленный прямоугольник 131"/>
            <p:cNvSpPr/>
            <p:nvPr/>
          </p:nvSpPr>
          <p:spPr>
            <a:xfrm>
              <a:off x="7277806" y="103317"/>
              <a:ext cx="1177370" cy="328976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Организационный план</a:t>
              </a:r>
            </a:p>
          </p:txBody>
        </p:sp>
        <p:sp>
          <p:nvSpPr>
            <p:cNvPr id="133" name="Скругленный прямоугольник 132"/>
            <p:cNvSpPr/>
            <p:nvPr/>
          </p:nvSpPr>
          <p:spPr>
            <a:xfrm>
              <a:off x="8574890" y="103317"/>
              <a:ext cx="871316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Финансовый план</a:t>
              </a:r>
            </a:p>
          </p:txBody>
        </p:sp>
        <p:sp>
          <p:nvSpPr>
            <p:cNvPr id="134" name="Скругленный прямоугольник 133"/>
            <p:cNvSpPr/>
            <p:nvPr/>
          </p:nvSpPr>
          <p:spPr>
            <a:xfrm>
              <a:off x="9565920" y="103317"/>
              <a:ext cx="73861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Риски</a:t>
              </a:r>
              <a:b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</a:br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и гарантии</a:t>
              </a:r>
            </a:p>
          </p:txBody>
        </p:sp>
        <p:sp>
          <p:nvSpPr>
            <p:cNvPr id="135" name="Скругленный прямоугольник 134"/>
            <p:cNvSpPr/>
            <p:nvPr/>
          </p:nvSpPr>
          <p:spPr>
            <a:xfrm>
              <a:off x="10424241" y="103317"/>
              <a:ext cx="802559" cy="328976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Заключение</a:t>
              </a:r>
            </a:p>
          </p:txBody>
        </p:sp>
        <p:grpSp>
          <p:nvGrpSpPr>
            <p:cNvPr id="136" name="Группа 135"/>
            <p:cNvGrpSpPr/>
            <p:nvPr/>
          </p:nvGrpSpPr>
          <p:grpSpPr>
            <a:xfrm>
              <a:off x="879007" y="109521"/>
              <a:ext cx="9485380" cy="316568"/>
              <a:chOff x="879007" y="69805"/>
              <a:chExt cx="9485380" cy="396000"/>
            </a:xfrm>
          </p:grpSpPr>
          <p:cxnSp>
            <p:nvCxnSpPr>
              <p:cNvPr id="137" name="Прямая соединительная линия 136"/>
              <p:cNvCxnSpPr/>
              <p:nvPr/>
            </p:nvCxnSpPr>
            <p:spPr>
              <a:xfrm>
                <a:off x="87900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Прямая соединительная линия 137"/>
              <p:cNvCxnSpPr/>
              <p:nvPr/>
            </p:nvCxnSpPr>
            <p:spPr>
              <a:xfrm>
                <a:off x="1948682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Прямая соединительная линия 138"/>
              <p:cNvCxnSpPr/>
              <p:nvPr/>
            </p:nvCxnSpPr>
            <p:spPr>
              <a:xfrm>
                <a:off x="3971576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Прямая соединительная линия 139"/>
              <p:cNvCxnSpPr/>
              <p:nvPr/>
            </p:nvCxnSpPr>
            <p:spPr>
              <a:xfrm>
                <a:off x="5807540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Прямая соединительная линия 140"/>
              <p:cNvCxnSpPr/>
              <p:nvPr/>
            </p:nvCxnSpPr>
            <p:spPr>
              <a:xfrm>
                <a:off x="7217949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Прямая соединительная линия 141"/>
              <p:cNvCxnSpPr/>
              <p:nvPr/>
            </p:nvCxnSpPr>
            <p:spPr>
              <a:xfrm>
                <a:off x="851503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Прямая соединительная линия 142"/>
              <p:cNvCxnSpPr/>
              <p:nvPr/>
            </p:nvCxnSpPr>
            <p:spPr>
              <a:xfrm>
                <a:off x="950606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Прямая соединительная линия 143"/>
              <p:cNvCxnSpPr/>
              <p:nvPr/>
            </p:nvCxnSpPr>
            <p:spPr>
              <a:xfrm>
                <a:off x="1036438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1" name="Рисунок 6">
            <a:extLst>
              <a:ext uri="{FF2B5EF4-FFF2-40B4-BE49-F238E27FC236}">
                <a16:creationId xmlns:a16="http://schemas.microsoft.com/office/drawing/2014/main" id="{2FAEB3D8-06AD-48A2-B98A-8F4D82F52EEA}"/>
              </a:ext>
            </a:extLst>
          </p:cNvPr>
          <p:cNvGrpSpPr/>
          <p:nvPr/>
        </p:nvGrpSpPr>
        <p:grpSpPr>
          <a:xfrm>
            <a:off x="11653963" y="129145"/>
            <a:ext cx="304357" cy="277321"/>
            <a:chOff x="6431317" y="551201"/>
            <a:chExt cx="4753603" cy="4331342"/>
          </a:xfrm>
          <a:solidFill>
            <a:schemeClr val="bg1"/>
          </a:solidFill>
        </p:grpSpPr>
        <p:sp>
          <p:nvSpPr>
            <p:cNvPr id="212" name="Полилиния: фигура 1411">
              <a:extLst>
                <a:ext uri="{FF2B5EF4-FFF2-40B4-BE49-F238E27FC236}">
                  <a16:creationId xmlns:a16="http://schemas.microsoft.com/office/drawing/2014/main" id="{E92A686B-6B98-415D-9E08-78BD38747435}"/>
                </a:ext>
              </a:extLst>
            </p:cNvPr>
            <p:cNvSpPr/>
            <p:nvPr/>
          </p:nvSpPr>
          <p:spPr>
            <a:xfrm>
              <a:off x="8355813" y="1847323"/>
              <a:ext cx="1774509" cy="1915494"/>
            </a:xfrm>
            <a:custGeom>
              <a:avLst/>
              <a:gdLst>
                <a:gd name="connsiteX0" fmla="*/ 255643 w 1774509"/>
                <a:gd name="connsiteY0" fmla="*/ 1856472 h 1915494"/>
                <a:gd name="connsiteX1" fmla="*/ 79897 w 1774509"/>
                <a:gd name="connsiteY1" fmla="*/ 1629387 h 1915494"/>
                <a:gd name="connsiteX2" fmla="*/ 169537 w 1774509"/>
                <a:gd name="connsiteY2" fmla="*/ 1515506 h 1915494"/>
                <a:gd name="connsiteX3" fmla="*/ 364847 w 1774509"/>
                <a:gd name="connsiteY3" fmla="*/ 1474082 h 1915494"/>
                <a:gd name="connsiteX4" fmla="*/ 573854 w 1774509"/>
                <a:gd name="connsiteY4" fmla="*/ 1520602 h 1915494"/>
                <a:gd name="connsiteX5" fmla="*/ 607134 w 1774509"/>
                <a:gd name="connsiteY5" fmla="*/ 1536985 h 1915494"/>
                <a:gd name="connsiteX6" fmla="*/ 867815 w 1774509"/>
                <a:gd name="connsiteY6" fmla="*/ 1759737 h 1915494"/>
                <a:gd name="connsiteX7" fmla="*/ 255643 w 1774509"/>
                <a:gd name="connsiteY7" fmla="*/ 1856472 h 1915494"/>
                <a:gd name="connsiteX8" fmla="*/ 1670058 w 1774509"/>
                <a:gd name="connsiteY8" fmla="*/ 1310633 h 1915494"/>
                <a:gd name="connsiteX9" fmla="*/ 1287962 w 1774509"/>
                <a:gd name="connsiteY9" fmla="*/ 1295374 h 1915494"/>
                <a:gd name="connsiteX10" fmla="*/ 1223211 w 1774509"/>
                <a:gd name="connsiteY10" fmla="*/ 1400635 h 1915494"/>
                <a:gd name="connsiteX11" fmla="*/ 1242013 w 1774509"/>
                <a:gd name="connsiteY11" fmla="*/ 1387128 h 1915494"/>
                <a:gd name="connsiteX12" fmla="*/ 1370534 w 1774509"/>
                <a:gd name="connsiteY12" fmla="*/ 1325378 h 1915494"/>
                <a:gd name="connsiteX13" fmla="*/ 1573246 w 1774509"/>
                <a:gd name="connsiteY13" fmla="*/ 1381042 h 1915494"/>
                <a:gd name="connsiteX14" fmla="*/ 1623690 w 1774509"/>
                <a:gd name="connsiteY14" fmla="*/ 1565103 h 1915494"/>
                <a:gd name="connsiteX15" fmla="*/ 1605602 w 1774509"/>
                <a:gd name="connsiteY15" fmla="*/ 1659781 h 1915494"/>
                <a:gd name="connsiteX16" fmla="*/ 1408777 w 1774509"/>
                <a:gd name="connsiteY16" fmla="*/ 1848033 h 1915494"/>
                <a:gd name="connsiteX17" fmla="*/ 1138782 w 1774509"/>
                <a:gd name="connsiteY17" fmla="*/ 1834098 h 1915494"/>
                <a:gd name="connsiteX18" fmla="*/ 992287 w 1774509"/>
                <a:gd name="connsiteY18" fmla="*/ 1762061 h 1915494"/>
                <a:gd name="connsiteX19" fmla="*/ 1034750 w 1774509"/>
                <a:gd name="connsiteY19" fmla="*/ 1623301 h 1915494"/>
                <a:gd name="connsiteX20" fmla="*/ 1028320 w 1774509"/>
                <a:gd name="connsiteY20" fmla="*/ 428342 h 1915494"/>
                <a:gd name="connsiteX21" fmla="*/ 1283705 w 1774509"/>
                <a:gd name="connsiteY21" fmla="*/ 84613 h 1915494"/>
                <a:gd name="connsiteX22" fmla="*/ 1439153 w 1774509"/>
                <a:gd name="connsiteY22" fmla="*/ 220516 h 1915494"/>
                <a:gd name="connsiteX23" fmla="*/ 1457231 w 1774509"/>
                <a:gd name="connsiteY23" fmla="*/ 423408 h 1915494"/>
                <a:gd name="connsiteX24" fmla="*/ 1260549 w 1774509"/>
                <a:gd name="connsiteY24" fmla="*/ 667629 h 1915494"/>
                <a:gd name="connsiteX25" fmla="*/ 1150012 w 1774509"/>
                <a:gd name="connsiteY25" fmla="*/ 689203 h 1915494"/>
                <a:gd name="connsiteX26" fmla="*/ 1161718 w 1774509"/>
                <a:gd name="connsiteY26" fmla="*/ 693070 h 1915494"/>
                <a:gd name="connsiteX27" fmla="*/ 1237184 w 1774509"/>
                <a:gd name="connsiteY27" fmla="*/ 706624 h 1915494"/>
                <a:gd name="connsiteX28" fmla="*/ 1569540 w 1774509"/>
                <a:gd name="connsiteY28" fmla="*/ 520077 h 1915494"/>
                <a:gd name="connsiteX29" fmla="*/ 1592219 w 1774509"/>
                <a:gd name="connsiteY29" fmla="*/ 277104 h 1915494"/>
                <a:gd name="connsiteX30" fmla="*/ 1487825 w 1774509"/>
                <a:gd name="connsiteY30" fmla="*/ 82603 h 1915494"/>
                <a:gd name="connsiteX31" fmla="*/ 1010194 w 1774509"/>
                <a:gd name="connsiteY31" fmla="*/ 97053 h 1915494"/>
                <a:gd name="connsiteX32" fmla="*/ 927479 w 1774509"/>
                <a:gd name="connsiteY32" fmla="*/ 246928 h 1915494"/>
                <a:gd name="connsiteX33" fmla="*/ 904267 w 1774509"/>
                <a:gd name="connsiteY33" fmla="*/ 537041 h 1915494"/>
                <a:gd name="connsiteX34" fmla="*/ 908153 w 1774509"/>
                <a:gd name="connsiteY34" fmla="*/ 811847 h 1915494"/>
                <a:gd name="connsiteX35" fmla="*/ 602562 w 1774509"/>
                <a:gd name="connsiteY35" fmla="*/ 893181 h 1915494"/>
                <a:gd name="connsiteX36" fmla="*/ 587255 w 1774509"/>
                <a:gd name="connsiteY36" fmla="*/ 337711 h 1915494"/>
                <a:gd name="connsiteX37" fmla="*/ 261920 w 1774509"/>
                <a:gd name="connsiteY37" fmla="*/ 120579 h 1915494"/>
                <a:gd name="connsiteX38" fmla="*/ 292428 w 1774509"/>
                <a:gd name="connsiteY38" fmla="*/ 163147 h 1915494"/>
                <a:gd name="connsiteX39" fmla="*/ 475823 w 1774509"/>
                <a:gd name="connsiteY39" fmla="*/ 366543 h 1915494"/>
                <a:gd name="connsiteX40" fmla="*/ 477347 w 1774509"/>
                <a:gd name="connsiteY40" fmla="*/ 829773 h 1915494"/>
                <a:gd name="connsiteX41" fmla="*/ 660760 w 1774509"/>
                <a:gd name="connsiteY41" fmla="*/ 1111046 h 1915494"/>
                <a:gd name="connsiteX42" fmla="*/ 911420 w 1774509"/>
                <a:gd name="connsiteY42" fmla="*/ 1034103 h 1915494"/>
                <a:gd name="connsiteX43" fmla="*/ 912668 w 1774509"/>
                <a:gd name="connsiteY43" fmla="*/ 1265141 h 1915494"/>
                <a:gd name="connsiteX44" fmla="*/ 917430 w 1774509"/>
                <a:gd name="connsiteY44" fmla="*/ 1549520 h 1915494"/>
                <a:gd name="connsiteX45" fmla="*/ 903714 w 1774509"/>
                <a:gd name="connsiteY45" fmla="*/ 1693109 h 1915494"/>
                <a:gd name="connsiteX46" fmla="*/ 375381 w 1774509"/>
                <a:gd name="connsiteY46" fmla="*/ 1415646 h 1915494"/>
                <a:gd name="connsiteX47" fmla="*/ 123550 w 1774509"/>
                <a:gd name="connsiteY47" fmla="*/ 1453003 h 1915494"/>
                <a:gd name="connsiteX48" fmla="*/ 62314 w 1774509"/>
                <a:gd name="connsiteY48" fmla="*/ 1803095 h 1915494"/>
                <a:gd name="connsiteX49" fmla="*/ 348207 w 1774509"/>
                <a:gd name="connsiteY49" fmla="*/ 1899449 h 1915494"/>
                <a:gd name="connsiteX50" fmla="*/ 929641 w 1774509"/>
                <a:gd name="connsiteY50" fmla="*/ 1825678 h 1915494"/>
                <a:gd name="connsiteX51" fmla="*/ 952863 w 1774509"/>
                <a:gd name="connsiteY51" fmla="*/ 1826555 h 1915494"/>
                <a:gd name="connsiteX52" fmla="*/ 1033864 w 1774509"/>
                <a:gd name="connsiteY52" fmla="*/ 1868512 h 1915494"/>
                <a:gd name="connsiteX53" fmla="*/ 1398976 w 1774509"/>
                <a:gd name="connsiteY53" fmla="*/ 1909641 h 1915494"/>
                <a:gd name="connsiteX54" fmla="*/ 1681611 w 1774509"/>
                <a:gd name="connsiteY54" fmla="*/ 1769690 h 1915494"/>
                <a:gd name="connsiteX55" fmla="*/ 1670058 w 1774509"/>
                <a:gd name="connsiteY55" fmla="*/ 1310633 h 1915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774509" h="1915494">
                  <a:moveTo>
                    <a:pt x="255643" y="1856472"/>
                  </a:moveTo>
                  <a:cubicBezTo>
                    <a:pt x="143467" y="1836603"/>
                    <a:pt x="55379" y="1738144"/>
                    <a:pt x="79897" y="1629387"/>
                  </a:cubicBezTo>
                  <a:cubicBezTo>
                    <a:pt x="91203" y="1578866"/>
                    <a:pt x="126522" y="1543319"/>
                    <a:pt x="169537" y="1515506"/>
                  </a:cubicBezTo>
                  <a:cubicBezTo>
                    <a:pt x="229458" y="1476892"/>
                    <a:pt x="296676" y="1471539"/>
                    <a:pt x="364847" y="1474082"/>
                  </a:cubicBezTo>
                  <a:cubicBezTo>
                    <a:pt x="437065" y="1476711"/>
                    <a:pt x="507265" y="1491303"/>
                    <a:pt x="573854" y="1520602"/>
                  </a:cubicBezTo>
                  <a:cubicBezTo>
                    <a:pt x="585055" y="1525603"/>
                    <a:pt x="595961" y="1531251"/>
                    <a:pt x="607134" y="1536985"/>
                  </a:cubicBezTo>
                  <a:cubicBezTo>
                    <a:pt x="657702" y="1562950"/>
                    <a:pt x="792872" y="1707730"/>
                    <a:pt x="867815" y="1759737"/>
                  </a:cubicBezTo>
                  <a:cubicBezTo>
                    <a:pt x="802254" y="1838432"/>
                    <a:pt x="676705" y="1897239"/>
                    <a:pt x="255643" y="1856472"/>
                  </a:cubicBezTo>
                  <a:close/>
                  <a:moveTo>
                    <a:pt x="1670058" y="1310633"/>
                  </a:moveTo>
                  <a:cubicBezTo>
                    <a:pt x="1556863" y="1217812"/>
                    <a:pt x="1400795" y="1208963"/>
                    <a:pt x="1287962" y="1295374"/>
                  </a:cubicBezTo>
                  <a:cubicBezTo>
                    <a:pt x="1254939" y="1320739"/>
                    <a:pt x="1229365" y="1352524"/>
                    <a:pt x="1223211" y="1400635"/>
                  </a:cubicBezTo>
                  <a:cubicBezTo>
                    <a:pt x="1231784" y="1394481"/>
                    <a:pt x="1237051" y="1390986"/>
                    <a:pt x="1242013" y="1387128"/>
                  </a:cubicBezTo>
                  <a:cubicBezTo>
                    <a:pt x="1280885" y="1357906"/>
                    <a:pt x="1323071" y="1335950"/>
                    <a:pt x="1370534" y="1325378"/>
                  </a:cubicBezTo>
                  <a:cubicBezTo>
                    <a:pt x="1447525" y="1308223"/>
                    <a:pt x="1520258" y="1315138"/>
                    <a:pt x="1573246" y="1381042"/>
                  </a:cubicBezTo>
                  <a:cubicBezTo>
                    <a:pt x="1615984" y="1434039"/>
                    <a:pt x="1627919" y="1498561"/>
                    <a:pt x="1623690" y="1565103"/>
                  </a:cubicBezTo>
                  <a:cubicBezTo>
                    <a:pt x="1621594" y="1596907"/>
                    <a:pt x="1612784" y="1628415"/>
                    <a:pt x="1605602" y="1659781"/>
                  </a:cubicBezTo>
                  <a:cubicBezTo>
                    <a:pt x="1581247" y="1765309"/>
                    <a:pt x="1518572" y="1832431"/>
                    <a:pt x="1408777" y="1848033"/>
                  </a:cubicBezTo>
                  <a:cubicBezTo>
                    <a:pt x="1318223" y="1860740"/>
                    <a:pt x="1227659" y="1859321"/>
                    <a:pt x="1138782" y="1834098"/>
                  </a:cubicBezTo>
                  <a:cubicBezTo>
                    <a:pt x="1086375" y="1819239"/>
                    <a:pt x="1034912" y="1801532"/>
                    <a:pt x="992287" y="1762061"/>
                  </a:cubicBezTo>
                  <a:cubicBezTo>
                    <a:pt x="1017024" y="1717474"/>
                    <a:pt x="1034273" y="1671631"/>
                    <a:pt x="1034750" y="1623301"/>
                  </a:cubicBezTo>
                  <a:cubicBezTo>
                    <a:pt x="1036140" y="1472320"/>
                    <a:pt x="1030482" y="695527"/>
                    <a:pt x="1028320" y="428342"/>
                  </a:cubicBezTo>
                  <a:cubicBezTo>
                    <a:pt x="1027663" y="354009"/>
                    <a:pt x="1061096" y="54028"/>
                    <a:pt x="1283705" y="84613"/>
                  </a:cubicBezTo>
                  <a:cubicBezTo>
                    <a:pt x="1365820" y="95767"/>
                    <a:pt x="1414578" y="138124"/>
                    <a:pt x="1439153" y="220516"/>
                  </a:cubicBezTo>
                  <a:cubicBezTo>
                    <a:pt x="1459193" y="286972"/>
                    <a:pt x="1468509" y="354409"/>
                    <a:pt x="1457231" y="423408"/>
                  </a:cubicBezTo>
                  <a:cubicBezTo>
                    <a:pt x="1437924" y="541651"/>
                    <a:pt x="1377669" y="628824"/>
                    <a:pt x="1260549" y="667629"/>
                  </a:cubicBezTo>
                  <a:cubicBezTo>
                    <a:pt x="1224869" y="679506"/>
                    <a:pt x="1186292" y="682450"/>
                    <a:pt x="1150012" y="689203"/>
                  </a:cubicBezTo>
                  <a:cubicBezTo>
                    <a:pt x="1152650" y="690155"/>
                    <a:pt x="1156917" y="692289"/>
                    <a:pt x="1161718" y="693070"/>
                  </a:cubicBezTo>
                  <a:cubicBezTo>
                    <a:pt x="1186807" y="697947"/>
                    <a:pt x="1211810" y="703281"/>
                    <a:pt x="1237184" y="706624"/>
                  </a:cubicBezTo>
                  <a:cubicBezTo>
                    <a:pt x="1384593" y="726017"/>
                    <a:pt x="1516067" y="652770"/>
                    <a:pt x="1569540" y="520077"/>
                  </a:cubicBezTo>
                  <a:cubicBezTo>
                    <a:pt x="1601154" y="441800"/>
                    <a:pt x="1607355" y="360409"/>
                    <a:pt x="1592219" y="277104"/>
                  </a:cubicBezTo>
                  <a:cubicBezTo>
                    <a:pt x="1578303" y="200980"/>
                    <a:pt x="1547052" y="134000"/>
                    <a:pt x="1487825" y="82603"/>
                  </a:cubicBezTo>
                  <a:cubicBezTo>
                    <a:pt x="1351932" y="-35650"/>
                    <a:pt x="1147297" y="-23496"/>
                    <a:pt x="1010194" y="97053"/>
                  </a:cubicBezTo>
                  <a:cubicBezTo>
                    <a:pt x="965579" y="136219"/>
                    <a:pt x="943929" y="190874"/>
                    <a:pt x="927479" y="246928"/>
                  </a:cubicBezTo>
                  <a:cubicBezTo>
                    <a:pt x="899714" y="341988"/>
                    <a:pt x="905143" y="439924"/>
                    <a:pt x="904267" y="537041"/>
                  </a:cubicBezTo>
                  <a:cubicBezTo>
                    <a:pt x="903343" y="628633"/>
                    <a:pt x="909705" y="720302"/>
                    <a:pt x="908153" y="811847"/>
                  </a:cubicBezTo>
                  <a:cubicBezTo>
                    <a:pt x="903695" y="1060230"/>
                    <a:pt x="614459" y="1097368"/>
                    <a:pt x="602562" y="893181"/>
                  </a:cubicBezTo>
                  <a:cubicBezTo>
                    <a:pt x="597285" y="804341"/>
                    <a:pt x="590456" y="396700"/>
                    <a:pt x="587255" y="337711"/>
                  </a:cubicBezTo>
                  <a:cubicBezTo>
                    <a:pt x="580769" y="222078"/>
                    <a:pt x="457373" y="83479"/>
                    <a:pt x="261920" y="120579"/>
                  </a:cubicBezTo>
                  <a:lnTo>
                    <a:pt x="292428" y="163147"/>
                  </a:lnTo>
                  <a:cubicBezTo>
                    <a:pt x="411443" y="156612"/>
                    <a:pt x="472575" y="249376"/>
                    <a:pt x="475823" y="366543"/>
                  </a:cubicBezTo>
                  <a:cubicBezTo>
                    <a:pt x="480185" y="520858"/>
                    <a:pt x="477061" y="675334"/>
                    <a:pt x="477347" y="829773"/>
                  </a:cubicBezTo>
                  <a:cubicBezTo>
                    <a:pt x="477442" y="963323"/>
                    <a:pt x="537411" y="1056811"/>
                    <a:pt x="660760" y="1111046"/>
                  </a:cubicBezTo>
                  <a:cubicBezTo>
                    <a:pt x="750933" y="1150756"/>
                    <a:pt x="851470" y="1115837"/>
                    <a:pt x="911420" y="1034103"/>
                  </a:cubicBezTo>
                  <a:cubicBezTo>
                    <a:pt x="911420" y="1109455"/>
                    <a:pt x="912030" y="1190456"/>
                    <a:pt x="912668" y="1265141"/>
                  </a:cubicBezTo>
                  <a:cubicBezTo>
                    <a:pt x="913734" y="1359982"/>
                    <a:pt x="915449" y="1454784"/>
                    <a:pt x="917430" y="1549520"/>
                  </a:cubicBezTo>
                  <a:cubicBezTo>
                    <a:pt x="918402" y="1595754"/>
                    <a:pt x="921602" y="1644246"/>
                    <a:pt x="903714" y="1693109"/>
                  </a:cubicBezTo>
                  <a:cubicBezTo>
                    <a:pt x="761877" y="1600450"/>
                    <a:pt x="692173" y="1443288"/>
                    <a:pt x="375381" y="1415646"/>
                  </a:cubicBezTo>
                  <a:cubicBezTo>
                    <a:pt x="288694" y="1408178"/>
                    <a:pt x="204513" y="1417303"/>
                    <a:pt x="123550" y="1453003"/>
                  </a:cubicBezTo>
                  <a:cubicBezTo>
                    <a:pt x="-10143" y="1511925"/>
                    <a:pt x="-42690" y="1696634"/>
                    <a:pt x="62314" y="1803095"/>
                  </a:cubicBezTo>
                  <a:cubicBezTo>
                    <a:pt x="131618" y="1873275"/>
                    <a:pt x="212752" y="1900564"/>
                    <a:pt x="348207" y="1899449"/>
                  </a:cubicBezTo>
                  <a:cubicBezTo>
                    <a:pt x="626689" y="1897249"/>
                    <a:pt x="759630" y="1924624"/>
                    <a:pt x="929641" y="1825678"/>
                  </a:cubicBezTo>
                  <a:cubicBezTo>
                    <a:pt x="935271" y="1822335"/>
                    <a:pt x="946338" y="1823354"/>
                    <a:pt x="952863" y="1826555"/>
                  </a:cubicBezTo>
                  <a:cubicBezTo>
                    <a:pt x="980267" y="1839804"/>
                    <a:pt x="1005679" y="1857749"/>
                    <a:pt x="1033864" y="1868512"/>
                  </a:cubicBezTo>
                  <a:cubicBezTo>
                    <a:pt x="1151793" y="1913813"/>
                    <a:pt x="1274084" y="1923529"/>
                    <a:pt x="1398976" y="1909641"/>
                  </a:cubicBezTo>
                  <a:cubicBezTo>
                    <a:pt x="1510428" y="1897173"/>
                    <a:pt x="1603278" y="1847472"/>
                    <a:pt x="1681611" y="1769690"/>
                  </a:cubicBezTo>
                  <a:cubicBezTo>
                    <a:pt x="1791987" y="1660420"/>
                    <a:pt x="1822477" y="1435820"/>
                    <a:pt x="1670058" y="131063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3" name="Полилиния: фигура 1412">
              <a:extLst>
                <a:ext uri="{FF2B5EF4-FFF2-40B4-BE49-F238E27FC236}">
                  <a16:creationId xmlns:a16="http://schemas.microsoft.com/office/drawing/2014/main" id="{64538B63-5344-45A0-AEAF-A95803168AE8}"/>
                </a:ext>
              </a:extLst>
            </p:cNvPr>
            <p:cNvSpPr/>
            <p:nvPr/>
          </p:nvSpPr>
          <p:spPr>
            <a:xfrm>
              <a:off x="8429260" y="1846393"/>
              <a:ext cx="714607" cy="1915437"/>
            </a:xfrm>
            <a:custGeom>
              <a:avLst/>
              <a:gdLst>
                <a:gd name="connsiteX0" fmla="*/ 713109 w 714607"/>
                <a:gd name="connsiteY0" fmla="*/ 1501834 h 1915437"/>
                <a:gd name="connsiteX1" fmla="*/ 686020 w 714607"/>
                <a:gd name="connsiteY1" fmla="*/ 274376 h 1915437"/>
                <a:gd name="connsiteX2" fmla="*/ 310802 w 714607"/>
                <a:gd name="connsiteY2" fmla="*/ 4409 h 1915437"/>
                <a:gd name="connsiteX3" fmla="*/ 78 w 714607"/>
                <a:gd name="connsiteY3" fmla="*/ 365692 h 1915437"/>
                <a:gd name="connsiteX4" fmla="*/ 4773 w 714607"/>
                <a:gd name="connsiteY4" fmla="*/ 623048 h 1915437"/>
                <a:gd name="connsiteX5" fmla="*/ 9317 w 714607"/>
                <a:gd name="connsiteY5" fmla="*/ 831055 h 1915437"/>
                <a:gd name="connsiteX6" fmla="*/ 152239 w 714607"/>
                <a:gd name="connsiteY6" fmla="*/ 1008629 h 1915437"/>
                <a:gd name="connsiteX7" fmla="*/ 102243 w 714607"/>
                <a:gd name="connsiteY7" fmla="*/ 840580 h 1915437"/>
                <a:gd name="connsiteX8" fmla="*/ 110329 w 714607"/>
                <a:gd name="connsiteY8" fmla="*/ 341660 h 1915437"/>
                <a:gd name="connsiteX9" fmla="*/ 459630 w 714607"/>
                <a:gd name="connsiteY9" fmla="*/ 102745 h 1915437"/>
                <a:gd name="connsiteX10" fmla="*/ 581245 w 714607"/>
                <a:gd name="connsiteY10" fmla="*/ 288730 h 1915437"/>
                <a:gd name="connsiteX11" fmla="*/ 600981 w 714607"/>
                <a:gd name="connsiteY11" fmla="*/ 1198491 h 1915437"/>
                <a:gd name="connsiteX12" fmla="*/ 586675 w 714607"/>
                <a:gd name="connsiteY12" fmla="*/ 1193757 h 1915437"/>
                <a:gd name="connsiteX13" fmla="*/ 422940 w 714607"/>
                <a:gd name="connsiteY13" fmla="*/ 1189766 h 1915437"/>
                <a:gd name="connsiteX14" fmla="*/ 319898 w 714607"/>
                <a:gd name="connsiteY14" fmla="*/ 1237696 h 1915437"/>
                <a:gd name="connsiteX15" fmla="*/ 179462 w 714607"/>
                <a:gd name="connsiteY15" fmla="*/ 1264747 h 1915437"/>
                <a:gd name="connsiteX16" fmla="*/ 105805 w 714607"/>
                <a:gd name="connsiteY16" fmla="*/ 1246688 h 1915437"/>
                <a:gd name="connsiteX17" fmla="*/ 215104 w 714607"/>
                <a:gd name="connsiteY17" fmla="*/ 1332946 h 1915437"/>
                <a:gd name="connsiteX18" fmla="*/ 414491 w 714607"/>
                <a:gd name="connsiteY18" fmla="*/ 1303523 h 1915437"/>
                <a:gd name="connsiteX19" fmla="*/ 529734 w 714607"/>
                <a:gd name="connsiteY19" fmla="*/ 1286550 h 1915437"/>
                <a:gd name="connsiteX20" fmla="*/ 590275 w 714607"/>
                <a:gd name="connsiteY20" fmla="*/ 1298980 h 1915437"/>
                <a:gd name="connsiteX21" fmla="*/ 606934 w 714607"/>
                <a:gd name="connsiteY21" fmla="*/ 1293808 h 1915437"/>
                <a:gd name="connsiteX22" fmla="*/ 606934 w 714607"/>
                <a:gd name="connsiteY22" fmla="*/ 1514645 h 1915437"/>
                <a:gd name="connsiteX23" fmla="*/ 509694 w 714607"/>
                <a:gd name="connsiteY23" fmla="*/ 1859174 h 1915437"/>
                <a:gd name="connsiteX24" fmla="*/ 309716 w 714607"/>
                <a:gd name="connsiteY24" fmla="*/ 1813121 h 1915437"/>
                <a:gd name="connsiteX25" fmla="*/ 282960 w 714607"/>
                <a:gd name="connsiteY25" fmla="*/ 1580682 h 1915437"/>
                <a:gd name="connsiteX26" fmla="*/ 347740 w 714607"/>
                <a:gd name="connsiteY26" fmla="*/ 1538677 h 1915437"/>
                <a:gd name="connsiteX27" fmla="*/ 117245 w 714607"/>
                <a:gd name="connsiteY27" fmla="*/ 1703040 h 1915437"/>
                <a:gd name="connsiteX28" fmla="*/ 269435 w 714607"/>
                <a:gd name="connsiteY28" fmla="*/ 1900970 h 1915437"/>
                <a:gd name="connsiteX29" fmla="*/ 455934 w 714607"/>
                <a:gd name="connsiteY29" fmla="*/ 1914771 h 1915437"/>
                <a:gd name="connsiteX30" fmla="*/ 713109 w 714607"/>
                <a:gd name="connsiteY30" fmla="*/ 1501834 h 191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714607" h="1915437">
                  <a:moveTo>
                    <a:pt x="713109" y="1501834"/>
                  </a:moveTo>
                  <a:cubicBezTo>
                    <a:pt x="713109" y="1374142"/>
                    <a:pt x="698051" y="365578"/>
                    <a:pt x="686020" y="274376"/>
                  </a:cubicBezTo>
                  <a:cubicBezTo>
                    <a:pt x="658731" y="71541"/>
                    <a:pt x="482862" y="-22128"/>
                    <a:pt x="310802" y="4409"/>
                  </a:cubicBezTo>
                  <a:cubicBezTo>
                    <a:pt x="98528" y="37127"/>
                    <a:pt x="-3218" y="238914"/>
                    <a:pt x="78" y="365692"/>
                  </a:cubicBezTo>
                  <a:cubicBezTo>
                    <a:pt x="2230" y="451455"/>
                    <a:pt x="2868" y="537190"/>
                    <a:pt x="4773" y="623048"/>
                  </a:cubicBezTo>
                  <a:cubicBezTo>
                    <a:pt x="6269" y="692485"/>
                    <a:pt x="7974" y="761789"/>
                    <a:pt x="9317" y="831055"/>
                  </a:cubicBezTo>
                  <a:cubicBezTo>
                    <a:pt x="10841" y="904188"/>
                    <a:pt x="97490" y="991770"/>
                    <a:pt x="152239" y="1008629"/>
                  </a:cubicBezTo>
                  <a:cubicBezTo>
                    <a:pt x="114901" y="947803"/>
                    <a:pt x="101271" y="890815"/>
                    <a:pt x="102243" y="840580"/>
                  </a:cubicBezTo>
                  <a:cubicBezTo>
                    <a:pt x="105062" y="673826"/>
                    <a:pt x="106443" y="508253"/>
                    <a:pt x="110329" y="341660"/>
                  </a:cubicBezTo>
                  <a:cubicBezTo>
                    <a:pt x="117644" y="50748"/>
                    <a:pt x="330366" y="40718"/>
                    <a:pt x="459630" y="102745"/>
                  </a:cubicBezTo>
                  <a:cubicBezTo>
                    <a:pt x="539145" y="140731"/>
                    <a:pt x="577502" y="205767"/>
                    <a:pt x="581245" y="288730"/>
                  </a:cubicBezTo>
                  <a:cubicBezTo>
                    <a:pt x="588027" y="439511"/>
                    <a:pt x="600981" y="1172059"/>
                    <a:pt x="600981" y="1198491"/>
                  </a:cubicBezTo>
                  <a:cubicBezTo>
                    <a:pt x="594304" y="1196320"/>
                    <a:pt x="590504" y="1195300"/>
                    <a:pt x="586675" y="1193757"/>
                  </a:cubicBezTo>
                  <a:cubicBezTo>
                    <a:pt x="532677" y="1170221"/>
                    <a:pt x="477556" y="1168535"/>
                    <a:pt x="422940" y="1189766"/>
                  </a:cubicBezTo>
                  <a:cubicBezTo>
                    <a:pt x="387669" y="1203492"/>
                    <a:pt x="353541" y="1220208"/>
                    <a:pt x="319898" y="1237696"/>
                  </a:cubicBezTo>
                  <a:cubicBezTo>
                    <a:pt x="275502" y="1260690"/>
                    <a:pt x="229582" y="1274082"/>
                    <a:pt x="179462" y="1264747"/>
                  </a:cubicBezTo>
                  <a:cubicBezTo>
                    <a:pt x="154830" y="1260051"/>
                    <a:pt x="130399" y="1252822"/>
                    <a:pt x="105805" y="1246688"/>
                  </a:cubicBezTo>
                  <a:cubicBezTo>
                    <a:pt x="126246" y="1296370"/>
                    <a:pt x="163898" y="1322993"/>
                    <a:pt x="215104" y="1332946"/>
                  </a:cubicBezTo>
                  <a:cubicBezTo>
                    <a:pt x="285066" y="1346596"/>
                    <a:pt x="351864" y="1335766"/>
                    <a:pt x="414491" y="1303523"/>
                  </a:cubicBezTo>
                  <a:cubicBezTo>
                    <a:pt x="451639" y="1284445"/>
                    <a:pt x="489710" y="1280511"/>
                    <a:pt x="529734" y="1286550"/>
                  </a:cubicBezTo>
                  <a:cubicBezTo>
                    <a:pt x="550213" y="1289607"/>
                    <a:pt x="569987" y="1295418"/>
                    <a:pt x="590275" y="1298980"/>
                  </a:cubicBezTo>
                  <a:cubicBezTo>
                    <a:pt x="594685" y="1299685"/>
                    <a:pt x="600010" y="1296161"/>
                    <a:pt x="606934" y="1293808"/>
                  </a:cubicBezTo>
                  <a:lnTo>
                    <a:pt x="606934" y="1514645"/>
                  </a:lnTo>
                  <a:cubicBezTo>
                    <a:pt x="618707" y="1797614"/>
                    <a:pt x="542583" y="1853564"/>
                    <a:pt x="509694" y="1859174"/>
                  </a:cubicBezTo>
                  <a:cubicBezTo>
                    <a:pt x="437875" y="1871547"/>
                    <a:pt x="375439" y="1861289"/>
                    <a:pt x="309716" y="1813121"/>
                  </a:cubicBezTo>
                  <a:cubicBezTo>
                    <a:pt x="259910" y="1776611"/>
                    <a:pt x="191197" y="1663997"/>
                    <a:pt x="282960" y="1580682"/>
                  </a:cubicBezTo>
                  <a:cubicBezTo>
                    <a:pt x="302182" y="1563185"/>
                    <a:pt x="326766" y="1552069"/>
                    <a:pt x="347740" y="1538677"/>
                  </a:cubicBezTo>
                  <a:cubicBezTo>
                    <a:pt x="162412" y="1489413"/>
                    <a:pt x="122674" y="1659158"/>
                    <a:pt x="117245" y="1703040"/>
                  </a:cubicBezTo>
                  <a:cubicBezTo>
                    <a:pt x="99976" y="1841905"/>
                    <a:pt x="240574" y="1894121"/>
                    <a:pt x="269435" y="1900970"/>
                  </a:cubicBezTo>
                  <a:cubicBezTo>
                    <a:pt x="331252" y="1915733"/>
                    <a:pt x="392850" y="1916524"/>
                    <a:pt x="455934" y="1914771"/>
                  </a:cubicBezTo>
                  <a:cubicBezTo>
                    <a:pt x="750143" y="1906494"/>
                    <a:pt x="713109" y="1565509"/>
                    <a:pt x="713109" y="15018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4" name="Полилиния: фигура 1413">
              <a:extLst>
                <a:ext uri="{FF2B5EF4-FFF2-40B4-BE49-F238E27FC236}">
                  <a16:creationId xmlns:a16="http://schemas.microsoft.com/office/drawing/2014/main" id="{B1145438-903C-441D-81B5-71D0589FA7E8}"/>
                </a:ext>
              </a:extLst>
            </p:cNvPr>
            <p:cNvSpPr/>
            <p:nvPr/>
          </p:nvSpPr>
          <p:spPr>
            <a:xfrm>
              <a:off x="7814823" y="1847244"/>
              <a:ext cx="932795" cy="1144710"/>
            </a:xfrm>
            <a:custGeom>
              <a:avLst/>
              <a:gdLst>
                <a:gd name="connsiteX0" fmla="*/ 932631 w 932795"/>
                <a:gd name="connsiteY0" fmla="*/ 397359 h 1144710"/>
                <a:gd name="connsiteX1" fmla="*/ 877605 w 932795"/>
                <a:gd name="connsiteY1" fmla="*/ 213498 h 1144710"/>
                <a:gd name="connsiteX2" fmla="*/ 283035 w 932795"/>
                <a:gd name="connsiteY2" fmla="*/ 28237 h 1144710"/>
                <a:gd name="connsiteX3" fmla="*/ 17478 w 932795"/>
                <a:gd name="connsiteY3" fmla="*/ 280678 h 1144710"/>
                <a:gd name="connsiteX4" fmla="*/ 10849 w 932795"/>
                <a:gd name="connsiteY4" fmla="*/ 493676 h 1144710"/>
                <a:gd name="connsiteX5" fmla="*/ 172859 w 932795"/>
                <a:gd name="connsiteY5" fmla="*/ 685757 h 1144710"/>
                <a:gd name="connsiteX6" fmla="*/ 239458 w 932795"/>
                <a:gd name="connsiteY6" fmla="*/ 695558 h 1144710"/>
                <a:gd name="connsiteX7" fmla="*/ 122682 w 932795"/>
                <a:gd name="connsiteY7" fmla="*/ 547454 h 1144710"/>
                <a:gd name="connsiteX8" fmla="*/ 112795 w 932795"/>
                <a:gd name="connsiteY8" fmla="*/ 368441 h 1144710"/>
                <a:gd name="connsiteX9" fmla="*/ 394278 w 932795"/>
                <a:gd name="connsiteY9" fmla="*/ 63803 h 1144710"/>
                <a:gd name="connsiteX10" fmla="*/ 815387 w 932795"/>
                <a:gd name="connsiteY10" fmla="*/ 386977 h 1144710"/>
                <a:gd name="connsiteX11" fmla="*/ 816359 w 932795"/>
                <a:gd name="connsiteY11" fmla="*/ 679214 h 1144710"/>
                <a:gd name="connsiteX12" fmla="*/ 816130 w 932795"/>
                <a:gd name="connsiteY12" fmla="*/ 964154 h 1144710"/>
                <a:gd name="connsiteX13" fmla="*/ 724167 w 932795"/>
                <a:gd name="connsiteY13" fmla="*/ 1072834 h 1144710"/>
                <a:gd name="connsiteX14" fmla="*/ 561080 w 932795"/>
                <a:gd name="connsiteY14" fmla="*/ 1021904 h 1144710"/>
                <a:gd name="connsiteX15" fmla="*/ 665102 w 932795"/>
                <a:gd name="connsiteY15" fmla="*/ 1139547 h 1144710"/>
                <a:gd name="connsiteX16" fmla="*/ 868470 w 932795"/>
                <a:gd name="connsiteY16" fmla="*/ 1097894 h 1144710"/>
                <a:gd name="connsiteX17" fmla="*/ 932107 w 932795"/>
                <a:gd name="connsiteY17" fmla="*/ 979451 h 1144710"/>
                <a:gd name="connsiteX18" fmla="*/ 932631 w 932795"/>
                <a:gd name="connsiteY18" fmla="*/ 397359 h 1144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32795" h="1144710">
                  <a:moveTo>
                    <a:pt x="932631" y="397359"/>
                  </a:moveTo>
                  <a:cubicBezTo>
                    <a:pt x="935136" y="323807"/>
                    <a:pt x="908675" y="272534"/>
                    <a:pt x="877605" y="213498"/>
                  </a:cubicBezTo>
                  <a:cubicBezTo>
                    <a:pt x="825513" y="114257"/>
                    <a:pt x="652939" y="-70661"/>
                    <a:pt x="283035" y="28237"/>
                  </a:cubicBezTo>
                  <a:cubicBezTo>
                    <a:pt x="148256" y="64175"/>
                    <a:pt x="57740" y="143242"/>
                    <a:pt x="17478" y="280678"/>
                  </a:cubicBezTo>
                  <a:cubicBezTo>
                    <a:pt x="-2829" y="350620"/>
                    <a:pt x="-5972" y="422467"/>
                    <a:pt x="10849" y="493676"/>
                  </a:cubicBezTo>
                  <a:cubicBezTo>
                    <a:pt x="32299" y="584554"/>
                    <a:pt x="76743" y="657659"/>
                    <a:pt x="172859" y="685757"/>
                  </a:cubicBezTo>
                  <a:cubicBezTo>
                    <a:pt x="194205" y="691796"/>
                    <a:pt x="217189" y="692482"/>
                    <a:pt x="239458" y="695558"/>
                  </a:cubicBezTo>
                  <a:cubicBezTo>
                    <a:pt x="178536" y="660973"/>
                    <a:pt x="142351" y="611062"/>
                    <a:pt x="122682" y="547454"/>
                  </a:cubicBezTo>
                  <a:cubicBezTo>
                    <a:pt x="104556" y="488647"/>
                    <a:pt x="104556" y="428725"/>
                    <a:pt x="112795" y="368441"/>
                  </a:cubicBezTo>
                  <a:cubicBezTo>
                    <a:pt x="135674" y="202840"/>
                    <a:pt x="257775" y="103084"/>
                    <a:pt x="394278" y="63803"/>
                  </a:cubicBezTo>
                  <a:cubicBezTo>
                    <a:pt x="637803" y="17016"/>
                    <a:pt x="815940" y="173074"/>
                    <a:pt x="815387" y="386977"/>
                  </a:cubicBezTo>
                  <a:cubicBezTo>
                    <a:pt x="815206" y="484408"/>
                    <a:pt x="816359" y="581782"/>
                    <a:pt x="816359" y="679214"/>
                  </a:cubicBezTo>
                  <a:cubicBezTo>
                    <a:pt x="816359" y="774187"/>
                    <a:pt x="816740" y="869180"/>
                    <a:pt x="816130" y="964154"/>
                  </a:cubicBezTo>
                  <a:cubicBezTo>
                    <a:pt x="815816" y="1027971"/>
                    <a:pt x="787384" y="1062833"/>
                    <a:pt x="724167" y="1072834"/>
                  </a:cubicBezTo>
                  <a:cubicBezTo>
                    <a:pt x="662711" y="1082588"/>
                    <a:pt x="607447" y="1066957"/>
                    <a:pt x="561080" y="1021904"/>
                  </a:cubicBezTo>
                  <a:cubicBezTo>
                    <a:pt x="564785" y="1082131"/>
                    <a:pt x="605066" y="1127317"/>
                    <a:pt x="665102" y="1139547"/>
                  </a:cubicBezTo>
                  <a:cubicBezTo>
                    <a:pt x="738616" y="1154435"/>
                    <a:pt x="806739" y="1136090"/>
                    <a:pt x="868470" y="1097894"/>
                  </a:cubicBezTo>
                  <a:cubicBezTo>
                    <a:pt x="910123" y="1072034"/>
                    <a:pt x="932421" y="1032077"/>
                    <a:pt x="932107" y="979451"/>
                  </a:cubicBezTo>
                  <a:cubicBezTo>
                    <a:pt x="930945" y="785351"/>
                    <a:pt x="925897" y="591174"/>
                    <a:pt x="932631" y="3973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5" name="Полилиния: фигура 1414">
              <a:extLst>
                <a:ext uri="{FF2B5EF4-FFF2-40B4-BE49-F238E27FC236}">
                  <a16:creationId xmlns:a16="http://schemas.microsoft.com/office/drawing/2014/main" id="{A643369C-BDFA-4342-A11A-26D54412A122}"/>
                </a:ext>
              </a:extLst>
            </p:cNvPr>
            <p:cNvSpPr/>
            <p:nvPr/>
          </p:nvSpPr>
          <p:spPr>
            <a:xfrm>
              <a:off x="7555562" y="1992503"/>
              <a:ext cx="876480" cy="1773274"/>
            </a:xfrm>
            <a:custGeom>
              <a:avLst/>
              <a:gdLst>
                <a:gd name="connsiteX0" fmla="*/ 540972 w 876480"/>
                <a:gd name="connsiteY0" fmla="*/ 1244443 h 1773274"/>
                <a:gd name="connsiteX1" fmla="*/ 520160 w 876480"/>
                <a:gd name="connsiteY1" fmla="*/ 1229099 h 1773274"/>
                <a:gd name="connsiteX2" fmla="*/ 242878 w 876480"/>
                <a:gd name="connsiteY2" fmla="*/ 1197380 h 1773274"/>
                <a:gd name="connsiteX3" fmla="*/ 115252 w 876480"/>
                <a:gd name="connsiteY3" fmla="*/ 1413350 h 1773274"/>
                <a:gd name="connsiteX4" fmla="*/ 292008 w 876480"/>
                <a:gd name="connsiteY4" fmla="*/ 1687784 h 1773274"/>
                <a:gd name="connsiteX5" fmla="*/ 548411 w 876480"/>
                <a:gd name="connsiteY5" fmla="*/ 1652771 h 1773274"/>
                <a:gd name="connsiteX6" fmla="*/ 630936 w 876480"/>
                <a:gd name="connsiteY6" fmla="*/ 1470815 h 1773274"/>
                <a:gd name="connsiteX7" fmla="*/ 635536 w 876480"/>
                <a:gd name="connsiteY7" fmla="*/ 1317405 h 1773274"/>
                <a:gd name="connsiteX8" fmla="*/ 636193 w 876480"/>
                <a:gd name="connsiteY8" fmla="*/ 222430 h 1773274"/>
                <a:gd name="connsiteX9" fmla="*/ 876481 w 876480"/>
                <a:gd name="connsiteY9" fmla="*/ 1993 h 1773274"/>
                <a:gd name="connsiteX10" fmla="*/ 831694 w 876480"/>
                <a:gd name="connsiteY10" fmla="*/ 27786 h 1773274"/>
                <a:gd name="connsiteX11" fmla="*/ 732110 w 876480"/>
                <a:gd name="connsiteY11" fmla="*/ 206161 h 1773274"/>
                <a:gd name="connsiteX12" fmla="*/ 732939 w 876480"/>
                <a:gd name="connsiteY12" fmla="*/ 1402644 h 1773274"/>
                <a:gd name="connsiteX13" fmla="*/ 694715 w 876480"/>
                <a:gd name="connsiteY13" fmla="*/ 1613175 h 1773274"/>
                <a:gd name="connsiteX14" fmla="*/ 566623 w 876480"/>
                <a:gd name="connsiteY14" fmla="*/ 1735543 h 1773274"/>
                <a:gd name="connsiteX15" fmla="*/ 254774 w 876480"/>
                <a:gd name="connsiteY15" fmla="*/ 1755383 h 1773274"/>
                <a:gd name="connsiteX16" fmla="*/ 17011 w 876480"/>
                <a:gd name="connsiteY16" fmla="*/ 1536480 h 1773274"/>
                <a:gd name="connsiteX17" fmla="*/ 38166 w 876480"/>
                <a:gd name="connsiteY17" fmla="*/ 1244986 h 1773274"/>
                <a:gd name="connsiteX18" fmla="*/ 429891 w 876480"/>
                <a:gd name="connsiteY18" fmla="*/ 1117104 h 1773274"/>
                <a:gd name="connsiteX19" fmla="*/ 522351 w 876480"/>
                <a:gd name="connsiteY19" fmla="*/ 1194037 h 1773274"/>
                <a:gd name="connsiteX20" fmla="*/ 546868 w 876480"/>
                <a:gd name="connsiteY20" fmla="*/ 1239976 h 1773274"/>
                <a:gd name="connsiteX21" fmla="*/ 540972 w 876480"/>
                <a:gd name="connsiteY21" fmla="*/ 1244443 h 1773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76480" h="1773274">
                  <a:moveTo>
                    <a:pt x="540972" y="1244443"/>
                  </a:moveTo>
                  <a:cubicBezTo>
                    <a:pt x="534142" y="1239395"/>
                    <a:pt x="527227" y="1234099"/>
                    <a:pt x="520160" y="1229099"/>
                  </a:cubicBezTo>
                  <a:cubicBezTo>
                    <a:pt x="433397" y="1168815"/>
                    <a:pt x="340395" y="1157804"/>
                    <a:pt x="242878" y="1197380"/>
                  </a:cubicBezTo>
                  <a:cubicBezTo>
                    <a:pt x="154467" y="1233337"/>
                    <a:pt x="106241" y="1312309"/>
                    <a:pt x="115252" y="1413350"/>
                  </a:cubicBezTo>
                  <a:cubicBezTo>
                    <a:pt x="126253" y="1534318"/>
                    <a:pt x="181632" y="1631244"/>
                    <a:pt x="292008" y="1687784"/>
                  </a:cubicBezTo>
                  <a:cubicBezTo>
                    <a:pt x="383648" y="1734666"/>
                    <a:pt x="475354" y="1717664"/>
                    <a:pt x="548411" y="1652771"/>
                  </a:cubicBezTo>
                  <a:cubicBezTo>
                    <a:pt x="598551" y="1608232"/>
                    <a:pt x="630012" y="1543776"/>
                    <a:pt x="630936" y="1470815"/>
                  </a:cubicBezTo>
                  <a:cubicBezTo>
                    <a:pt x="631526" y="1419570"/>
                    <a:pt x="635536" y="1368554"/>
                    <a:pt x="635536" y="1317405"/>
                  </a:cubicBezTo>
                  <a:cubicBezTo>
                    <a:pt x="635936" y="952312"/>
                    <a:pt x="635536" y="587447"/>
                    <a:pt x="636193" y="222430"/>
                  </a:cubicBezTo>
                  <a:cubicBezTo>
                    <a:pt x="641194" y="184168"/>
                    <a:pt x="621049" y="-22382"/>
                    <a:pt x="876481" y="1993"/>
                  </a:cubicBezTo>
                  <a:cubicBezTo>
                    <a:pt x="867184" y="9965"/>
                    <a:pt x="840276" y="22957"/>
                    <a:pt x="831694" y="27786"/>
                  </a:cubicBezTo>
                  <a:cubicBezTo>
                    <a:pt x="761628" y="66744"/>
                    <a:pt x="730005" y="118217"/>
                    <a:pt x="732110" y="206161"/>
                  </a:cubicBezTo>
                  <a:cubicBezTo>
                    <a:pt x="734758" y="604944"/>
                    <a:pt x="733606" y="1003813"/>
                    <a:pt x="732939" y="1402644"/>
                  </a:cubicBezTo>
                  <a:cubicBezTo>
                    <a:pt x="732767" y="1474767"/>
                    <a:pt x="722090" y="1545433"/>
                    <a:pt x="694715" y="1613175"/>
                  </a:cubicBezTo>
                  <a:cubicBezTo>
                    <a:pt x="670140" y="1673716"/>
                    <a:pt x="627307" y="1718493"/>
                    <a:pt x="566623" y="1735543"/>
                  </a:cubicBezTo>
                  <a:cubicBezTo>
                    <a:pt x="464943" y="1764032"/>
                    <a:pt x="357959" y="1792950"/>
                    <a:pt x="254774" y="1755383"/>
                  </a:cubicBezTo>
                  <a:cubicBezTo>
                    <a:pt x="148428" y="1716674"/>
                    <a:pt x="43100" y="1663001"/>
                    <a:pt x="17011" y="1536480"/>
                  </a:cubicBezTo>
                  <a:cubicBezTo>
                    <a:pt x="-3144" y="1439048"/>
                    <a:pt x="-14945" y="1338922"/>
                    <a:pt x="38166" y="1244986"/>
                  </a:cubicBezTo>
                  <a:cubicBezTo>
                    <a:pt x="117795" y="1104292"/>
                    <a:pt x="295960" y="1044180"/>
                    <a:pt x="429891" y="1117104"/>
                  </a:cubicBezTo>
                  <a:cubicBezTo>
                    <a:pt x="464515" y="1135849"/>
                    <a:pt x="493557" y="1166167"/>
                    <a:pt x="522351" y="1194037"/>
                  </a:cubicBezTo>
                  <a:cubicBezTo>
                    <a:pt x="534400" y="1205467"/>
                    <a:pt x="539048" y="1224450"/>
                    <a:pt x="546868" y="1239976"/>
                  </a:cubicBezTo>
                  <a:cubicBezTo>
                    <a:pt x="544925" y="1241567"/>
                    <a:pt x="542934" y="1242986"/>
                    <a:pt x="540972" y="124444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6" name="Полилиния: фигура 1415">
              <a:extLst>
                <a:ext uri="{FF2B5EF4-FFF2-40B4-BE49-F238E27FC236}">
                  <a16:creationId xmlns:a16="http://schemas.microsoft.com/office/drawing/2014/main" id="{DE4511DF-D3E0-44D8-AFB8-348EAEF085FB}"/>
                </a:ext>
              </a:extLst>
            </p:cNvPr>
            <p:cNvSpPr/>
            <p:nvPr/>
          </p:nvSpPr>
          <p:spPr>
            <a:xfrm>
              <a:off x="6431317" y="551201"/>
              <a:ext cx="4753603" cy="4331342"/>
            </a:xfrm>
            <a:custGeom>
              <a:avLst/>
              <a:gdLst>
                <a:gd name="connsiteX0" fmla="*/ 4743564 w 4753603"/>
                <a:gd name="connsiteY0" fmla="*/ 2373725 h 4331342"/>
                <a:gd name="connsiteX1" fmla="*/ 4707388 w 4753603"/>
                <a:gd name="connsiteY1" fmla="*/ 2325367 h 4331342"/>
                <a:gd name="connsiteX2" fmla="*/ 4669193 w 4753603"/>
                <a:gd name="connsiteY2" fmla="*/ 2313623 h 4331342"/>
                <a:gd name="connsiteX3" fmla="*/ 4641209 w 4753603"/>
                <a:gd name="connsiteY3" fmla="*/ 2336568 h 4331342"/>
                <a:gd name="connsiteX4" fmla="*/ 4622035 w 4753603"/>
                <a:gd name="connsiteY4" fmla="*/ 2368525 h 4331342"/>
                <a:gd name="connsiteX5" fmla="*/ 4596660 w 4753603"/>
                <a:gd name="connsiteY5" fmla="*/ 2377088 h 4331342"/>
                <a:gd name="connsiteX6" fmla="*/ 4544444 w 4753603"/>
                <a:gd name="connsiteY6" fmla="*/ 2394299 h 4331342"/>
                <a:gd name="connsiteX7" fmla="*/ 4491962 w 4753603"/>
                <a:gd name="connsiteY7" fmla="*/ 2426313 h 4331342"/>
                <a:gd name="connsiteX8" fmla="*/ 4416048 w 4753603"/>
                <a:gd name="connsiteY8" fmla="*/ 2448077 h 4331342"/>
                <a:gd name="connsiteX9" fmla="*/ 4368308 w 4753603"/>
                <a:gd name="connsiteY9" fmla="*/ 2460308 h 4331342"/>
                <a:gd name="connsiteX10" fmla="*/ 4360431 w 4753603"/>
                <a:gd name="connsiteY10" fmla="*/ 2456631 h 4331342"/>
                <a:gd name="connsiteX11" fmla="*/ 4364174 w 4753603"/>
                <a:gd name="connsiteY11" fmla="*/ 2450621 h 4331342"/>
                <a:gd name="connsiteX12" fmla="*/ 4407180 w 4753603"/>
                <a:gd name="connsiteY12" fmla="*/ 2423551 h 4331342"/>
                <a:gd name="connsiteX13" fmla="*/ 4494943 w 4753603"/>
                <a:gd name="connsiteY13" fmla="*/ 2393490 h 4331342"/>
                <a:gd name="connsiteX14" fmla="*/ 4530671 w 4753603"/>
                <a:gd name="connsiteY14" fmla="*/ 2351008 h 4331342"/>
                <a:gd name="connsiteX15" fmla="*/ 4501753 w 4753603"/>
                <a:gd name="connsiteY15" fmla="*/ 2311899 h 4331342"/>
                <a:gd name="connsiteX16" fmla="*/ 4456853 w 4753603"/>
                <a:gd name="connsiteY16" fmla="*/ 2328653 h 4331342"/>
                <a:gd name="connsiteX17" fmla="*/ 4438717 w 4753603"/>
                <a:gd name="connsiteY17" fmla="*/ 2326119 h 4331342"/>
                <a:gd name="connsiteX18" fmla="*/ 4418057 w 4753603"/>
                <a:gd name="connsiteY18" fmla="*/ 2311546 h 4331342"/>
                <a:gd name="connsiteX19" fmla="*/ 4457938 w 4753603"/>
                <a:gd name="connsiteY19" fmla="*/ 2275942 h 4331342"/>
                <a:gd name="connsiteX20" fmla="*/ 4566971 w 4753603"/>
                <a:gd name="connsiteY20" fmla="*/ 2224793 h 4331342"/>
                <a:gd name="connsiteX21" fmla="*/ 4642304 w 4753603"/>
                <a:gd name="connsiteY21" fmla="*/ 2134924 h 4331342"/>
                <a:gd name="connsiteX22" fmla="*/ 4642752 w 4753603"/>
                <a:gd name="connsiteY22" fmla="*/ 1978000 h 4331342"/>
                <a:gd name="connsiteX23" fmla="*/ 4652086 w 4753603"/>
                <a:gd name="connsiteY23" fmla="*/ 1867214 h 4331342"/>
                <a:gd name="connsiteX24" fmla="*/ 4675928 w 4753603"/>
                <a:gd name="connsiteY24" fmla="*/ 1718577 h 4331342"/>
                <a:gd name="connsiteX25" fmla="*/ 4627817 w 4753603"/>
                <a:gd name="connsiteY25" fmla="*/ 1636757 h 4331342"/>
                <a:gd name="connsiteX26" fmla="*/ 4558941 w 4753603"/>
                <a:gd name="connsiteY26" fmla="*/ 1599143 h 4331342"/>
                <a:gd name="connsiteX27" fmla="*/ 4549702 w 4753603"/>
                <a:gd name="connsiteY27" fmla="*/ 1563519 h 4331342"/>
                <a:gd name="connsiteX28" fmla="*/ 4558380 w 4753603"/>
                <a:gd name="connsiteY28" fmla="*/ 1505998 h 4331342"/>
                <a:gd name="connsiteX29" fmla="*/ 4562551 w 4753603"/>
                <a:gd name="connsiteY29" fmla="*/ 1404842 h 4331342"/>
                <a:gd name="connsiteX30" fmla="*/ 4550959 w 4753603"/>
                <a:gd name="connsiteY30" fmla="*/ 1364637 h 4331342"/>
                <a:gd name="connsiteX31" fmla="*/ 4539615 w 4753603"/>
                <a:gd name="connsiteY31" fmla="*/ 1316879 h 4331342"/>
                <a:gd name="connsiteX32" fmla="*/ 4546178 w 4753603"/>
                <a:gd name="connsiteY32" fmla="*/ 1295514 h 4331342"/>
                <a:gd name="connsiteX33" fmla="*/ 4534824 w 4753603"/>
                <a:gd name="connsiteY33" fmla="*/ 1228582 h 4331342"/>
                <a:gd name="connsiteX34" fmla="*/ 4500001 w 4753603"/>
                <a:gd name="connsiteY34" fmla="*/ 1191720 h 4331342"/>
                <a:gd name="connsiteX35" fmla="*/ 4470969 w 4753603"/>
                <a:gd name="connsiteY35" fmla="*/ 1194940 h 4331342"/>
                <a:gd name="connsiteX36" fmla="*/ 4448928 w 4753603"/>
                <a:gd name="connsiteY36" fmla="*/ 1225687 h 4331342"/>
                <a:gd name="connsiteX37" fmla="*/ 4449032 w 4753603"/>
                <a:gd name="connsiteY37" fmla="*/ 1190149 h 4331342"/>
                <a:gd name="connsiteX38" fmla="*/ 4435945 w 4753603"/>
                <a:gd name="connsiteY38" fmla="*/ 1159269 h 4331342"/>
                <a:gd name="connsiteX39" fmla="*/ 4414457 w 4753603"/>
                <a:gd name="connsiteY39" fmla="*/ 1108510 h 4331342"/>
                <a:gd name="connsiteX40" fmla="*/ 4381329 w 4753603"/>
                <a:gd name="connsiteY40" fmla="*/ 1010603 h 4331342"/>
                <a:gd name="connsiteX41" fmla="*/ 4352354 w 4753603"/>
                <a:gd name="connsiteY41" fmla="*/ 1003564 h 4331342"/>
                <a:gd name="connsiteX42" fmla="*/ 4323598 w 4753603"/>
                <a:gd name="connsiteY42" fmla="*/ 1036453 h 4331342"/>
                <a:gd name="connsiteX43" fmla="*/ 4306062 w 4753603"/>
                <a:gd name="connsiteY43" fmla="*/ 1096785 h 4331342"/>
                <a:gd name="connsiteX44" fmla="*/ 4298118 w 4753603"/>
                <a:gd name="connsiteY44" fmla="*/ 1070762 h 4331342"/>
                <a:gd name="connsiteX45" fmla="*/ 4308025 w 4753603"/>
                <a:gd name="connsiteY45" fmla="*/ 923164 h 4331342"/>
                <a:gd name="connsiteX46" fmla="*/ 4316502 w 4753603"/>
                <a:gd name="connsiteY46" fmla="*/ 857290 h 4331342"/>
                <a:gd name="connsiteX47" fmla="*/ 4294680 w 4753603"/>
                <a:gd name="connsiteY47" fmla="*/ 792924 h 4331342"/>
                <a:gd name="connsiteX48" fmla="*/ 4242321 w 4753603"/>
                <a:gd name="connsiteY48" fmla="*/ 766571 h 4331342"/>
                <a:gd name="connsiteX49" fmla="*/ 4124468 w 4753603"/>
                <a:gd name="connsiteY49" fmla="*/ 724698 h 4331342"/>
                <a:gd name="connsiteX50" fmla="*/ 4112619 w 4753603"/>
                <a:gd name="connsiteY50" fmla="*/ 707477 h 4331342"/>
                <a:gd name="connsiteX51" fmla="*/ 4071395 w 4753603"/>
                <a:gd name="connsiteY51" fmla="*/ 620122 h 4331342"/>
                <a:gd name="connsiteX52" fmla="*/ 4006158 w 4753603"/>
                <a:gd name="connsiteY52" fmla="*/ 601434 h 4331342"/>
                <a:gd name="connsiteX53" fmla="*/ 3971754 w 4753603"/>
                <a:gd name="connsiteY53" fmla="*/ 634352 h 4331342"/>
                <a:gd name="connsiteX54" fmla="*/ 3952170 w 4753603"/>
                <a:gd name="connsiteY54" fmla="*/ 653605 h 4331342"/>
                <a:gd name="connsiteX55" fmla="*/ 3933663 w 4753603"/>
                <a:gd name="connsiteY55" fmla="*/ 646723 h 4331342"/>
                <a:gd name="connsiteX56" fmla="*/ 3899707 w 4753603"/>
                <a:gd name="connsiteY56" fmla="*/ 634216 h 4331342"/>
                <a:gd name="connsiteX57" fmla="*/ 3894115 w 4753603"/>
                <a:gd name="connsiteY57" fmla="*/ 629810 h 4331342"/>
                <a:gd name="connsiteX58" fmla="*/ 3891058 w 4753603"/>
                <a:gd name="connsiteY58" fmla="*/ 597039 h 4331342"/>
                <a:gd name="connsiteX59" fmla="*/ 3862769 w 4753603"/>
                <a:gd name="connsiteY59" fmla="*/ 532796 h 4331342"/>
                <a:gd name="connsiteX60" fmla="*/ 3858806 w 4753603"/>
                <a:gd name="connsiteY60" fmla="*/ 524573 h 4331342"/>
                <a:gd name="connsiteX61" fmla="*/ 3856291 w 4753603"/>
                <a:gd name="connsiteY61" fmla="*/ 488252 h 4331342"/>
                <a:gd name="connsiteX62" fmla="*/ 3832012 w 4753603"/>
                <a:gd name="connsiteY62" fmla="*/ 413217 h 4331342"/>
                <a:gd name="connsiteX63" fmla="*/ 3782187 w 4753603"/>
                <a:gd name="connsiteY63" fmla="*/ 378382 h 4331342"/>
                <a:gd name="connsiteX64" fmla="*/ 3752259 w 4753603"/>
                <a:gd name="connsiteY64" fmla="*/ 355960 h 4331342"/>
                <a:gd name="connsiteX65" fmla="*/ 3707502 w 4753603"/>
                <a:gd name="connsiteY65" fmla="*/ 284733 h 4331342"/>
                <a:gd name="connsiteX66" fmla="*/ 3641112 w 4753603"/>
                <a:gd name="connsiteY66" fmla="*/ 264063 h 4331342"/>
                <a:gd name="connsiteX67" fmla="*/ 3591516 w 4753603"/>
                <a:gd name="connsiteY67" fmla="*/ 330359 h 4331342"/>
                <a:gd name="connsiteX68" fmla="*/ 3602908 w 4753603"/>
                <a:gd name="connsiteY68" fmla="*/ 387348 h 4331342"/>
                <a:gd name="connsiteX69" fmla="*/ 3602965 w 4753603"/>
                <a:gd name="connsiteY69" fmla="*/ 401671 h 4331342"/>
                <a:gd name="connsiteX70" fmla="*/ 3586896 w 4753603"/>
                <a:gd name="connsiteY70" fmla="*/ 402126 h 4331342"/>
                <a:gd name="connsiteX71" fmla="*/ 3548986 w 4753603"/>
                <a:gd name="connsiteY71" fmla="*/ 400329 h 4331342"/>
                <a:gd name="connsiteX72" fmla="*/ 3517192 w 4753603"/>
                <a:gd name="connsiteY72" fmla="*/ 386823 h 4331342"/>
                <a:gd name="connsiteX73" fmla="*/ 3468996 w 4753603"/>
                <a:gd name="connsiteY73" fmla="*/ 341102 h 4331342"/>
                <a:gd name="connsiteX74" fmla="*/ 3400063 w 4753603"/>
                <a:gd name="connsiteY74" fmla="*/ 307618 h 4331342"/>
                <a:gd name="connsiteX75" fmla="*/ 3354029 w 4753603"/>
                <a:gd name="connsiteY75" fmla="*/ 316008 h 4331342"/>
                <a:gd name="connsiteX76" fmla="*/ 3338322 w 4753603"/>
                <a:gd name="connsiteY76" fmla="*/ 320424 h 4331342"/>
                <a:gd name="connsiteX77" fmla="*/ 3207506 w 4753603"/>
                <a:gd name="connsiteY77" fmla="*/ 217868 h 4331342"/>
                <a:gd name="connsiteX78" fmla="*/ 3114361 w 4753603"/>
                <a:gd name="connsiteY78" fmla="*/ 88476 h 4331342"/>
                <a:gd name="connsiteX79" fmla="*/ 3060183 w 4753603"/>
                <a:gd name="connsiteY79" fmla="*/ 27081 h 4331342"/>
                <a:gd name="connsiteX80" fmla="*/ 3046581 w 4753603"/>
                <a:gd name="connsiteY80" fmla="*/ 20044 h 4331342"/>
                <a:gd name="connsiteX81" fmla="*/ 3042409 w 4753603"/>
                <a:gd name="connsiteY81" fmla="*/ 37028 h 4331342"/>
                <a:gd name="connsiteX82" fmla="*/ 3035751 w 4753603"/>
                <a:gd name="connsiteY82" fmla="*/ 128108 h 4331342"/>
                <a:gd name="connsiteX83" fmla="*/ 3023921 w 4753603"/>
                <a:gd name="connsiteY83" fmla="*/ 251836 h 4331342"/>
                <a:gd name="connsiteX84" fmla="*/ 3017701 w 4753603"/>
                <a:gd name="connsiteY84" fmla="*/ 339957 h 4331342"/>
                <a:gd name="connsiteX85" fmla="*/ 3005919 w 4753603"/>
                <a:gd name="connsiteY85" fmla="*/ 353845 h 4331342"/>
                <a:gd name="connsiteX86" fmla="*/ 2934653 w 4753603"/>
                <a:gd name="connsiteY86" fmla="*/ 356579 h 4331342"/>
                <a:gd name="connsiteX87" fmla="*/ 2864968 w 4753603"/>
                <a:gd name="connsiteY87" fmla="*/ 351648 h 4331342"/>
                <a:gd name="connsiteX88" fmla="*/ 2835888 w 4753603"/>
                <a:gd name="connsiteY88" fmla="*/ 395119 h 4331342"/>
                <a:gd name="connsiteX89" fmla="*/ 2838450 w 4753603"/>
                <a:gd name="connsiteY89" fmla="*/ 398885 h 4331342"/>
                <a:gd name="connsiteX90" fmla="*/ 2976772 w 4753603"/>
                <a:gd name="connsiteY90" fmla="*/ 552340 h 4331342"/>
                <a:gd name="connsiteX91" fmla="*/ 3124962 w 4753603"/>
                <a:gd name="connsiteY91" fmla="*/ 692805 h 4331342"/>
                <a:gd name="connsiteX92" fmla="*/ 3230328 w 4753603"/>
                <a:gd name="connsiteY92" fmla="*/ 787002 h 4331342"/>
                <a:gd name="connsiteX93" fmla="*/ 3368011 w 4753603"/>
                <a:gd name="connsiteY93" fmla="*/ 877783 h 4331342"/>
                <a:gd name="connsiteX94" fmla="*/ 3588553 w 4753603"/>
                <a:gd name="connsiteY94" fmla="*/ 967597 h 4331342"/>
                <a:gd name="connsiteX95" fmla="*/ 3749859 w 4753603"/>
                <a:gd name="connsiteY95" fmla="*/ 1017108 h 4331342"/>
                <a:gd name="connsiteX96" fmla="*/ 3829079 w 4753603"/>
                <a:gd name="connsiteY96" fmla="*/ 1046150 h 4331342"/>
                <a:gd name="connsiteX97" fmla="*/ 3794008 w 4753603"/>
                <a:gd name="connsiteY97" fmla="*/ 1066267 h 4331342"/>
                <a:gd name="connsiteX98" fmla="*/ 3777558 w 4753603"/>
                <a:gd name="connsiteY98" fmla="*/ 1088079 h 4331342"/>
                <a:gd name="connsiteX99" fmla="*/ 3782397 w 4753603"/>
                <a:gd name="connsiteY99" fmla="*/ 1131684 h 4331342"/>
                <a:gd name="connsiteX100" fmla="*/ 3841566 w 4753603"/>
                <a:gd name="connsiteY100" fmla="*/ 1268101 h 4331342"/>
                <a:gd name="connsiteX101" fmla="*/ 3915908 w 4753603"/>
                <a:gd name="connsiteY101" fmla="*/ 1525334 h 4331342"/>
                <a:gd name="connsiteX102" fmla="*/ 3938045 w 4753603"/>
                <a:gd name="connsiteY102" fmla="*/ 1594209 h 4331342"/>
                <a:gd name="connsiteX103" fmla="*/ 3985546 w 4753603"/>
                <a:gd name="connsiteY103" fmla="*/ 1637252 h 4331342"/>
                <a:gd name="connsiteX104" fmla="*/ 4010787 w 4753603"/>
                <a:gd name="connsiteY104" fmla="*/ 1663494 h 4331342"/>
                <a:gd name="connsiteX105" fmla="*/ 4006158 w 4753603"/>
                <a:gd name="connsiteY105" fmla="*/ 1678705 h 4331342"/>
                <a:gd name="connsiteX106" fmla="*/ 3996585 w 4753603"/>
                <a:gd name="connsiteY106" fmla="*/ 1674257 h 4331342"/>
                <a:gd name="connsiteX107" fmla="*/ 3981831 w 4753603"/>
                <a:gd name="connsiteY107" fmla="*/ 1655026 h 4331342"/>
                <a:gd name="connsiteX108" fmla="*/ 3912318 w 4753603"/>
                <a:gd name="connsiteY108" fmla="*/ 1632718 h 4331342"/>
                <a:gd name="connsiteX109" fmla="*/ 3855415 w 4753603"/>
                <a:gd name="connsiteY109" fmla="*/ 1655512 h 4331342"/>
                <a:gd name="connsiteX110" fmla="*/ 3847814 w 4753603"/>
                <a:gd name="connsiteY110" fmla="*/ 1666285 h 4331342"/>
                <a:gd name="connsiteX111" fmla="*/ 3857120 w 4753603"/>
                <a:gd name="connsiteY111" fmla="*/ 1726330 h 4331342"/>
                <a:gd name="connsiteX112" fmla="*/ 3899278 w 4753603"/>
                <a:gd name="connsiteY112" fmla="*/ 1760068 h 4331342"/>
                <a:gd name="connsiteX113" fmla="*/ 3909841 w 4753603"/>
                <a:gd name="connsiteY113" fmla="*/ 1802121 h 4331342"/>
                <a:gd name="connsiteX114" fmla="*/ 3912175 w 4753603"/>
                <a:gd name="connsiteY114" fmla="*/ 1834477 h 4331342"/>
                <a:gd name="connsiteX115" fmla="*/ 3956399 w 4753603"/>
                <a:gd name="connsiteY115" fmla="*/ 1874530 h 4331342"/>
                <a:gd name="connsiteX116" fmla="*/ 3982069 w 4753603"/>
                <a:gd name="connsiteY116" fmla="*/ 1922526 h 4331342"/>
                <a:gd name="connsiteX117" fmla="*/ 3981831 w 4753603"/>
                <a:gd name="connsiteY117" fmla="*/ 1933251 h 4331342"/>
                <a:gd name="connsiteX118" fmla="*/ 3992070 w 4753603"/>
                <a:gd name="connsiteY118" fmla="*/ 1948777 h 4331342"/>
                <a:gd name="connsiteX119" fmla="*/ 4110485 w 4753603"/>
                <a:gd name="connsiteY119" fmla="*/ 2006832 h 4331342"/>
                <a:gd name="connsiteX120" fmla="*/ 4121620 w 4753603"/>
                <a:gd name="connsiteY120" fmla="*/ 2015852 h 4331342"/>
                <a:gd name="connsiteX121" fmla="*/ 4154386 w 4753603"/>
                <a:gd name="connsiteY121" fmla="*/ 2076231 h 4331342"/>
                <a:gd name="connsiteX122" fmla="*/ 4155272 w 4753603"/>
                <a:gd name="connsiteY122" fmla="*/ 2085023 h 4331342"/>
                <a:gd name="connsiteX123" fmla="*/ 4146261 w 4753603"/>
                <a:gd name="connsiteY123" fmla="*/ 2083508 h 4331342"/>
                <a:gd name="connsiteX124" fmla="*/ 4117077 w 4753603"/>
                <a:gd name="connsiteY124" fmla="*/ 2046884 h 4331342"/>
                <a:gd name="connsiteX125" fmla="*/ 4064099 w 4753603"/>
                <a:gd name="connsiteY125" fmla="*/ 2000279 h 4331342"/>
                <a:gd name="connsiteX126" fmla="*/ 4019741 w 4753603"/>
                <a:gd name="connsiteY126" fmla="*/ 2025977 h 4331342"/>
                <a:gd name="connsiteX127" fmla="*/ 4021331 w 4753603"/>
                <a:gd name="connsiteY127" fmla="*/ 2031645 h 4331342"/>
                <a:gd name="connsiteX128" fmla="*/ 4085273 w 4753603"/>
                <a:gd name="connsiteY128" fmla="*/ 2090357 h 4331342"/>
                <a:gd name="connsiteX129" fmla="*/ 4121534 w 4753603"/>
                <a:gd name="connsiteY129" fmla="*/ 2096043 h 4331342"/>
                <a:gd name="connsiteX130" fmla="*/ 4129450 w 4753603"/>
                <a:gd name="connsiteY130" fmla="*/ 2105368 h 4331342"/>
                <a:gd name="connsiteX131" fmla="*/ 4111952 w 4753603"/>
                <a:gd name="connsiteY131" fmla="*/ 2122284 h 4331342"/>
                <a:gd name="connsiteX132" fmla="*/ 4097198 w 4753603"/>
                <a:gd name="connsiteY132" fmla="*/ 2118846 h 4331342"/>
                <a:gd name="connsiteX133" fmla="*/ 4020569 w 4753603"/>
                <a:gd name="connsiteY133" fmla="*/ 2073878 h 4331342"/>
                <a:gd name="connsiteX134" fmla="*/ 3997871 w 4753603"/>
                <a:gd name="connsiteY134" fmla="*/ 2076402 h 4331342"/>
                <a:gd name="connsiteX135" fmla="*/ 3978983 w 4753603"/>
                <a:gd name="connsiteY135" fmla="*/ 2105130 h 4331342"/>
                <a:gd name="connsiteX136" fmla="*/ 3987203 w 4753603"/>
                <a:gd name="connsiteY136" fmla="*/ 2185549 h 4331342"/>
                <a:gd name="connsiteX137" fmla="*/ 3988937 w 4753603"/>
                <a:gd name="connsiteY137" fmla="*/ 2261931 h 4331342"/>
                <a:gd name="connsiteX138" fmla="*/ 3969649 w 4753603"/>
                <a:gd name="connsiteY138" fmla="*/ 2313489 h 4331342"/>
                <a:gd name="connsiteX139" fmla="*/ 3935692 w 4753603"/>
                <a:gd name="connsiteY139" fmla="*/ 2504732 h 4331342"/>
                <a:gd name="connsiteX140" fmla="*/ 3876599 w 4753603"/>
                <a:gd name="connsiteY140" fmla="*/ 2687250 h 4331342"/>
                <a:gd name="connsiteX141" fmla="*/ 3792579 w 4753603"/>
                <a:gd name="connsiteY141" fmla="*/ 2868663 h 4331342"/>
                <a:gd name="connsiteX142" fmla="*/ 3788626 w 4753603"/>
                <a:gd name="connsiteY142" fmla="*/ 3012453 h 4331342"/>
                <a:gd name="connsiteX143" fmla="*/ 3801018 w 4753603"/>
                <a:gd name="connsiteY143" fmla="*/ 3075289 h 4331342"/>
                <a:gd name="connsiteX144" fmla="*/ 3769433 w 4753603"/>
                <a:gd name="connsiteY144" fmla="*/ 3103855 h 4331342"/>
                <a:gd name="connsiteX145" fmla="*/ 3747707 w 4753603"/>
                <a:gd name="connsiteY145" fmla="*/ 3117447 h 4331342"/>
                <a:gd name="connsiteX146" fmla="*/ 3738734 w 4753603"/>
                <a:gd name="connsiteY146" fmla="*/ 3136335 h 4331342"/>
                <a:gd name="connsiteX147" fmla="*/ 3720789 w 4753603"/>
                <a:gd name="connsiteY147" fmla="*/ 3148727 h 4331342"/>
                <a:gd name="connsiteX148" fmla="*/ 3681908 w 4753603"/>
                <a:gd name="connsiteY148" fmla="*/ 3159109 h 4331342"/>
                <a:gd name="connsiteX149" fmla="*/ 3631673 w 4753603"/>
                <a:gd name="connsiteY149" fmla="*/ 3222241 h 4331342"/>
                <a:gd name="connsiteX150" fmla="*/ 3543224 w 4753603"/>
                <a:gd name="connsiteY150" fmla="*/ 3345637 h 4331342"/>
                <a:gd name="connsiteX151" fmla="*/ 3509305 w 4753603"/>
                <a:gd name="connsiteY151" fmla="*/ 3380251 h 4331342"/>
                <a:gd name="connsiteX152" fmla="*/ 3486950 w 4753603"/>
                <a:gd name="connsiteY152" fmla="*/ 3410455 h 4331342"/>
                <a:gd name="connsiteX153" fmla="*/ 3372460 w 4753603"/>
                <a:gd name="connsiteY153" fmla="*/ 3519554 h 4331342"/>
                <a:gd name="connsiteX154" fmla="*/ 3348495 w 4753603"/>
                <a:gd name="connsiteY154" fmla="*/ 3563179 h 4331342"/>
                <a:gd name="connsiteX155" fmla="*/ 3345999 w 4753603"/>
                <a:gd name="connsiteY155" fmla="*/ 3588782 h 4331342"/>
                <a:gd name="connsiteX156" fmla="*/ 3344504 w 4753603"/>
                <a:gd name="connsiteY156" fmla="*/ 3692814 h 4331342"/>
                <a:gd name="connsiteX157" fmla="*/ 3334131 w 4753603"/>
                <a:gd name="connsiteY157" fmla="*/ 3763547 h 4331342"/>
                <a:gd name="connsiteX158" fmla="*/ 3327454 w 4753603"/>
                <a:gd name="connsiteY158" fmla="*/ 3778482 h 4331342"/>
                <a:gd name="connsiteX159" fmla="*/ 3315653 w 4753603"/>
                <a:gd name="connsiteY159" fmla="*/ 3849643 h 4331342"/>
                <a:gd name="connsiteX160" fmla="*/ 3297193 w 4753603"/>
                <a:gd name="connsiteY160" fmla="*/ 3860187 h 4331342"/>
                <a:gd name="connsiteX161" fmla="*/ 3280458 w 4753603"/>
                <a:gd name="connsiteY161" fmla="*/ 3832479 h 4331342"/>
                <a:gd name="connsiteX162" fmla="*/ 3289087 w 4753603"/>
                <a:gd name="connsiteY162" fmla="*/ 3774243 h 4331342"/>
                <a:gd name="connsiteX163" fmla="*/ 3302832 w 4753603"/>
                <a:gd name="connsiteY163" fmla="*/ 3689442 h 4331342"/>
                <a:gd name="connsiteX164" fmla="*/ 3289278 w 4753603"/>
                <a:gd name="connsiteY164" fmla="*/ 3668163 h 4331342"/>
                <a:gd name="connsiteX165" fmla="*/ 3247549 w 4753603"/>
                <a:gd name="connsiteY165" fmla="*/ 3651142 h 4331342"/>
                <a:gd name="connsiteX166" fmla="*/ 2926071 w 4753603"/>
                <a:gd name="connsiteY166" fmla="*/ 3565236 h 4331342"/>
                <a:gd name="connsiteX167" fmla="*/ 2738323 w 4753603"/>
                <a:gd name="connsiteY167" fmla="*/ 3532318 h 4331342"/>
                <a:gd name="connsiteX168" fmla="*/ 2600497 w 4753603"/>
                <a:gd name="connsiteY168" fmla="*/ 3516906 h 4331342"/>
                <a:gd name="connsiteX169" fmla="*/ 2429799 w 4753603"/>
                <a:gd name="connsiteY169" fmla="*/ 3507877 h 4331342"/>
                <a:gd name="connsiteX170" fmla="*/ 2117989 w 4753603"/>
                <a:gd name="connsiteY170" fmla="*/ 3516878 h 4331342"/>
                <a:gd name="connsiteX171" fmla="*/ 2030006 w 4753603"/>
                <a:gd name="connsiteY171" fmla="*/ 3523498 h 4331342"/>
                <a:gd name="connsiteX172" fmla="*/ 1899742 w 4753603"/>
                <a:gd name="connsiteY172" fmla="*/ 3541986 h 4331342"/>
                <a:gd name="connsiteX173" fmla="*/ 1760773 w 4753603"/>
                <a:gd name="connsiteY173" fmla="*/ 3564360 h 4331342"/>
                <a:gd name="connsiteX174" fmla="*/ 1569644 w 4753603"/>
                <a:gd name="connsiteY174" fmla="*/ 3607118 h 4331342"/>
                <a:gd name="connsiteX175" fmla="*/ 1468555 w 4753603"/>
                <a:gd name="connsiteY175" fmla="*/ 3649571 h 4331342"/>
                <a:gd name="connsiteX176" fmla="*/ 1458544 w 4753603"/>
                <a:gd name="connsiteY176" fmla="*/ 3667620 h 4331342"/>
                <a:gd name="connsiteX177" fmla="*/ 1478585 w 4753603"/>
                <a:gd name="connsiteY177" fmla="*/ 3742544 h 4331342"/>
                <a:gd name="connsiteX178" fmla="*/ 1486195 w 4753603"/>
                <a:gd name="connsiteY178" fmla="*/ 3803733 h 4331342"/>
                <a:gd name="connsiteX179" fmla="*/ 1475308 w 4753603"/>
                <a:gd name="connsiteY179" fmla="*/ 3819163 h 4331342"/>
                <a:gd name="connsiteX180" fmla="*/ 1467545 w 4753603"/>
                <a:gd name="connsiteY180" fmla="*/ 3804028 h 4331342"/>
                <a:gd name="connsiteX181" fmla="*/ 1467412 w 4753603"/>
                <a:gd name="connsiteY181" fmla="*/ 3777844 h 4331342"/>
                <a:gd name="connsiteX182" fmla="*/ 1444933 w 4753603"/>
                <a:gd name="connsiteY182" fmla="*/ 3749707 h 4331342"/>
                <a:gd name="connsiteX183" fmla="*/ 1426978 w 4753603"/>
                <a:gd name="connsiteY183" fmla="*/ 3727571 h 4331342"/>
                <a:gd name="connsiteX184" fmla="*/ 1426921 w 4753603"/>
                <a:gd name="connsiteY184" fmla="*/ 3689004 h 4331342"/>
                <a:gd name="connsiteX185" fmla="*/ 1416939 w 4753603"/>
                <a:gd name="connsiteY185" fmla="*/ 3653228 h 4331342"/>
                <a:gd name="connsiteX186" fmla="*/ 1406843 w 4753603"/>
                <a:gd name="connsiteY186" fmla="*/ 3616490 h 4331342"/>
                <a:gd name="connsiteX187" fmla="*/ 1404957 w 4753603"/>
                <a:gd name="connsiteY187" fmla="*/ 3510744 h 4331342"/>
                <a:gd name="connsiteX188" fmla="*/ 1358484 w 4753603"/>
                <a:gd name="connsiteY188" fmla="*/ 3410302 h 4331342"/>
                <a:gd name="connsiteX189" fmla="*/ 1238688 w 4753603"/>
                <a:gd name="connsiteY189" fmla="*/ 3273371 h 4331342"/>
                <a:gd name="connsiteX190" fmla="*/ 1158631 w 4753603"/>
                <a:gd name="connsiteY190" fmla="*/ 3170920 h 4331342"/>
                <a:gd name="connsiteX191" fmla="*/ 1062190 w 4753603"/>
                <a:gd name="connsiteY191" fmla="*/ 3097721 h 4331342"/>
                <a:gd name="connsiteX192" fmla="*/ 1038339 w 4753603"/>
                <a:gd name="connsiteY192" fmla="*/ 3073660 h 4331342"/>
                <a:gd name="connsiteX193" fmla="*/ 1000677 w 4753603"/>
                <a:gd name="connsiteY193" fmla="*/ 3061516 h 4331342"/>
                <a:gd name="connsiteX194" fmla="*/ 991705 w 4753603"/>
                <a:gd name="connsiteY194" fmla="*/ 3066879 h 4331342"/>
                <a:gd name="connsiteX195" fmla="*/ 980132 w 4753603"/>
                <a:gd name="connsiteY195" fmla="*/ 3065031 h 4331342"/>
                <a:gd name="connsiteX196" fmla="*/ 968921 w 4753603"/>
                <a:gd name="connsiteY196" fmla="*/ 3025816 h 4331342"/>
                <a:gd name="connsiteX197" fmla="*/ 984752 w 4753603"/>
                <a:gd name="connsiteY197" fmla="*/ 2993651 h 4331342"/>
                <a:gd name="connsiteX198" fmla="*/ 1005878 w 4753603"/>
                <a:gd name="connsiteY198" fmla="*/ 2927719 h 4331342"/>
                <a:gd name="connsiteX199" fmla="*/ 974188 w 4753603"/>
                <a:gd name="connsiteY199" fmla="*/ 2815847 h 4331342"/>
                <a:gd name="connsiteX200" fmla="*/ 886877 w 4753603"/>
                <a:gd name="connsiteY200" fmla="*/ 2589428 h 4331342"/>
                <a:gd name="connsiteX201" fmla="*/ 848521 w 4753603"/>
                <a:gd name="connsiteY201" fmla="*/ 2351799 h 4331342"/>
                <a:gd name="connsiteX202" fmla="*/ 812129 w 4753603"/>
                <a:gd name="connsiteY202" fmla="*/ 2262197 h 4331342"/>
                <a:gd name="connsiteX203" fmla="*/ 808495 w 4753603"/>
                <a:gd name="connsiteY203" fmla="*/ 2216887 h 4331342"/>
                <a:gd name="connsiteX204" fmla="*/ 811582 w 4753603"/>
                <a:gd name="connsiteY204" fmla="*/ 2172986 h 4331342"/>
                <a:gd name="connsiteX205" fmla="*/ 809291 w 4753603"/>
                <a:gd name="connsiteY205" fmla="*/ 2113521 h 4331342"/>
                <a:gd name="connsiteX206" fmla="*/ 820117 w 4753603"/>
                <a:gd name="connsiteY206" fmla="*/ 2085927 h 4331342"/>
                <a:gd name="connsiteX207" fmla="*/ 782268 w 4753603"/>
                <a:gd name="connsiteY207" fmla="*/ 2014814 h 4331342"/>
                <a:gd name="connsiteX208" fmla="*/ 771783 w 4753603"/>
                <a:gd name="connsiteY208" fmla="*/ 1989334 h 4331342"/>
                <a:gd name="connsiteX209" fmla="*/ 754845 w 4753603"/>
                <a:gd name="connsiteY209" fmla="*/ 1928832 h 4331342"/>
                <a:gd name="connsiteX210" fmla="*/ 754018 w 4753603"/>
                <a:gd name="connsiteY210" fmla="*/ 1911991 h 4331342"/>
                <a:gd name="connsiteX211" fmla="*/ 786118 w 4753603"/>
                <a:gd name="connsiteY211" fmla="*/ 1871777 h 4331342"/>
                <a:gd name="connsiteX212" fmla="*/ 840719 w 4753603"/>
                <a:gd name="connsiteY212" fmla="*/ 1815456 h 4331342"/>
                <a:gd name="connsiteX213" fmla="*/ 880075 w 4753603"/>
                <a:gd name="connsiteY213" fmla="*/ 1760258 h 4331342"/>
                <a:gd name="connsiteX214" fmla="*/ 902049 w 4753603"/>
                <a:gd name="connsiteY214" fmla="*/ 1711042 h 4331342"/>
                <a:gd name="connsiteX215" fmla="*/ 935449 w 4753603"/>
                <a:gd name="connsiteY215" fmla="*/ 1693497 h 4331342"/>
                <a:gd name="connsiteX216" fmla="*/ 957605 w 4753603"/>
                <a:gd name="connsiteY216" fmla="*/ 1646873 h 4331342"/>
                <a:gd name="connsiteX217" fmla="*/ 918873 w 4753603"/>
                <a:gd name="connsiteY217" fmla="*/ 1575064 h 4331342"/>
                <a:gd name="connsiteX218" fmla="*/ 901812 w 4753603"/>
                <a:gd name="connsiteY218" fmla="*/ 1525086 h 4331342"/>
                <a:gd name="connsiteX219" fmla="*/ 915942 w 4753603"/>
                <a:gd name="connsiteY219" fmla="*/ 1401775 h 4331342"/>
                <a:gd name="connsiteX220" fmla="*/ 946254 w 4753603"/>
                <a:gd name="connsiteY220" fmla="*/ 1288142 h 4331342"/>
                <a:gd name="connsiteX221" fmla="*/ 1038339 w 4753603"/>
                <a:gd name="connsiteY221" fmla="*/ 1103319 h 4331342"/>
                <a:gd name="connsiteX222" fmla="*/ 1045131 w 4753603"/>
                <a:gd name="connsiteY222" fmla="*/ 1017946 h 4331342"/>
                <a:gd name="connsiteX223" fmla="*/ 1056846 w 4753603"/>
                <a:gd name="connsiteY223" fmla="*/ 988647 h 4331342"/>
                <a:gd name="connsiteX224" fmla="*/ 1100833 w 4753603"/>
                <a:gd name="connsiteY224" fmla="*/ 959339 h 4331342"/>
                <a:gd name="connsiteX225" fmla="*/ 1137580 w 4753603"/>
                <a:gd name="connsiteY225" fmla="*/ 938982 h 4331342"/>
                <a:gd name="connsiteX226" fmla="*/ 1380649 w 4753603"/>
                <a:gd name="connsiteY226" fmla="*/ 853349 h 4331342"/>
                <a:gd name="connsiteX227" fmla="*/ 1619088 w 4753603"/>
                <a:gd name="connsiteY227" fmla="*/ 714041 h 4331342"/>
                <a:gd name="connsiteX228" fmla="*/ 1737122 w 4753603"/>
                <a:gd name="connsiteY228" fmla="*/ 625777 h 4331342"/>
                <a:gd name="connsiteX229" fmla="*/ 1859794 w 4753603"/>
                <a:gd name="connsiteY229" fmla="*/ 524563 h 4331342"/>
                <a:gd name="connsiteX230" fmla="*/ 1983543 w 4753603"/>
                <a:gd name="connsiteY230" fmla="*/ 407614 h 4331342"/>
                <a:gd name="connsiteX231" fmla="*/ 2013585 w 4753603"/>
                <a:gd name="connsiteY231" fmla="*/ 367775 h 4331342"/>
                <a:gd name="connsiteX232" fmla="*/ 2005184 w 4753603"/>
                <a:gd name="connsiteY232" fmla="*/ 348799 h 4331342"/>
                <a:gd name="connsiteX233" fmla="*/ 1904933 w 4753603"/>
                <a:gd name="connsiteY233" fmla="*/ 342546 h 4331342"/>
                <a:gd name="connsiteX234" fmla="*/ 1823047 w 4753603"/>
                <a:gd name="connsiteY234" fmla="*/ 330514 h 4331342"/>
                <a:gd name="connsiteX235" fmla="*/ 1812598 w 4753603"/>
                <a:gd name="connsiteY235" fmla="*/ 320083 h 4331342"/>
                <a:gd name="connsiteX236" fmla="*/ 1809826 w 4753603"/>
                <a:gd name="connsiteY236" fmla="*/ 255903 h 4331342"/>
                <a:gd name="connsiteX237" fmla="*/ 1812236 w 4753603"/>
                <a:gd name="connsiteY237" fmla="*/ 139408 h 4331342"/>
                <a:gd name="connsiteX238" fmla="*/ 1809236 w 4753603"/>
                <a:gd name="connsiteY238" fmla="*/ 67602 h 4331342"/>
                <a:gd name="connsiteX239" fmla="*/ 1800435 w 4753603"/>
                <a:gd name="connsiteY239" fmla="*/ 11439 h 4331342"/>
                <a:gd name="connsiteX240" fmla="*/ 1782594 w 4753603"/>
                <a:gd name="connsiteY240" fmla="*/ 976 h 4331342"/>
                <a:gd name="connsiteX241" fmla="*/ 1760725 w 4753603"/>
                <a:gd name="connsiteY241" fmla="*/ 15473 h 4331342"/>
                <a:gd name="connsiteX242" fmla="*/ 1734160 w 4753603"/>
                <a:gd name="connsiteY242" fmla="*/ 60657 h 4331342"/>
                <a:gd name="connsiteX243" fmla="*/ 1588484 w 4753603"/>
                <a:gd name="connsiteY243" fmla="*/ 228848 h 4331342"/>
                <a:gd name="connsiteX244" fmla="*/ 1553947 w 4753603"/>
                <a:gd name="connsiteY244" fmla="*/ 250691 h 4331342"/>
                <a:gd name="connsiteX245" fmla="*/ 1487405 w 4753603"/>
                <a:gd name="connsiteY245" fmla="*/ 287869 h 4331342"/>
                <a:gd name="connsiteX246" fmla="*/ 1473270 w 4753603"/>
                <a:gd name="connsiteY246" fmla="*/ 283690 h 4331342"/>
                <a:gd name="connsiteX247" fmla="*/ 1433198 w 4753603"/>
                <a:gd name="connsiteY247" fmla="*/ 267820 h 4331342"/>
                <a:gd name="connsiteX248" fmla="*/ 1288790 w 4753603"/>
                <a:gd name="connsiteY248" fmla="*/ 351369 h 4331342"/>
                <a:gd name="connsiteX249" fmla="*/ 1281675 w 4753603"/>
                <a:gd name="connsiteY249" fmla="*/ 353196 h 4331342"/>
                <a:gd name="connsiteX250" fmla="*/ 1242355 w 4753603"/>
                <a:gd name="connsiteY250" fmla="*/ 357219 h 4331342"/>
                <a:gd name="connsiteX251" fmla="*/ 1215400 w 4753603"/>
                <a:gd name="connsiteY251" fmla="*/ 356528 h 4331342"/>
                <a:gd name="connsiteX252" fmla="*/ 1212694 w 4753603"/>
                <a:gd name="connsiteY252" fmla="*/ 336272 h 4331342"/>
                <a:gd name="connsiteX253" fmla="*/ 1226991 w 4753603"/>
                <a:gd name="connsiteY253" fmla="*/ 309898 h 4331342"/>
                <a:gd name="connsiteX254" fmla="*/ 1224601 w 4753603"/>
                <a:gd name="connsiteY254" fmla="*/ 227846 h 4331342"/>
                <a:gd name="connsiteX255" fmla="*/ 1201255 w 4753603"/>
                <a:gd name="connsiteY255" fmla="*/ 217693 h 4331342"/>
                <a:gd name="connsiteX256" fmla="*/ 1168870 w 4753603"/>
                <a:gd name="connsiteY256" fmla="*/ 225070 h 4331342"/>
                <a:gd name="connsiteX257" fmla="*/ 1114835 w 4753603"/>
                <a:gd name="connsiteY257" fmla="*/ 254323 h 4331342"/>
                <a:gd name="connsiteX258" fmla="*/ 1065809 w 4753603"/>
                <a:gd name="connsiteY258" fmla="*/ 317689 h 4331342"/>
                <a:gd name="connsiteX259" fmla="*/ 1049884 w 4753603"/>
                <a:gd name="connsiteY259" fmla="*/ 353546 h 4331342"/>
                <a:gd name="connsiteX260" fmla="*/ 999649 w 4753603"/>
                <a:gd name="connsiteY260" fmla="*/ 345899 h 4331342"/>
                <a:gd name="connsiteX261" fmla="*/ 975351 w 4753603"/>
                <a:gd name="connsiteY261" fmla="*/ 387297 h 4331342"/>
                <a:gd name="connsiteX262" fmla="*/ 965464 w 4753603"/>
                <a:gd name="connsiteY262" fmla="*/ 475344 h 4331342"/>
                <a:gd name="connsiteX263" fmla="*/ 963778 w 4753603"/>
                <a:gd name="connsiteY263" fmla="*/ 488738 h 4331342"/>
                <a:gd name="connsiteX264" fmla="*/ 954329 w 4753603"/>
                <a:gd name="connsiteY264" fmla="*/ 484652 h 4331342"/>
                <a:gd name="connsiteX265" fmla="*/ 924828 w 4753603"/>
                <a:gd name="connsiteY265" fmla="*/ 499273 h 4331342"/>
                <a:gd name="connsiteX266" fmla="*/ 919409 w 4753603"/>
                <a:gd name="connsiteY266" fmla="*/ 534737 h 4331342"/>
                <a:gd name="connsiteX267" fmla="*/ 870940 w 4753603"/>
                <a:gd name="connsiteY267" fmla="*/ 589806 h 4331342"/>
                <a:gd name="connsiteX268" fmla="*/ 840555 w 4753603"/>
                <a:gd name="connsiteY268" fmla="*/ 571790 h 4331342"/>
                <a:gd name="connsiteX269" fmla="*/ 834485 w 4753603"/>
                <a:gd name="connsiteY269" fmla="*/ 550337 h 4331342"/>
                <a:gd name="connsiteX270" fmla="*/ 763609 w 4753603"/>
                <a:gd name="connsiteY270" fmla="*/ 522468 h 4331342"/>
                <a:gd name="connsiteX271" fmla="*/ 721310 w 4753603"/>
                <a:gd name="connsiteY271" fmla="*/ 548615 h 4331342"/>
                <a:gd name="connsiteX272" fmla="*/ 686415 w 4753603"/>
                <a:gd name="connsiteY272" fmla="*/ 611103 h 4331342"/>
                <a:gd name="connsiteX273" fmla="*/ 650330 w 4753603"/>
                <a:gd name="connsiteY273" fmla="*/ 661747 h 4331342"/>
                <a:gd name="connsiteX274" fmla="*/ 530488 w 4753603"/>
                <a:gd name="connsiteY274" fmla="*/ 698356 h 4331342"/>
                <a:gd name="connsiteX275" fmla="*/ 474361 w 4753603"/>
                <a:gd name="connsiteY275" fmla="*/ 779263 h 4331342"/>
                <a:gd name="connsiteX276" fmla="*/ 480605 w 4753603"/>
                <a:gd name="connsiteY276" fmla="*/ 870344 h 4331342"/>
                <a:gd name="connsiteX277" fmla="*/ 483671 w 4753603"/>
                <a:gd name="connsiteY277" fmla="*/ 915941 h 4331342"/>
                <a:gd name="connsiteX278" fmla="*/ 483567 w 4753603"/>
                <a:gd name="connsiteY278" fmla="*/ 1032024 h 4331342"/>
                <a:gd name="connsiteX279" fmla="*/ 473691 w 4753603"/>
                <a:gd name="connsiteY279" fmla="*/ 999344 h 4331342"/>
                <a:gd name="connsiteX280" fmla="*/ 464906 w 4753603"/>
                <a:gd name="connsiteY280" fmla="*/ 940468 h 4331342"/>
                <a:gd name="connsiteX281" fmla="*/ 407260 w 4753603"/>
                <a:gd name="connsiteY281" fmla="*/ 932635 h 4331342"/>
                <a:gd name="connsiteX282" fmla="*/ 376823 w 4753603"/>
                <a:gd name="connsiteY282" fmla="*/ 977065 h 4331342"/>
                <a:gd name="connsiteX283" fmla="*/ 348482 w 4753603"/>
                <a:gd name="connsiteY283" fmla="*/ 1056475 h 4331342"/>
                <a:gd name="connsiteX284" fmla="*/ 334093 w 4753603"/>
                <a:gd name="connsiteY284" fmla="*/ 1106357 h 4331342"/>
                <a:gd name="connsiteX285" fmla="*/ 299434 w 4753603"/>
                <a:gd name="connsiteY285" fmla="*/ 1119016 h 4331342"/>
                <a:gd name="connsiteX286" fmla="*/ 286883 w 4753603"/>
                <a:gd name="connsiteY286" fmla="*/ 1114215 h 4331342"/>
                <a:gd name="connsiteX287" fmla="*/ 260037 w 4753603"/>
                <a:gd name="connsiteY287" fmla="*/ 1122369 h 4331342"/>
                <a:gd name="connsiteX288" fmla="*/ 238445 w 4753603"/>
                <a:gd name="connsiteY288" fmla="*/ 1177119 h 4331342"/>
                <a:gd name="connsiteX289" fmla="*/ 239416 w 4753603"/>
                <a:gd name="connsiteY289" fmla="*/ 1243698 h 4331342"/>
                <a:gd name="connsiteX290" fmla="*/ 233202 w 4753603"/>
                <a:gd name="connsiteY290" fmla="*/ 1276093 h 4331342"/>
                <a:gd name="connsiteX291" fmla="*/ 222963 w 4753603"/>
                <a:gd name="connsiteY291" fmla="*/ 1297591 h 4331342"/>
                <a:gd name="connsiteX292" fmla="*/ 221632 w 4753603"/>
                <a:gd name="connsiteY292" fmla="*/ 1314079 h 4331342"/>
                <a:gd name="connsiteX293" fmla="*/ 229311 w 4753603"/>
                <a:gd name="connsiteY293" fmla="*/ 1404919 h 4331342"/>
                <a:gd name="connsiteX294" fmla="*/ 229723 w 4753603"/>
                <a:gd name="connsiteY294" fmla="*/ 1417063 h 4331342"/>
                <a:gd name="connsiteX295" fmla="*/ 233460 w 4753603"/>
                <a:gd name="connsiteY295" fmla="*/ 1475708 h 4331342"/>
                <a:gd name="connsiteX296" fmla="*/ 226513 w 4753603"/>
                <a:gd name="connsiteY296" fmla="*/ 1507150 h 4331342"/>
                <a:gd name="connsiteX297" fmla="*/ 166297 w 4753603"/>
                <a:gd name="connsiteY297" fmla="*/ 1544669 h 4331342"/>
                <a:gd name="connsiteX298" fmla="*/ 110707 w 4753603"/>
                <a:gd name="connsiteY298" fmla="*/ 1637776 h 4331342"/>
                <a:gd name="connsiteX299" fmla="*/ 117271 w 4753603"/>
                <a:gd name="connsiteY299" fmla="*/ 1795377 h 4331342"/>
                <a:gd name="connsiteX300" fmla="*/ 126302 w 4753603"/>
                <a:gd name="connsiteY300" fmla="*/ 1918383 h 4331342"/>
                <a:gd name="connsiteX301" fmla="*/ 123392 w 4753603"/>
                <a:gd name="connsiteY301" fmla="*/ 2011832 h 4331342"/>
                <a:gd name="connsiteX302" fmla="*/ 116332 w 4753603"/>
                <a:gd name="connsiteY302" fmla="*/ 2057962 h 4331342"/>
                <a:gd name="connsiteX303" fmla="*/ 100633 w 4753603"/>
                <a:gd name="connsiteY303" fmla="*/ 2107711 h 4331342"/>
                <a:gd name="connsiteX304" fmla="*/ 112699 w 4753603"/>
                <a:gd name="connsiteY304" fmla="*/ 2158937 h 4331342"/>
                <a:gd name="connsiteX305" fmla="*/ 177033 w 4753603"/>
                <a:gd name="connsiteY305" fmla="*/ 2204542 h 4331342"/>
                <a:gd name="connsiteX306" fmla="*/ 249066 w 4753603"/>
                <a:gd name="connsiteY306" fmla="*/ 2252282 h 4331342"/>
                <a:gd name="connsiteX307" fmla="*/ 253225 w 4753603"/>
                <a:gd name="connsiteY307" fmla="*/ 2267760 h 4331342"/>
                <a:gd name="connsiteX308" fmla="*/ 266664 w 4753603"/>
                <a:gd name="connsiteY308" fmla="*/ 2321614 h 4331342"/>
                <a:gd name="connsiteX309" fmla="*/ 318374 w 4753603"/>
                <a:gd name="connsiteY309" fmla="*/ 2346122 h 4331342"/>
                <a:gd name="connsiteX310" fmla="*/ 374335 w 4753603"/>
                <a:gd name="connsiteY310" fmla="*/ 2359524 h 4331342"/>
                <a:gd name="connsiteX311" fmla="*/ 459446 w 4753603"/>
                <a:gd name="connsiteY311" fmla="*/ 2428856 h 4331342"/>
                <a:gd name="connsiteX312" fmla="*/ 478397 w 4753603"/>
                <a:gd name="connsiteY312" fmla="*/ 2464099 h 4331342"/>
                <a:gd name="connsiteX313" fmla="*/ 464565 w 4753603"/>
                <a:gd name="connsiteY313" fmla="*/ 2448630 h 4331342"/>
                <a:gd name="connsiteX314" fmla="*/ 419832 w 4753603"/>
                <a:gd name="connsiteY314" fmla="*/ 2414826 h 4331342"/>
                <a:gd name="connsiteX315" fmla="*/ 385864 w 4753603"/>
                <a:gd name="connsiteY315" fmla="*/ 2399386 h 4331342"/>
                <a:gd name="connsiteX316" fmla="*/ 320995 w 4753603"/>
                <a:gd name="connsiteY316" fmla="*/ 2369096 h 4331342"/>
                <a:gd name="connsiteX317" fmla="*/ 266343 w 4753603"/>
                <a:gd name="connsiteY317" fmla="*/ 2368010 h 4331342"/>
                <a:gd name="connsiteX318" fmla="*/ 250304 w 4753603"/>
                <a:gd name="connsiteY318" fmla="*/ 2361276 h 4331342"/>
                <a:gd name="connsiteX319" fmla="*/ 225728 w 4753603"/>
                <a:gd name="connsiteY319" fmla="*/ 2333892 h 4331342"/>
                <a:gd name="connsiteX320" fmla="*/ 168673 w 4753603"/>
                <a:gd name="connsiteY320" fmla="*/ 2315004 h 4331342"/>
                <a:gd name="connsiteX321" fmla="*/ 150629 w 4753603"/>
                <a:gd name="connsiteY321" fmla="*/ 2307822 h 4331342"/>
                <a:gd name="connsiteX322" fmla="*/ 133156 w 4753603"/>
                <a:gd name="connsiteY322" fmla="*/ 2276408 h 4331342"/>
                <a:gd name="connsiteX323" fmla="*/ 92778 w 4753603"/>
                <a:gd name="connsiteY323" fmla="*/ 2253539 h 4331342"/>
                <a:gd name="connsiteX324" fmla="*/ 45124 w 4753603"/>
                <a:gd name="connsiteY324" fmla="*/ 2274703 h 4331342"/>
                <a:gd name="connsiteX325" fmla="*/ 28208 w 4753603"/>
                <a:gd name="connsiteY325" fmla="*/ 2288391 h 4331342"/>
                <a:gd name="connsiteX326" fmla="*/ 5573 w 4753603"/>
                <a:gd name="connsiteY326" fmla="*/ 2345541 h 4331342"/>
                <a:gd name="connsiteX327" fmla="*/ 52164 w 4753603"/>
                <a:gd name="connsiteY327" fmla="*/ 2385574 h 4331342"/>
                <a:gd name="connsiteX328" fmla="*/ 54104 w 4753603"/>
                <a:gd name="connsiteY328" fmla="*/ 2406977 h 4331342"/>
                <a:gd name="connsiteX329" fmla="*/ 48387 w 4753603"/>
                <a:gd name="connsiteY329" fmla="*/ 2445610 h 4331342"/>
                <a:gd name="connsiteX330" fmla="*/ 71816 w 4753603"/>
                <a:gd name="connsiteY330" fmla="*/ 2498589 h 4331342"/>
                <a:gd name="connsiteX331" fmla="*/ 117674 w 4753603"/>
                <a:gd name="connsiteY331" fmla="*/ 2534927 h 4331342"/>
                <a:gd name="connsiteX332" fmla="*/ 148659 w 4753603"/>
                <a:gd name="connsiteY332" fmla="*/ 2565845 h 4331342"/>
                <a:gd name="connsiteX333" fmla="*/ 155616 w 4753603"/>
                <a:gd name="connsiteY333" fmla="*/ 2571560 h 4331342"/>
                <a:gd name="connsiteX334" fmla="*/ 240757 w 4753603"/>
                <a:gd name="connsiteY334" fmla="*/ 2577370 h 4331342"/>
                <a:gd name="connsiteX335" fmla="*/ 316185 w 4753603"/>
                <a:gd name="connsiteY335" fmla="*/ 2563730 h 4331342"/>
                <a:gd name="connsiteX336" fmla="*/ 461067 w 4753603"/>
                <a:gd name="connsiteY336" fmla="*/ 2536898 h 4331342"/>
                <a:gd name="connsiteX337" fmla="*/ 497356 w 4753603"/>
                <a:gd name="connsiteY337" fmla="*/ 2559034 h 4331342"/>
                <a:gd name="connsiteX338" fmla="*/ 572104 w 4753603"/>
                <a:gd name="connsiteY338" fmla="*/ 2753611 h 4331342"/>
                <a:gd name="connsiteX339" fmla="*/ 580918 w 4753603"/>
                <a:gd name="connsiteY339" fmla="*/ 2804360 h 4331342"/>
                <a:gd name="connsiteX340" fmla="*/ 545010 w 4753603"/>
                <a:gd name="connsiteY340" fmla="*/ 2718073 h 4331342"/>
                <a:gd name="connsiteX341" fmla="*/ 498646 w 4753603"/>
                <a:gd name="connsiteY341" fmla="*/ 2697185 h 4331342"/>
                <a:gd name="connsiteX342" fmla="*/ 484899 w 4753603"/>
                <a:gd name="connsiteY342" fmla="*/ 2693118 h 4331342"/>
                <a:gd name="connsiteX343" fmla="*/ 425293 w 4753603"/>
                <a:gd name="connsiteY343" fmla="*/ 2644397 h 4331342"/>
                <a:gd name="connsiteX344" fmla="*/ 387940 w 4753603"/>
                <a:gd name="connsiteY344" fmla="*/ 2634186 h 4331342"/>
                <a:gd name="connsiteX345" fmla="*/ 371983 w 4753603"/>
                <a:gd name="connsiteY345" fmla="*/ 2652484 h 4331342"/>
                <a:gd name="connsiteX346" fmla="*/ 369629 w 4753603"/>
                <a:gd name="connsiteY346" fmla="*/ 2653694 h 4331342"/>
                <a:gd name="connsiteX347" fmla="*/ 354405 w 4753603"/>
                <a:gd name="connsiteY347" fmla="*/ 2629491 h 4331342"/>
                <a:gd name="connsiteX348" fmla="*/ 315338 w 4753603"/>
                <a:gd name="connsiteY348" fmla="*/ 2608221 h 4331342"/>
                <a:gd name="connsiteX349" fmla="*/ 244401 w 4753603"/>
                <a:gd name="connsiteY349" fmla="*/ 2632929 h 4331342"/>
                <a:gd name="connsiteX350" fmla="*/ 228979 w 4753603"/>
                <a:gd name="connsiteY350" fmla="*/ 2670001 h 4331342"/>
                <a:gd name="connsiteX351" fmla="*/ 249354 w 4753603"/>
                <a:gd name="connsiteY351" fmla="*/ 2702424 h 4331342"/>
                <a:gd name="connsiteX352" fmla="*/ 286099 w 4753603"/>
                <a:gd name="connsiteY352" fmla="*/ 2732361 h 4331342"/>
                <a:gd name="connsiteX353" fmla="*/ 288555 w 4753603"/>
                <a:gd name="connsiteY353" fmla="*/ 2752792 h 4331342"/>
                <a:gd name="connsiteX354" fmla="*/ 288525 w 4753603"/>
                <a:gd name="connsiteY354" fmla="*/ 2799636 h 4331342"/>
                <a:gd name="connsiteX355" fmla="*/ 300507 w 4753603"/>
                <a:gd name="connsiteY355" fmla="*/ 2816924 h 4331342"/>
                <a:gd name="connsiteX356" fmla="*/ 305689 w 4753603"/>
                <a:gd name="connsiteY356" fmla="*/ 2854757 h 4331342"/>
                <a:gd name="connsiteX357" fmla="*/ 292126 w 4753603"/>
                <a:gd name="connsiteY357" fmla="*/ 2859281 h 4331342"/>
                <a:gd name="connsiteX358" fmla="*/ 227256 w 4753603"/>
                <a:gd name="connsiteY358" fmla="*/ 2830459 h 4331342"/>
                <a:gd name="connsiteX359" fmla="*/ 214654 w 4753603"/>
                <a:gd name="connsiteY359" fmla="*/ 2838584 h 4331342"/>
                <a:gd name="connsiteX360" fmla="*/ 186693 w 4753603"/>
                <a:gd name="connsiteY360" fmla="*/ 2917136 h 4331342"/>
                <a:gd name="connsiteX361" fmla="*/ 201835 w 4753603"/>
                <a:gd name="connsiteY361" fmla="*/ 2960227 h 4331342"/>
                <a:gd name="connsiteX362" fmla="*/ 243245 w 4753603"/>
                <a:gd name="connsiteY362" fmla="*/ 2977963 h 4331342"/>
                <a:gd name="connsiteX363" fmla="*/ 254547 w 4753603"/>
                <a:gd name="connsiteY363" fmla="*/ 2996803 h 4331342"/>
                <a:gd name="connsiteX364" fmla="*/ 256374 w 4753603"/>
                <a:gd name="connsiteY364" fmla="*/ 3038056 h 4331342"/>
                <a:gd name="connsiteX365" fmla="*/ 311230 w 4753603"/>
                <a:gd name="connsiteY365" fmla="*/ 3077432 h 4331342"/>
                <a:gd name="connsiteX366" fmla="*/ 364284 w 4753603"/>
                <a:gd name="connsiteY366" fmla="*/ 3081176 h 4331342"/>
                <a:gd name="connsiteX367" fmla="*/ 341689 w 4753603"/>
                <a:gd name="connsiteY367" fmla="*/ 3149108 h 4331342"/>
                <a:gd name="connsiteX368" fmla="*/ 309373 w 4753603"/>
                <a:gd name="connsiteY368" fmla="*/ 3304318 h 4331342"/>
                <a:gd name="connsiteX369" fmla="*/ 333484 w 4753603"/>
                <a:gd name="connsiteY369" fmla="*/ 3347037 h 4331342"/>
                <a:gd name="connsiteX370" fmla="*/ 394484 w 4753603"/>
                <a:gd name="connsiteY370" fmla="*/ 3373470 h 4331342"/>
                <a:gd name="connsiteX371" fmla="*/ 548562 w 4753603"/>
                <a:gd name="connsiteY371" fmla="*/ 3485303 h 4331342"/>
                <a:gd name="connsiteX372" fmla="*/ 614587 w 4753603"/>
                <a:gd name="connsiteY372" fmla="*/ 3566779 h 4331342"/>
                <a:gd name="connsiteX373" fmla="*/ 695879 w 4753603"/>
                <a:gd name="connsiteY373" fmla="*/ 3587353 h 4331342"/>
                <a:gd name="connsiteX374" fmla="*/ 775901 w 4753603"/>
                <a:gd name="connsiteY374" fmla="*/ 3564808 h 4331342"/>
                <a:gd name="connsiteX375" fmla="*/ 822884 w 4753603"/>
                <a:gd name="connsiteY375" fmla="*/ 3562931 h 4331342"/>
                <a:gd name="connsiteX376" fmla="*/ 900397 w 4753603"/>
                <a:gd name="connsiteY376" fmla="*/ 3563817 h 4331342"/>
                <a:gd name="connsiteX377" fmla="*/ 925974 w 4753603"/>
                <a:gd name="connsiteY377" fmla="*/ 3567160 h 4331342"/>
                <a:gd name="connsiteX378" fmla="*/ 961463 w 4753603"/>
                <a:gd name="connsiteY378" fmla="*/ 3579552 h 4331342"/>
                <a:gd name="connsiteX379" fmla="*/ 980942 w 4753603"/>
                <a:gd name="connsiteY379" fmla="*/ 3586877 h 4331342"/>
                <a:gd name="connsiteX380" fmla="*/ 978151 w 4753603"/>
                <a:gd name="connsiteY380" fmla="*/ 3618005 h 4331342"/>
                <a:gd name="connsiteX381" fmla="*/ 954719 w 4753603"/>
                <a:gd name="connsiteY381" fmla="*/ 3625253 h 4331342"/>
                <a:gd name="connsiteX382" fmla="*/ 918191 w 4753603"/>
                <a:gd name="connsiteY382" fmla="*/ 3614947 h 4331342"/>
                <a:gd name="connsiteX383" fmla="*/ 874956 w 4753603"/>
                <a:gd name="connsiteY383" fmla="*/ 3633702 h 4331342"/>
                <a:gd name="connsiteX384" fmla="*/ 874170 w 4753603"/>
                <a:gd name="connsiteY384" fmla="*/ 3638121 h 4331342"/>
                <a:gd name="connsiteX385" fmla="*/ 871353 w 4753603"/>
                <a:gd name="connsiteY385" fmla="*/ 3650142 h 4331342"/>
                <a:gd name="connsiteX386" fmla="*/ 858048 w 4753603"/>
                <a:gd name="connsiteY386" fmla="*/ 3644903 h 4331342"/>
                <a:gd name="connsiteX387" fmla="*/ 824204 w 4753603"/>
                <a:gd name="connsiteY387" fmla="*/ 3618719 h 4331342"/>
                <a:gd name="connsiteX388" fmla="*/ 765300 w 4753603"/>
                <a:gd name="connsiteY388" fmla="*/ 3637941 h 4331342"/>
                <a:gd name="connsiteX389" fmla="*/ 765476 w 4753603"/>
                <a:gd name="connsiteY389" fmla="*/ 3719722 h 4331342"/>
                <a:gd name="connsiteX390" fmla="*/ 813150 w 4753603"/>
                <a:gd name="connsiteY390" fmla="*/ 3755012 h 4331342"/>
                <a:gd name="connsiteX391" fmla="*/ 842960 w 4753603"/>
                <a:gd name="connsiteY391" fmla="*/ 3773119 h 4331342"/>
                <a:gd name="connsiteX392" fmla="*/ 884451 w 4753603"/>
                <a:gd name="connsiteY392" fmla="*/ 3818020 h 4331342"/>
                <a:gd name="connsiteX393" fmla="*/ 908562 w 4753603"/>
                <a:gd name="connsiteY393" fmla="*/ 3847033 h 4331342"/>
                <a:gd name="connsiteX394" fmla="*/ 903741 w 4753603"/>
                <a:gd name="connsiteY394" fmla="*/ 3878199 h 4331342"/>
                <a:gd name="connsiteX395" fmla="*/ 910420 w 4753603"/>
                <a:gd name="connsiteY395" fmla="*/ 3930825 h 4331342"/>
                <a:gd name="connsiteX396" fmla="*/ 1006326 w 4753603"/>
                <a:gd name="connsiteY396" fmla="*/ 4027846 h 4331342"/>
                <a:gd name="connsiteX397" fmla="*/ 1114558 w 4753603"/>
                <a:gd name="connsiteY397" fmla="*/ 4142784 h 4331342"/>
                <a:gd name="connsiteX398" fmla="*/ 1211037 w 4753603"/>
                <a:gd name="connsiteY398" fmla="*/ 4260171 h 4331342"/>
                <a:gd name="connsiteX399" fmla="*/ 1289885 w 4753603"/>
                <a:gd name="connsiteY399" fmla="*/ 4297775 h 4331342"/>
                <a:gd name="connsiteX400" fmla="*/ 1417834 w 4753603"/>
                <a:gd name="connsiteY400" fmla="*/ 4295594 h 4331342"/>
                <a:gd name="connsiteX401" fmla="*/ 1558071 w 4753603"/>
                <a:gd name="connsiteY401" fmla="*/ 4276478 h 4331342"/>
                <a:gd name="connsiteX402" fmla="*/ 1788290 w 4753603"/>
                <a:gd name="connsiteY402" fmla="*/ 4217670 h 4331342"/>
                <a:gd name="connsiteX403" fmla="*/ 1847726 w 4753603"/>
                <a:gd name="connsiteY403" fmla="*/ 4155539 h 4331342"/>
                <a:gd name="connsiteX404" fmla="*/ 1866643 w 4753603"/>
                <a:gd name="connsiteY404" fmla="*/ 4078719 h 4331342"/>
                <a:gd name="connsiteX405" fmla="*/ 1888207 w 4753603"/>
                <a:gd name="connsiteY405" fmla="*/ 4050297 h 4331342"/>
                <a:gd name="connsiteX406" fmla="*/ 1996650 w 4753603"/>
                <a:gd name="connsiteY406" fmla="*/ 4039057 h 4331342"/>
                <a:gd name="connsiteX407" fmla="*/ 2177272 w 4753603"/>
                <a:gd name="connsiteY407" fmla="*/ 4032666 h 4331342"/>
                <a:gd name="connsiteX408" fmla="*/ 2617289 w 4753603"/>
                <a:gd name="connsiteY408" fmla="*/ 4034885 h 4331342"/>
                <a:gd name="connsiteX409" fmla="*/ 2695223 w 4753603"/>
                <a:gd name="connsiteY409" fmla="*/ 4037114 h 4331342"/>
                <a:gd name="connsiteX410" fmla="*/ 2872635 w 4753603"/>
                <a:gd name="connsiteY410" fmla="*/ 4050011 h 4331342"/>
                <a:gd name="connsiteX411" fmla="*/ 2929699 w 4753603"/>
                <a:gd name="connsiteY411" fmla="*/ 4098960 h 4331342"/>
                <a:gd name="connsiteX412" fmla="*/ 2935596 w 4753603"/>
                <a:gd name="connsiteY412" fmla="*/ 4193181 h 4331342"/>
                <a:gd name="connsiteX413" fmla="*/ 2960618 w 4753603"/>
                <a:gd name="connsiteY413" fmla="*/ 4233415 h 4331342"/>
                <a:gd name="connsiteX414" fmla="*/ 3105979 w 4753603"/>
                <a:gd name="connsiteY414" fmla="*/ 4278068 h 4331342"/>
                <a:gd name="connsiteX415" fmla="*/ 3230442 w 4753603"/>
                <a:gd name="connsiteY415" fmla="*/ 4301071 h 4331342"/>
                <a:gd name="connsiteX416" fmla="*/ 3337732 w 4753603"/>
                <a:gd name="connsiteY416" fmla="*/ 4318435 h 4331342"/>
                <a:gd name="connsiteX417" fmla="*/ 3424638 w 4753603"/>
                <a:gd name="connsiteY417" fmla="*/ 4329199 h 4331342"/>
                <a:gd name="connsiteX418" fmla="*/ 3538442 w 4753603"/>
                <a:gd name="connsiteY418" fmla="*/ 4297775 h 4331342"/>
                <a:gd name="connsiteX419" fmla="*/ 3600974 w 4753603"/>
                <a:gd name="connsiteY419" fmla="*/ 4219547 h 4331342"/>
                <a:gd name="connsiteX420" fmla="*/ 3665020 w 4753603"/>
                <a:gd name="connsiteY420" fmla="*/ 4137574 h 4331342"/>
                <a:gd name="connsiteX421" fmla="*/ 3765194 w 4753603"/>
                <a:gd name="connsiteY421" fmla="*/ 4046601 h 4331342"/>
                <a:gd name="connsiteX422" fmla="*/ 3838146 w 4753603"/>
                <a:gd name="connsiteY422" fmla="*/ 3988194 h 4331342"/>
                <a:gd name="connsiteX423" fmla="*/ 3855044 w 4753603"/>
                <a:gd name="connsiteY423" fmla="*/ 3969515 h 4331342"/>
                <a:gd name="connsiteX424" fmla="*/ 3862083 w 4753603"/>
                <a:gd name="connsiteY424" fmla="*/ 3897240 h 4331342"/>
                <a:gd name="connsiteX425" fmla="*/ 3879333 w 4753603"/>
                <a:gd name="connsiteY425" fmla="*/ 3853844 h 4331342"/>
                <a:gd name="connsiteX426" fmla="*/ 3885295 w 4753603"/>
                <a:gd name="connsiteY426" fmla="*/ 3849053 h 4331342"/>
                <a:gd name="connsiteX427" fmla="*/ 3899183 w 4753603"/>
                <a:gd name="connsiteY427" fmla="*/ 3827812 h 4331342"/>
                <a:gd name="connsiteX428" fmla="*/ 3911413 w 4753603"/>
                <a:gd name="connsiteY428" fmla="*/ 3808419 h 4331342"/>
                <a:gd name="connsiteX429" fmla="*/ 3958942 w 4753603"/>
                <a:gd name="connsiteY429" fmla="*/ 3785445 h 4331342"/>
                <a:gd name="connsiteX430" fmla="*/ 3977421 w 4753603"/>
                <a:gd name="connsiteY430" fmla="*/ 3759946 h 4331342"/>
                <a:gd name="connsiteX431" fmla="*/ 3980240 w 4753603"/>
                <a:gd name="connsiteY431" fmla="*/ 3662096 h 4331342"/>
                <a:gd name="connsiteX432" fmla="*/ 3960171 w 4753603"/>
                <a:gd name="connsiteY432" fmla="*/ 3641732 h 4331342"/>
                <a:gd name="connsiteX433" fmla="*/ 3908993 w 4753603"/>
                <a:gd name="connsiteY433" fmla="*/ 3658915 h 4331342"/>
                <a:gd name="connsiteX434" fmla="*/ 3879799 w 4753603"/>
                <a:gd name="connsiteY434" fmla="*/ 3651571 h 4331342"/>
                <a:gd name="connsiteX435" fmla="*/ 3850015 w 4753603"/>
                <a:gd name="connsiteY435" fmla="*/ 3645313 h 4331342"/>
                <a:gd name="connsiteX436" fmla="*/ 3805876 w 4753603"/>
                <a:gd name="connsiteY436" fmla="*/ 3664915 h 4331342"/>
                <a:gd name="connsiteX437" fmla="*/ 3782302 w 4753603"/>
                <a:gd name="connsiteY437" fmla="*/ 3655438 h 4331342"/>
                <a:gd name="connsiteX438" fmla="*/ 3780378 w 4753603"/>
                <a:gd name="connsiteY438" fmla="*/ 3624834 h 4331342"/>
                <a:gd name="connsiteX439" fmla="*/ 3805190 w 4753603"/>
                <a:gd name="connsiteY439" fmla="*/ 3605127 h 4331342"/>
                <a:gd name="connsiteX440" fmla="*/ 3839947 w 4753603"/>
                <a:gd name="connsiteY440" fmla="*/ 3595888 h 4331342"/>
                <a:gd name="connsiteX441" fmla="*/ 3890743 w 4753603"/>
                <a:gd name="connsiteY441" fmla="*/ 3596840 h 4331342"/>
                <a:gd name="connsiteX442" fmla="*/ 3932053 w 4753603"/>
                <a:gd name="connsiteY442" fmla="*/ 3604793 h 4331342"/>
                <a:gd name="connsiteX443" fmla="*/ 3993394 w 4753603"/>
                <a:gd name="connsiteY443" fmla="*/ 3616290 h 4331342"/>
                <a:gd name="connsiteX444" fmla="*/ 4090226 w 4753603"/>
                <a:gd name="connsiteY444" fmla="*/ 3641560 h 4331342"/>
                <a:gd name="connsiteX445" fmla="*/ 4119496 w 4753603"/>
                <a:gd name="connsiteY445" fmla="*/ 3635893 h 4331342"/>
                <a:gd name="connsiteX446" fmla="*/ 4177608 w 4753603"/>
                <a:gd name="connsiteY446" fmla="*/ 3574409 h 4331342"/>
                <a:gd name="connsiteX447" fmla="*/ 4242578 w 4753603"/>
                <a:gd name="connsiteY447" fmla="*/ 3509839 h 4331342"/>
                <a:gd name="connsiteX448" fmla="*/ 4378462 w 4753603"/>
                <a:gd name="connsiteY448" fmla="*/ 3419437 h 4331342"/>
                <a:gd name="connsiteX449" fmla="*/ 4425906 w 4753603"/>
                <a:gd name="connsiteY449" fmla="*/ 3310623 h 4331342"/>
                <a:gd name="connsiteX450" fmla="*/ 4395674 w 4753603"/>
                <a:gd name="connsiteY450" fmla="*/ 3231642 h 4331342"/>
                <a:gd name="connsiteX451" fmla="*/ 4391339 w 4753603"/>
                <a:gd name="connsiteY451" fmla="*/ 3211668 h 4331342"/>
                <a:gd name="connsiteX452" fmla="*/ 4400531 w 4753603"/>
                <a:gd name="connsiteY452" fmla="*/ 3173854 h 4331342"/>
                <a:gd name="connsiteX453" fmla="*/ 4425115 w 4753603"/>
                <a:gd name="connsiteY453" fmla="*/ 3144812 h 4331342"/>
                <a:gd name="connsiteX454" fmla="*/ 4431335 w 4753603"/>
                <a:gd name="connsiteY454" fmla="*/ 3140669 h 4331342"/>
                <a:gd name="connsiteX455" fmla="*/ 4479360 w 4753603"/>
                <a:gd name="connsiteY455" fmla="*/ 3119923 h 4331342"/>
                <a:gd name="connsiteX456" fmla="*/ 4516031 w 4753603"/>
                <a:gd name="connsiteY456" fmla="*/ 3074127 h 4331342"/>
                <a:gd name="connsiteX457" fmla="*/ 4532957 w 4753603"/>
                <a:gd name="connsiteY457" fmla="*/ 3034456 h 4331342"/>
                <a:gd name="connsiteX458" fmla="*/ 4569438 w 4753603"/>
                <a:gd name="connsiteY458" fmla="*/ 2999346 h 4331342"/>
                <a:gd name="connsiteX459" fmla="*/ 4540911 w 4753603"/>
                <a:gd name="connsiteY459" fmla="*/ 2936596 h 4331342"/>
                <a:gd name="connsiteX460" fmla="*/ 4487618 w 4753603"/>
                <a:gd name="connsiteY460" fmla="*/ 2923013 h 4331342"/>
                <a:gd name="connsiteX461" fmla="*/ 4464625 w 4753603"/>
                <a:gd name="connsiteY461" fmla="*/ 2945463 h 4331342"/>
                <a:gd name="connsiteX462" fmla="*/ 4439927 w 4753603"/>
                <a:gd name="connsiteY462" fmla="*/ 2945092 h 4331342"/>
                <a:gd name="connsiteX463" fmla="*/ 4402046 w 4753603"/>
                <a:gd name="connsiteY463" fmla="*/ 2935891 h 4331342"/>
                <a:gd name="connsiteX464" fmla="*/ 4391330 w 4753603"/>
                <a:gd name="connsiteY464" fmla="*/ 2930976 h 4331342"/>
                <a:gd name="connsiteX465" fmla="*/ 4390806 w 4753603"/>
                <a:gd name="connsiteY465" fmla="*/ 2922308 h 4331342"/>
                <a:gd name="connsiteX466" fmla="*/ 4413676 w 4753603"/>
                <a:gd name="connsiteY466" fmla="*/ 2913745 h 4331342"/>
                <a:gd name="connsiteX467" fmla="*/ 4445965 w 4753603"/>
                <a:gd name="connsiteY467" fmla="*/ 2893857 h 4331342"/>
                <a:gd name="connsiteX468" fmla="*/ 4480417 w 4753603"/>
                <a:gd name="connsiteY468" fmla="*/ 2851337 h 4331342"/>
                <a:gd name="connsiteX469" fmla="*/ 4486723 w 4753603"/>
                <a:gd name="connsiteY469" fmla="*/ 2803198 h 4331342"/>
                <a:gd name="connsiteX470" fmla="*/ 4489238 w 4753603"/>
                <a:gd name="connsiteY470" fmla="*/ 2782758 h 4331342"/>
                <a:gd name="connsiteX471" fmla="*/ 4535481 w 4753603"/>
                <a:gd name="connsiteY471" fmla="*/ 2720826 h 4331342"/>
                <a:gd name="connsiteX472" fmla="*/ 4511574 w 4753603"/>
                <a:gd name="connsiteY472" fmla="*/ 2663152 h 4331342"/>
                <a:gd name="connsiteX473" fmla="*/ 4485590 w 4753603"/>
                <a:gd name="connsiteY473" fmla="*/ 2651627 h 4331342"/>
                <a:gd name="connsiteX474" fmla="*/ 4484237 w 4753603"/>
                <a:gd name="connsiteY474" fmla="*/ 2651627 h 4331342"/>
                <a:gd name="connsiteX475" fmla="*/ 4484170 w 4753603"/>
                <a:gd name="connsiteY475" fmla="*/ 2651160 h 4331342"/>
                <a:gd name="connsiteX476" fmla="*/ 4385196 w 4753603"/>
                <a:gd name="connsiteY476" fmla="*/ 2696575 h 4331342"/>
                <a:gd name="connsiteX477" fmla="*/ 4377928 w 4753603"/>
                <a:gd name="connsiteY477" fmla="*/ 2687946 h 4331342"/>
                <a:gd name="connsiteX478" fmla="*/ 4351363 w 4753603"/>
                <a:gd name="connsiteY478" fmla="*/ 2679335 h 4331342"/>
                <a:gd name="connsiteX479" fmla="*/ 4278049 w 4753603"/>
                <a:gd name="connsiteY479" fmla="*/ 2757659 h 4331342"/>
                <a:gd name="connsiteX480" fmla="*/ 4267229 w 4753603"/>
                <a:gd name="connsiteY480" fmla="*/ 2765717 h 4331342"/>
                <a:gd name="connsiteX481" fmla="*/ 4248264 w 4753603"/>
                <a:gd name="connsiteY481" fmla="*/ 2765832 h 4331342"/>
                <a:gd name="connsiteX482" fmla="*/ 4224071 w 4753603"/>
                <a:gd name="connsiteY482" fmla="*/ 2780081 h 4331342"/>
                <a:gd name="connsiteX483" fmla="*/ 4199335 w 4753603"/>
                <a:gd name="connsiteY483" fmla="*/ 2812361 h 4331342"/>
                <a:gd name="connsiteX484" fmla="*/ 4204345 w 4753603"/>
                <a:gd name="connsiteY484" fmla="*/ 2760545 h 4331342"/>
                <a:gd name="connsiteX485" fmla="*/ 4263343 w 4753603"/>
                <a:gd name="connsiteY485" fmla="*/ 2636463 h 4331342"/>
                <a:gd name="connsiteX486" fmla="*/ 4354707 w 4753603"/>
                <a:gd name="connsiteY486" fmla="*/ 2609269 h 4331342"/>
                <a:gd name="connsiteX487" fmla="*/ 4406313 w 4753603"/>
                <a:gd name="connsiteY487" fmla="*/ 2625500 h 4331342"/>
                <a:gd name="connsiteX488" fmla="*/ 4419534 w 4753603"/>
                <a:gd name="connsiteY488" fmla="*/ 2624719 h 4331342"/>
                <a:gd name="connsiteX489" fmla="*/ 4445375 w 4753603"/>
                <a:gd name="connsiteY489" fmla="*/ 2613079 h 4331342"/>
                <a:gd name="connsiteX490" fmla="*/ 4467368 w 4753603"/>
                <a:gd name="connsiteY490" fmla="*/ 2620556 h 4331342"/>
                <a:gd name="connsiteX491" fmla="*/ 4484161 w 4753603"/>
                <a:gd name="connsiteY491" fmla="*/ 2651160 h 4331342"/>
                <a:gd name="connsiteX492" fmla="*/ 4484808 w 4753603"/>
                <a:gd name="connsiteY492" fmla="*/ 2651160 h 4331342"/>
                <a:gd name="connsiteX493" fmla="*/ 4485570 w 4753603"/>
                <a:gd name="connsiteY493" fmla="*/ 2651627 h 4331342"/>
                <a:gd name="connsiteX494" fmla="*/ 4566876 w 4753603"/>
                <a:gd name="connsiteY494" fmla="*/ 2648836 h 4331342"/>
                <a:gd name="connsiteX495" fmla="*/ 4606681 w 4753603"/>
                <a:gd name="connsiteY495" fmla="*/ 2607469 h 4331342"/>
                <a:gd name="connsiteX496" fmla="*/ 4621873 w 4753603"/>
                <a:gd name="connsiteY496" fmla="*/ 2592410 h 4331342"/>
                <a:gd name="connsiteX497" fmla="*/ 4666803 w 4753603"/>
                <a:gd name="connsiteY497" fmla="*/ 2581437 h 4331342"/>
                <a:gd name="connsiteX498" fmla="*/ 4706798 w 4753603"/>
                <a:gd name="connsiteY498" fmla="*/ 2485863 h 4331342"/>
                <a:gd name="connsiteX499" fmla="*/ 4717809 w 4753603"/>
                <a:gd name="connsiteY499" fmla="*/ 2457021 h 4331342"/>
                <a:gd name="connsiteX500" fmla="*/ 4738802 w 4753603"/>
                <a:gd name="connsiteY500" fmla="*/ 2436152 h 4331342"/>
                <a:gd name="connsiteX501" fmla="*/ 4743564 w 4753603"/>
                <a:gd name="connsiteY501" fmla="*/ 2373725 h 4331342"/>
                <a:gd name="connsiteX502" fmla="*/ 4449452 w 4753603"/>
                <a:gd name="connsiteY502" fmla="*/ 2367629 h 4331342"/>
                <a:gd name="connsiteX503" fmla="*/ 4471273 w 4753603"/>
                <a:gd name="connsiteY503" fmla="*/ 2342760 h 4331342"/>
                <a:gd name="connsiteX504" fmla="*/ 4490562 w 4753603"/>
                <a:gd name="connsiteY504" fmla="*/ 2334987 h 4331342"/>
                <a:gd name="connsiteX505" fmla="*/ 4496772 w 4753603"/>
                <a:gd name="connsiteY505" fmla="*/ 2340635 h 4331342"/>
                <a:gd name="connsiteX506" fmla="*/ 4490676 w 4753603"/>
                <a:gd name="connsiteY506" fmla="*/ 2355285 h 4331342"/>
                <a:gd name="connsiteX507" fmla="*/ 4490847 w 4753603"/>
                <a:gd name="connsiteY507" fmla="*/ 2355285 h 4331342"/>
                <a:gd name="connsiteX508" fmla="*/ 4490628 w 4753603"/>
                <a:gd name="connsiteY508" fmla="*/ 2355418 h 4331342"/>
                <a:gd name="connsiteX509" fmla="*/ 4487409 w 4753603"/>
                <a:gd name="connsiteY509" fmla="*/ 2358695 h 4331342"/>
                <a:gd name="connsiteX510" fmla="*/ 4487152 w 4753603"/>
                <a:gd name="connsiteY510" fmla="*/ 2360752 h 4331342"/>
                <a:gd name="connsiteX511" fmla="*/ 4456424 w 4753603"/>
                <a:gd name="connsiteY511" fmla="*/ 2379736 h 4331342"/>
                <a:gd name="connsiteX512" fmla="*/ 4449452 w 4753603"/>
                <a:gd name="connsiteY512" fmla="*/ 2367629 h 4331342"/>
                <a:gd name="connsiteX513" fmla="*/ 4418895 w 4753603"/>
                <a:gd name="connsiteY513" fmla="*/ 2387660 h 4331342"/>
                <a:gd name="connsiteX514" fmla="*/ 4431726 w 4753603"/>
                <a:gd name="connsiteY514" fmla="*/ 2383669 h 4331342"/>
                <a:gd name="connsiteX515" fmla="*/ 4433202 w 4753603"/>
                <a:gd name="connsiteY515" fmla="*/ 2402824 h 4331342"/>
                <a:gd name="connsiteX516" fmla="*/ 4418895 w 4753603"/>
                <a:gd name="connsiteY516" fmla="*/ 2387660 h 4331342"/>
                <a:gd name="connsiteX517" fmla="*/ 4045706 w 4753603"/>
                <a:gd name="connsiteY517" fmla="*/ 2032264 h 4331342"/>
                <a:gd name="connsiteX518" fmla="*/ 4082482 w 4753603"/>
                <a:gd name="connsiteY518" fmla="*/ 2058314 h 4331342"/>
                <a:gd name="connsiteX519" fmla="*/ 4045706 w 4753603"/>
                <a:gd name="connsiteY519" fmla="*/ 2032264 h 4331342"/>
                <a:gd name="connsiteX520" fmla="*/ 4282012 w 4753603"/>
                <a:gd name="connsiteY520" fmla="*/ 2484044 h 4331342"/>
                <a:gd name="connsiteX521" fmla="*/ 4301843 w 4753603"/>
                <a:gd name="connsiteY521" fmla="*/ 2444144 h 4331342"/>
                <a:gd name="connsiteX522" fmla="*/ 4339485 w 4753603"/>
                <a:gd name="connsiteY522" fmla="*/ 2406958 h 4331342"/>
                <a:gd name="connsiteX523" fmla="*/ 4351315 w 4753603"/>
                <a:gd name="connsiteY523" fmla="*/ 2401500 h 4331342"/>
                <a:gd name="connsiteX524" fmla="*/ 4394054 w 4753603"/>
                <a:gd name="connsiteY524" fmla="*/ 2398138 h 4331342"/>
                <a:gd name="connsiteX525" fmla="*/ 4282012 w 4753603"/>
                <a:gd name="connsiteY525" fmla="*/ 2484044 h 4331342"/>
                <a:gd name="connsiteX526" fmla="*/ 4272220 w 4753603"/>
                <a:gd name="connsiteY526" fmla="*/ 1865071 h 4331342"/>
                <a:gd name="connsiteX527" fmla="*/ 4263676 w 4753603"/>
                <a:gd name="connsiteY527" fmla="*/ 1860423 h 4331342"/>
                <a:gd name="connsiteX528" fmla="*/ 4238749 w 4753603"/>
                <a:gd name="connsiteY528" fmla="*/ 1733941 h 4331342"/>
                <a:gd name="connsiteX529" fmla="*/ 4232158 w 4753603"/>
                <a:gd name="connsiteY529" fmla="*/ 1685687 h 4331342"/>
                <a:gd name="connsiteX530" fmla="*/ 4223766 w 4753603"/>
                <a:gd name="connsiteY530" fmla="*/ 1676981 h 4331342"/>
                <a:gd name="connsiteX531" fmla="*/ 4214108 w 4753603"/>
                <a:gd name="connsiteY531" fmla="*/ 1717472 h 4331342"/>
                <a:gd name="connsiteX532" fmla="*/ 4211260 w 4753603"/>
                <a:gd name="connsiteY532" fmla="*/ 1728159 h 4331342"/>
                <a:gd name="connsiteX533" fmla="*/ 4201468 w 4753603"/>
                <a:gd name="connsiteY533" fmla="*/ 1720196 h 4331342"/>
                <a:gd name="connsiteX534" fmla="*/ 4173398 w 4753603"/>
                <a:gd name="connsiteY534" fmla="*/ 1661312 h 4331342"/>
                <a:gd name="connsiteX535" fmla="*/ 4167940 w 4753603"/>
                <a:gd name="connsiteY535" fmla="*/ 1633385 h 4331342"/>
                <a:gd name="connsiteX536" fmla="*/ 4167264 w 4753603"/>
                <a:gd name="connsiteY536" fmla="*/ 1621441 h 4331342"/>
                <a:gd name="connsiteX537" fmla="*/ 4160358 w 4753603"/>
                <a:gd name="connsiteY537" fmla="*/ 1593714 h 4331342"/>
                <a:gd name="connsiteX538" fmla="*/ 4159053 w 4753603"/>
                <a:gd name="connsiteY538" fmla="*/ 1593018 h 4331342"/>
                <a:gd name="connsiteX539" fmla="*/ 4147452 w 4753603"/>
                <a:gd name="connsiteY539" fmla="*/ 1576416 h 4331342"/>
                <a:gd name="connsiteX540" fmla="*/ 4138898 w 4753603"/>
                <a:gd name="connsiteY540" fmla="*/ 1597314 h 4331342"/>
                <a:gd name="connsiteX541" fmla="*/ 4142146 w 4753603"/>
                <a:gd name="connsiteY541" fmla="*/ 1630451 h 4331342"/>
                <a:gd name="connsiteX542" fmla="*/ 4141946 w 4753603"/>
                <a:gd name="connsiteY542" fmla="*/ 1630356 h 4331342"/>
                <a:gd name="connsiteX543" fmla="*/ 4148633 w 4753603"/>
                <a:gd name="connsiteY543" fmla="*/ 1652349 h 4331342"/>
                <a:gd name="connsiteX544" fmla="*/ 4185647 w 4753603"/>
                <a:gd name="connsiteY544" fmla="*/ 1737589 h 4331342"/>
                <a:gd name="connsiteX545" fmla="*/ 4176284 w 4753603"/>
                <a:gd name="connsiteY545" fmla="*/ 1750371 h 4331342"/>
                <a:gd name="connsiteX546" fmla="*/ 4157901 w 4753603"/>
                <a:gd name="connsiteY546" fmla="*/ 1748076 h 4331342"/>
                <a:gd name="connsiteX547" fmla="*/ 4157739 w 4753603"/>
                <a:gd name="connsiteY547" fmla="*/ 1750438 h 4331342"/>
                <a:gd name="connsiteX548" fmla="*/ 4175341 w 4753603"/>
                <a:gd name="connsiteY548" fmla="*/ 1768954 h 4331342"/>
                <a:gd name="connsiteX549" fmla="*/ 4183323 w 4753603"/>
                <a:gd name="connsiteY549" fmla="*/ 1773345 h 4331342"/>
                <a:gd name="connsiteX550" fmla="*/ 4193324 w 4753603"/>
                <a:gd name="connsiteY550" fmla="*/ 1779451 h 4331342"/>
                <a:gd name="connsiteX551" fmla="*/ 4195287 w 4753603"/>
                <a:gd name="connsiteY551" fmla="*/ 1781251 h 4331342"/>
                <a:gd name="connsiteX552" fmla="*/ 4237349 w 4753603"/>
                <a:gd name="connsiteY552" fmla="*/ 1842840 h 4331342"/>
                <a:gd name="connsiteX553" fmla="*/ 4235901 w 4753603"/>
                <a:gd name="connsiteY553" fmla="*/ 1847821 h 4331342"/>
                <a:gd name="connsiteX554" fmla="*/ 4229900 w 4753603"/>
                <a:gd name="connsiteY554" fmla="*/ 1845088 h 4331342"/>
                <a:gd name="connsiteX555" fmla="*/ 4206916 w 4753603"/>
                <a:gd name="connsiteY555" fmla="*/ 1812969 h 4331342"/>
                <a:gd name="connsiteX556" fmla="*/ 4182561 w 4753603"/>
                <a:gd name="connsiteY556" fmla="*/ 1788109 h 4331342"/>
                <a:gd name="connsiteX557" fmla="*/ 4156082 w 4753603"/>
                <a:gd name="connsiteY557" fmla="*/ 1781251 h 4331342"/>
                <a:gd name="connsiteX558" fmla="*/ 4136079 w 4753603"/>
                <a:gd name="connsiteY558" fmla="*/ 1757439 h 4331342"/>
                <a:gd name="connsiteX559" fmla="*/ 4130583 w 4753603"/>
                <a:gd name="connsiteY559" fmla="*/ 1740218 h 4331342"/>
                <a:gd name="connsiteX560" fmla="*/ 4107714 w 4753603"/>
                <a:gd name="connsiteY560" fmla="*/ 1716615 h 4331342"/>
                <a:gd name="connsiteX561" fmla="*/ 4085282 w 4753603"/>
                <a:gd name="connsiteY561" fmla="*/ 1684973 h 4331342"/>
                <a:gd name="connsiteX562" fmla="*/ 4092616 w 4753603"/>
                <a:gd name="connsiteY562" fmla="*/ 1674962 h 4331342"/>
                <a:gd name="connsiteX563" fmla="*/ 4107056 w 4753603"/>
                <a:gd name="connsiteY563" fmla="*/ 1652311 h 4331342"/>
                <a:gd name="connsiteX564" fmla="*/ 4096579 w 4753603"/>
                <a:gd name="connsiteY564" fmla="*/ 1622603 h 4331342"/>
                <a:gd name="connsiteX565" fmla="*/ 4096360 w 4753603"/>
                <a:gd name="connsiteY565" fmla="*/ 1622041 h 4331342"/>
                <a:gd name="connsiteX566" fmla="*/ 4094493 w 4753603"/>
                <a:gd name="connsiteY566" fmla="*/ 1615497 h 4331342"/>
                <a:gd name="connsiteX567" fmla="*/ 4094398 w 4753603"/>
                <a:gd name="connsiteY567" fmla="*/ 1615278 h 4331342"/>
                <a:gd name="connsiteX568" fmla="*/ 4100589 w 4753603"/>
                <a:gd name="connsiteY568" fmla="*/ 1556680 h 4331342"/>
                <a:gd name="connsiteX569" fmla="*/ 4140460 w 4753603"/>
                <a:gd name="connsiteY569" fmla="*/ 1509913 h 4331342"/>
                <a:gd name="connsiteX570" fmla="*/ 4149966 w 4753603"/>
                <a:gd name="connsiteY570" fmla="*/ 1510608 h 4331342"/>
                <a:gd name="connsiteX571" fmla="*/ 4170217 w 4753603"/>
                <a:gd name="connsiteY571" fmla="*/ 1517075 h 4331342"/>
                <a:gd name="connsiteX572" fmla="*/ 4179103 w 4753603"/>
                <a:gd name="connsiteY572" fmla="*/ 1540393 h 4331342"/>
                <a:gd name="connsiteX573" fmla="*/ 4179037 w 4753603"/>
                <a:gd name="connsiteY573" fmla="*/ 1603258 h 4331342"/>
                <a:gd name="connsiteX574" fmla="*/ 4207393 w 4753603"/>
                <a:gd name="connsiteY574" fmla="*/ 1614945 h 4331342"/>
                <a:gd name="connsiteX575" fmla="*/ 4230043 w 4753603"/>
                <a:gd name="connsiteY575" fmla="*/ 1615116 h 4331342"/>
                <a:gd name="connsiteX576" fmla="*/ 4235901 w 4753603"/>
                <a:gd name="connsiteY576" fmla="*/ 1626375 h 4331342"/>
                <a:gd name="connsiteX577" fmla="*/ 4245455 w 4753603"/>
                <a:gd name="connsiteY577" fmla="*/ 1645663 h 4331342"/>
                <a:gd name="connsiteX578" fmla="*/ 4245597 w 4753603"/>
                <a:gd name="connsiteY578" fmla="*/ 1645758 h 4331342"/>
                <a:gd name="connsiteX579" fmla="*/ 4251636 w 4753603"/>
                <a:gd name="connsiteY579" fmla="*/ 1655026 h 4331342"/>
                <a:gd name="connsiteX580" fmla="*/ 4258294 w 4753603"/>
                <a:gd name="connsiteY580" fmla="*/ 1667304 h 4331342"/>
                <a:gd name="connsiteX581" fmla="*/ 4260656 w 4753603"/>
                <a:gd name="connsiteY581" fmla="*/ 1670723 h 4331342"/>
                <a:gd name="connsiteX582" fmla="*/ 4261199 w 4753603"/>
                <a:gd name="connsiteY582" fmla="*/ 1673400 h 4331342"/>
                <a:gd name="connsiteX583" fmla="*/ 4265448 w 4753603"/>
                <a:gd name="connsiteY583" fmla="*/ 1742285 h 4331342"/>
                <a:gd name="connsiteX584" fmla="*/ 4271582 w 4753603"/>
                <a:gd name="connsiteY584" fmla="*/ 1786690 h 4331342"/>
                <a:gd name="connsiteX585" fmla="*/ 4283050 w 4753603"/>
                <a:gd name="connsiteY585" fmla="*/ 1794405 h 4331342"/>
                <a:gd name="connsiteX586" fmla="*/ 4302024 w 4753603"/>
                <a:gd name="connsiteY586" fmla="*/ 1794462 h 4331342"/>
                <a:gd name="connsiteX587" fmla="*/ 4310606 w 4753603"/>
                <a:gd name="connsiteY587" fmla="*/ 1798606 h 4331342"/>
                <a:gd name="connsiteX588" fmla="*/ 4323874 w 4753603"/>
                <a:gd name="connsiteY588" fmla="*/ 1876997 h 4331342"/>
                <a:gd name="connsiteX589" fmla="*/ 4324188 w 4753603"/>
                <a:gd name="connsiteY589" fmla="*/ 1877359 h 4331342"/>
                <a:gd name="connsiteX590" fmla="*/ 4326408 w 4753603"/>
                <a:gd name="connsiteY590" fmla="*/ 1879930 h 4331342"/>
                <a:gd name="connsiteX591" fmla="*/ 4320255 w 4753603"/>
                <a:gd name="connsiteY591" fmla="*/ 1911039 h 4331342"/>
                <a:gd name="connsiteX592" fmla="*/ 4314654 w 4753603"/>
                <a:gd name="connsiteY592" fmla="*/ 1923860 h 4331342"/>
                <a:gd name="connsiteX593" fmla="*/ 4314968 w 4753603"/>
                <a:gd name="connsiteY593" fmla="*/ 1923650 h 4331342"/>
                <a:gd name="connsiteX594" fmla="*/ 4311625 w 4753603"/>
                <a:gd name="connsiteY594" fmla="*/ 1984953 h 4331342"/>
                <a:gd name="connsiteX595" fmla="*/ 4311720 w 4753603"/>
                <a:gd name="connsiteY595" fmla="*/ 1985067 h 4331342"/>
                <a:gd name="connsiteX596" fmla="*/ 4320864 w 4753603"/>
                <a:gd name="connsiteY596" fmla="*/ 1999669 h 4331342"/>
                <a:gd name="connsiteX597" fmla="*/ 4306062 w 4753603"/>
                <a:gd name="connsiteY597" fmla="*/ 2032206 h 4331342"/>
                <a:gd name="connsiteX598" fmla="*/ 4296299 w 4753603"/>
                <a:gd name="connsiteY598" fmla="*/ 2028254 h 4331342"/>
                <a:gd name="connsiteX599" fmla="*/ 4283669 w 4753603"/>
                <a:gd name="connsiteY599" fmla="*/ 1886245 h 4331342"/>
                <a:gd name="connsiteX600" fmla="*/ 4286231 w 4753603"/>
                <a:gd name="connsiteY600" fmla="*/ 1877501 h 4331342"/>
                <a:gd name="connsiteX601" fmla="*/ 4272220 w 4753603"/>
                <a:gd name="connsiteY601" fmla="*/ 1865071 h 4331342"/>
                <a:gd name="connsiteX602" fmla="*/ 4255732 w 4753603"/>
                <a:gd name="connsiteY602" fmla="*/ 1981200 h 4331342"/>
                <a:gd name="connsiteX603" fmla="*/ 4252341 w 4753603"/>
                <a:gd name="connsiteY603" fmla="*/ 1931965 h 4331342"/>
                <a:gd name="connsiteX604" fmla="*/ 4255732 w 4753603"/>
                <a:gd name="connsiteY604" fmla="*/ 1981200 h 4331342"/>
                <a:gd name="connsiteX605" fmla="*/ 4316607 w 4753603"/>
                <a:gd name="connsiteY605" fmla="*/ 2092452 h 4331342"/>
                <a:gd name="connsiteX606" fmla="*/ 4312320 w 4753603"/>
                <a:gd name="connsiteY606" fmla="*/ 2095243 h 4331342"/>
                <a:gd name="connsiteX607" fmla="*/ 4314568 w 4753603"/>
                <a:gd name="connsiteY607" fmla="*/ 2089928 h 4331342"/>
                <a:gd name="connsiteX608" fmla="*/ 4337876 w 4753603"/>
                <a:gd name="connsiteY608" fmla="*/ 2013385 h 4331342"/>
                <a:gd name="connsiteX609" fmla="*/ 4346239 w 4753603"/>
                <a:gd name="connsiteY609" fmla="*/ 1985153 h 4331342"/>
                <a:gd name="connsiteX610" fmla="*/ 4371480 w 4753603"/>
                <a:gd name="connsiteY610" fmla="*/ 1974228 h 4331342"/>
                <a:gd name="connsiteX611" fmla="*/ 4378871 w 4753603"/>
                <a:gd name="connsiteY611" fmla="*/ 2001069 h 4331342"/>
                <a:gd name="connsiteX612" fmla="*/ 4316607 w 4753603"/>
                <a:gd name="connsiteY612" fmla="*/ 2092452 h 4331342"/>
                <a:gd name="connsiteX613" fmla="*/ 4340038 w 4753603"/>
                <a:gd name="connsiteY613" fmla="*/ 2110597 h 4331342"/>
                <a:gd name="connsiteX614" fmla="*/ 4307529 w 4753603"/>
                <a:gd name="connsiteY614" fmla="*/ 2135372 h 4331342"/>
                <a:gd name="connsiteX615" fmla="*/ 4304500 w 4753603"/>
                <a:gd name="connsiteY615" fmla="*/ 2124637 h 4331342"/>
                <a:gd name="connsiteX616" fmla="*/ 4325798 w 4753603"/>
                <a:gd name="connsiteY616" fmla="*/ 2103444 h 4331342"/>
                <a:gd name="connsiteX617" fmla="*/ 4340038 w 4753603"/>
                <a:gd name="connsiteY617" fmla="*/ 2110597 h 4331342"/>
                <a:gd name="connsiteX618" fmla="*/ 4332265 w 4753603"/>
                <a:gd name="connsiteY618" fmla="*/ 1960055 h 4331342"/>
                <a:gd name="connsiteX619" fmla="*/ 4324207 w 4753603"/>
                <a:gd name="connsiteY619" fmla="*/ 1954778 h 4331342"/>
                <a:gd name="connsiteX620" fmla="*/ 4333466 w 4753603"/>
                <a:gd name="connsiteY620" fmla="*/ 1942262 h 4331342"/>
                <a:gd name="connsiteX621" fmla="*/ 4342733 w 4753603"/>
                <a:gd name="connsiteY621" fmla="*/ 1951949 h 4331342"/>
                <a:gd name="connsiteX622" fmla="*/ 4332265 w 4753603"/>
                <a:gd name="connsiteY622" fmla="*/ 1960055 h 4331342"/>
                <a:gd name="connsiteX623" fmla="*/ 4330199 w 4753603"/>
                <a:gd name="connsiteY623" fmla="*/ 2359876 h 4331342"/>
                <a:gd name="connsiteX624" fmla="*/ 4336485 w 4753603"/>
                <a:gd name="connsiteY624" fmla="*/ 2364877 h 4331342"/>
                <a:gd name="connsiteX625" fmla="*/ 4287441 w 4753603"/>
                <a:gd name="connsiteY625" fmla="*/ 2425827 h 4331342"/>
                <a:gd name="connsiteX626" fmla="*/ 4330199 w 4753603"/>
                <a:gd name="connsiteY626" fmla="*/ 2359876 h 4331342"/>
                <a:gd name="connsiteX627" fmla="*/ 4379433 w 4753603"/>
                <a:gd name="connsiteY627" fmla="*/ 2358343 h 4331342"/>
                <a:gd name="connsiteX628" fmla="*/ 4371413 w 4753603"/>
                <a:gd name="connsiteY628" fmla="*/ 2351865 h 4331342"/>
                <a:gd name="connsiteX629" fmla="*/ 4392168 w 4753603"/>
                <a:gd name="connsiteY629" fmla="*/ 2330530 h 4331342"/>
                <a:gd name="connsiteX630" fmla="*/ 4396283 w 4753603"/>
                <a:gd name="connsiteY630" fmla="*/ 2338169 h 4331342"/>
                <a:gd name="connsiteX631" fmla="*/ 4379433 w 4753603"/>
                <a:gd name="connsiteY631" fmla="*/ 2358343 h 4331342"/>
                <a:gd name="connsiteX632" fmla="*/ 4428011 w 4753603"/>
                <a:gd name="connsiteY632" fmla="*/ 2244366 h 4331342"/>
                <a:gd name="connsiteX633" fmla="*/ 4382948 w 4753603"/>
                <a:gd name="connsiteY633" fmla="*/ 2273208 h 4331342"/>
                <a:gd name="connsiteX634" fmla="*/ 4340171 w 4753603"/>
                <a:gd name="connsiteY634" fmla="*/ 2306146 h 4331342"/>
                <a:gd name="connsiteX635" fmla="*/ 4333685 w 4753603"/>
                <a:gd name="connsiteY635" fmla="*/ 2316042 h 4331342"/>
                <a:gd name="connsiteX636" fmla="*/ 4333123 w 4753603"/>
                <a:gd name="connsiteY636" fmla="*/ 2317395 h 4331342"/>
                <a:gd name="connsiteX637" fmla="*/ 4315397 w 4753603"/>
                <a:gd name="connsiteY637" fmla="*/ 2336978 h 4331342"/>
                <a:gd name="connsiteX638" fmla="*/ 4305634 w 4753603"/>
                <a:gd name="connsiteY638" fmla="*/ 2339683 h 4331342"/>
                <a:gd name="connsiteX639" fmla="*/ 4335885 w 4753603"/>
                <a:gd name="connsiteY639" fmla="*/ 2232365 h 4331342"/>
                <a:gd name="connsiteX640" fmla="*/ 4365270 w 4753603"/>
                <a:gd name="connsiteY640" fmla="*/ 2223649 h 4331342"/>
                <a:gd name="connsiteX641" fmla="*/ 4415143 w 4753603"/>
                <a:gd name="connsiteY641" fmla="*/ 2220097 h 4331342"/>
                <a:gd name="connsiteX642" fmla="*/ 4426963 w 4753603"/>
                <a:gd name="connsiteY642" fmla="*/ 2215182 h 4331342"/>
                <a:gd name="connsiteX643" fmla="*/ 4415781 w 4753603"/>
                <a:gd name="connsiteY643" fmla="*/ 2203352 h 4331342"/>
                <a:gd name="connsiteX644" fmla="*/ 4382805 w 4753603"/>
                <a:gd name="connsiteY644" fmla="*/ 2203552 h 4331342"/>
                <a:gd name="connsiteX645" fmla="*/ 4370223 w 4753603"/>
                <a:gd name="connsiteY645" fmla="*/ 2199808 h 4331342"/>
                <a:gd name="connsiteX646" fmla="*/ 4375985 w 4753603"/>
                <a:gd name="connsiteY646" fmla="*/ 2191903 h 4331342"/>
                <a:gd name="connsiteX647" fmla="*/ 4476988 w 4753603"/>
                <a:gd name="connsiteY647" fmla="*/ 2114893 h 4331342"/>
                <a:gd name="connsiteX648" fmla="*/ 4490962 w 4753603"/>
                <a:gd name="connsiteY648" fmla="*/ 2101358 h 4331342"/>
                <a:gd name="connsiteX649" fmla="*/ 4448556 w 4753603"/>
                <a:gd name="connsiteY649" fmla="*/ 2102882 h 4331342"/>
                <a:gd name="connsiteX650" fmla="*/ 4487885 w 4753603"/>
                <a:gd name="connsiteY650" fmla="*/ 2017071 h 4331342"/>
                <a:gd name="connsiteX651" fmla="*/ 4512459 w 4753603"/>
                <a:gd name="connsiteY651" fmla="*/ 1971913 h 4331342"/>
                <a:gd name="connsiteX652" fmla="*/ 4514183 w 4753603"/>
                <a:gd name="connsiteY652" fmla="*/ 1958988 h 4331342"/>
                <a:gd name="connsiteX653" fmla="*/ 4501839 w 4753603"/>
                <a:gd name="connsiteY653" fmla="*/ 1960178 h 4331342"/>
                <a:gd name="connsiteX654" fmla="*/ 4484208 w 4753603"/>
                <a:gd name="connsiteY654" fmla="*/ 1972951 h 4331342"/>
                <a:gd name="connsiteX655" fmla="*/ 4468883 w 4753603"/>
                <a:gd name="connsiteY655" fmla="*/ 1981886 h 4331342"/>
                <a:gd name="connsiteX656" fmla="*/ 4452528 w 4753603"/>
                <a:gd name="connsiteY656" fmla="*/ 1995926 h 4331342"/>
                <a:gd name="connsiteX657" fmla="*/ 4410875 w 4753603"/>
                <a:gd name="connsiteY657" fmla="*/ 2124618 h 4331342"/>
                <a:gd name="connsiteX658" fmla="*/ 4407189 w 4753603"/>
                <a:gd name="connsiteY658" fmla="*/ 2114436 h 4331342"/>
                <a:gd name="connsiteX659" fmla="*/ 4406170 w 4753603"/>
                <a:gd name="connsiteY659" fmla="*/ 2105606 h 4331342"/>
                <a:gd name="connsiteX660" fmla="*/ 4402303 w 4753603"/>
                <a:gd name="connsiteY660" fmla="*/ 2086880 h 4331342"/>
                <a:gd name="connsiteX661" fmla="*/ 4399312 w 4753603"/>
                <a:gd name="connsiteY661" fmla="*/ 2081155 h 4331342"/>
                <a:gd name="connsiteX662" fmla="*/ 4396874 w 4753603"/>
                <a:gd name="connsiteY662" fmla="*/ 2080879 h 4331342"/>
                <a:gd name="connsiteX663" fmla="*/ 4393207 w 4753603"/>
                <a:gd name="connsiteY663" fmla="*/ 2087166 h 4331342"/>
                <a:gd name="connsiteX664" fmla="*/ 4392540 w 4753603"/>
                <a:gd name="connsiteY664" fmla="*/ 2090071 h 4331342"/>
                <a:gd name="connsiteX665" fmla="*/ 4377690 w 4753603"/>
                <a:gd name="connsiteY665" fmla="*/ 2133010 h 4331342"/>
                <a:gd name="connsiteX666" fmla="*/ 4373795 w 4753603"/>
                <a:gd name="connsiteY666" fmla="*/ 2145144 h 4331342"/>
                <a:gd name="connsiteX667" fmla="*/ 4365632 w 4753603"/>
                <a:gd name="connsiteY667" fmla="*/ 2158251 h 4331342"/>
                <a:gd name="connsiteX668" fmla="*/ 4349487 w 4753603"/>
                <a:gd name="connsiteY668" fmla="*/ 2182806 h 4331342"/>
                <a:gd name="connsiteX669" fmla="*/ 4328903 w 4753603"/>
                <a:gd name="connsiteY669" fmla="*/ 2184654 h 4331342"/>
                <a:gd name="connsiteX670" fmla="*/ 4311653 w 4753603"/>
                <a:gd name="connsiteY670" fmla="*/ 2195055 h 4331342"/>
                <a:gd name="connsiteX671" fmla="*/ 4304014 w 4753603"/>
                <a:gd name="connsiteY671" fmla="*/ 2224478 h 4331342"/>
                <a:gd name="connsiteX672" fmla="*/ 4311653 w 4753603"/>
                <a:gd name="connsiteY672" fmla="*/ 2173110 h 4331342"/>
                <a:gd name="connsiteX673" fmla="*/ 4334209 w 4753603"/>
                <a:gd name="connsiteY673" fmla="*/ 2143125 h 4331342"/>
                <a:gd name="connsiteX674" fmla="*/ 4350077 w 4753603"/>
                <a:gd name="connsiteY674" fmla="*/ 2126704 h 4331342"/>
                <a:gd name="connsiteX675" fmla="*/ 4355440 w 4753603"/>
                <a:gd name="connsiteY675" fmla="*/ 2117779 h 4331342"/>
                <a:gd name="connsiteX676" fmla="*/ 4369089 w 4753603"/>
                <a:gd name="connsiteY676" fmla="*/ 2048256 h 4331342"/>
                <a:gd name="connsiteX677" fmla="*/ 4395131 w 4753603"/>
                <a:gd name="connsiteY677" fmla="*/ 2015833 h 4331342"/>
                <a:gd name="connsiteX678" fmla="*/ 4400245 w 4753603"/>
                <a:gd name="connsiteY678" fmla="*/ 2014957 h 4331342"/>
                <a:gd name="connsiteX679" fmla="*/ 4433459 w 4753603"/>
                <a:gd name="connsiteY679" fmla="*/ 2001888 h 4331342"/>
                <a:gd name="connsiteX680" fmla="*/ 4436755 w 4753603"/>
                <a:gd name="connsiteY680" fmla="*/ 1997012 h 4331342"/>
                <a:gd name="connsiteX681" fmla="*/ 4440641 w 4753603"/>
                <a:gd name="connsiteY681" fmla="*/ 1993459 h 4331342"/>
                <a:gd name="connsiteX682" fmla="*/ 4442346 w 4753603"/>
                <a:gd name="connsiteY682" fmla="*/ 1991325 h 4331342"/>
                <a:gd name="connsiteX683" fmla="*/ 4452528 w 4753603"/>
                <a:gd name="connsiteY683" fmla="*/ 1969189 h 4331342"/>
                <a:gd name="connsiteX684" fmla="*/ 4470445 w 4753603"/>
                <a:gd name="connsiteY684" fmla="*/ 1941709 h 4331342"/>
                <a:gd name="connsiteX685" fmla="*/ 4560199 w 4753603"/>
                <a:gd name="connsiteY685" fmla="*/ 1904495 h 4331342"/>
                <a:gd name="connsiteX686" fmla="*/ 4578039 w 4753603"/>
                <a:gd name="connsiteY686" fmla="*/ 1911506 h 4331342"/>
                <a:gd name="connsiteX687" fmla="*/ 4578439 w 4753603"/>
                <a:gd name="connsiteY687" fmla="*/ 1939195 h 4331342"/>
                <a:gd name="connsiteX688" fmla="*/ 4577810 w 4753603"/>
                <a:gd name="connsiteY688" fmla="*/ 1941405 h 4331342"/>
                <a:gd name="connsiteX689" fmla="*/ 4575201 w 4753603"/>
                <a:gd name="connsiteY689" fmla="*/ 1948091 h 4331342"/>
                <a:gd name="connsiteX690" fmla="*/ 4553217 w 4753603"/>
                <a:gd name="connsiteY690" fmla="*/ 1994268 h 4331342"/>
                <a:gd name="connsiteX691" fmla="*/ 4540558 w 4753603"/>
                <a:gd name="connsiteY691" fmla="*/ 2019443 h 4331342"/>
                <a:gd name="connsiteX692" fmla="*/ 4533757 w 4753603"/>
                <a:gd name="connsiteY692" fmla="*/ 2040646 h 4331342"/>
                <a:gd name="connsiteX693" fmla="*/ 4534262 w 4753603"/>
                <a:gd name="connsiteY693" fmla="*/ 2042932 h 4331342"/>
                <a:gd name="connsiteX694" fmla="*/ 4550064 w 4753603"/>
                <a:gd name="connsiteY694" fmla="*/ 2057962 h 4331342"/>
                <a:gd name="connsiteX695" fmla="*/ 4553360 w 4753603"/>
                <a:gd name="connsiteY695" fmla="*/ 2077603 h 4331342"/>
                <a:gd name="connsiteX696" fmla="*/ 4550159 w 4753603"/>
                <a:gd name="connsiteY696" fmla="*/ 2083794 h 4331342"/>
                <a:gd name="connsiteX697" fmla="*/ 4540463 w 4753603"/>
                <a:gd name="connsiteY697" fmla="*/ 2105606 h 4331342"/>
                <a:gd name="connsiteX698" fmla="*/ 4506268 w 4753603"/>
                <a:gd name="connsiteY698" fmla="*/ 2145544 h 4331342"/>
                <a:gd name="connsiteX699" fmla="*/ 4499182 w 4753603"/>
                <a:gd name="connsiteY699" fmla="*/ 2150688 h 4331342"/>
                <a:gd name="connsiteX700" fmla="*/ 4471445 w 4753603"/>
                <a:gd name="connsiteY700" fmla="*/ 2193236 h 4331342"/>
                <a:gd name="connsiteX701" fmla="*/ 4468911 w 4753603"/>
                <a:gd name="connsiteY701" fmla="*/ 2207524 h 4331342"/>
                <a:gd name="connsiteX702" fmla="*/ 4467768 w 4753603"/>
                <a:gd name="connsiteY702" fmla="*/ 2213296 h 4331342"/>
                <a:gd name="connsiteX703" fmla="*/ 4433697 w 4753603"/>
                <a:gd name="connsiteY703" fmla="*/ 2238366 h 4331342"/>
                <a:gd name="connsiteX704" fmla="*/ 4428011 w 4753603"/>
                <a:gd name="connsiteY704" fmla="*/ 2244366 h 4331342"/>
                <a:gd name="connsiteX705" fmla="*/ 4563656 w 4753603"/>
                <a:gd name="connsiteY705" fmla="*/ 2103758 h 4331342"/>
                <a:gd name="connsiteX706" fmla="*/ 4572238 w 4753603"/>
                <a:gd name="connsiteY706" fmla="*/ 2111902 h 4331342"/>
                <a:gd name="connsiteX707" fmla="*/ 4563275 w 4753603"/>
                <a:gd name="connsiteY707" fmla="*/ 2119770 h 4331342"/>
                <a:gd name="connsiteX708" fmla="*/ 4554912 w 4753603"/>
                <a:gd name="connsiteY708" fmla="*/ 2112102 h 4331342"/>
                <a:gd name="connsiteX709" fmla="*/ 4563656 w 4753603"/>
                <a:gd name="connsiteY709" fmla="*/ 2103758 h 4331342"/>
                <a:gd name="connsiteX710" fmla="*/ 4445280 w 4753603"/>
                <a:gd name="connsiteY710" fmla="*/ 2261054 h 4331342"/>
                <a:gd name="connsiteX711" fmla="*/ 4476512 w 4753603"/>
                <a:gd name="connsiteY711" fmla="*/ 2234413 h 4331342"/>
                <a:gd name="connsiteX712" fmla="*/ 4492076 w 4753603"/>
                <a:gd name="connsiteY712" fmla="*/ 2202694 h 4331342"/>
                <a:gd name="connsiteX713" fmla="*/ 4526652 w 4753603"/>
                <a:gd name="connsiteY713" fmla="*/ 2163575 h 4331342"/>
                <a:gd name="connsiteX714" fmla="*/ 4558951 w 4753603"/>
                <a:gd name="connsiteY714" fmla="*/ 2141515 h 4331342"/>
                <a:gd name="connsiteX715" fmla="*/ 4587193 w 4753603"/>
                <a:gd name="connsiteY715" fmla="*/ 2123018 h 4331342"/>
                <a:gd name="connsiteX716" fmla="*/ 4558951 w 4753603"/>
                <a:gd name="connsiteY716" fmla="*/ 2158537 h 4331342"/>
                <a:gd name="connsiteX717" fmla="*/ 4596289 w 4753603"/>
                <a:gd name="connsiteY717" fmla="*/ 2145144 h 4331342"/>
                <a:gd name="connsiteX718" fmla="*/ 4579439 w 4753603"/>
                <a:gd name="connsiteY718" fmla="*/ 2163080 h 4331342"/>
                <a:gd name="connsiteX719" fmla="*/ 4577334 w 4753603"/>
                <a:gd name="connsiteY719" fmla="*/ 2175148 h 4331342"/>
                <a:gd name="connsiteX720" fmla="*/ 4586707 w 4753603"/>
                <a:gd name="connsiteY720" fmla="*/ 2172967 h 4331342"/>
                <a:gd name="connsiteX721" fmla="*/ 4600175 w 4753603"/>
                <a:gd name="connsiteY721" fmla="*/ 2164842 h 4331342"/>
                <a:gd name="connsiteX722" fmla="*/ 4445280 w 4753603"/>
                <a:gd name="connsiteY722" fmla="*/ 2261054 h 4331342"/>
                <a:gd name="connsiteX723" fmla="*/ 4617072 w 4753603"/>
                <a:gd name="connsiteY723" fmla="*/ 1995592 h 4331342"/>
                <a:gd name="connsiteX724" fmla="*/ 4597775 w 4753603"/>
                <a:gd name="connsiteY724" fmla="*/ 1992430 h 4331342"/>
                <a:gd name="connsiteX725" fmla="*/ 4608186 w 4753603"/>
                <a:gd name="connsiteY725" fmla="*/ 2006108 h 4331342"/>
                <a:gd name="connsiteX726" fmla="*/ 4611491 w 4753603"/>
                <a:gd name="connsiteY726" fmla="*/ 2012423 h 4331342"/>
                <a:gd name="connsiteX727" fmla="*/ 4604061 w 4753603"/>
                <a:gd name="connsiteY727" fmla="*/ 2015385 h 4331342"/>
                <a:gd name="connsiteX728" fmla="*/ 4594365 w 4753603"/>
                <a:gd name="connsiteY728" fmla="*/ 2016976 h 4331342"/>
                <a:gd name="connsiteX729" fmla="*/ 4600366 w 4753603"/>
                <a:gd name="connsiteY729" fmla="*/ 2028082 h 4331342"/>
                <a:gd name="connsiteX730" fmla="*/ 4610929 w 4753603"/>
                <a:gd name="connsiteY730" fmla="*/ 2043875 h 4331342"/>
                <a:gd name="connsiteX731" fmla="*/ 4596784 w 4753603"/>
                <a:gd name="connsiteY731" fmla="*/ 2042932 h 4331342"/>
                <a:gd name="connsiteX732" fmla="*/ 4599347 w 4753603"/>
                <a:gd name="connsiteY732" fmla="*/ 2055305 h 4331342"/>
                <a:gd name="connsiteX733" fmla="*/ 4611491 w 4753603"/>
                <a:gd name="connsiteY733" fmla="*/ 2068878 h 4331342"/>
                <a:gd name="connsiteX734" fmla="*/ 4612777 w 4753603"/>
                <a:gd name="connsiteY734" fmla="*/ 2078060 h 4331342"/>
                <a:gd name="connsiteX735" fmla="*/ 4605452 w 4753603"/>
                <a:gd name="connsiteY735" fmla="*/ 2075669 h 4331342"/>
                <a:gd name="connsiteX736" fmla="*/ 4592241 w 4753603"/>
                <a:gd name="connsiteY736" fmla="*/ 2072373 h 4331342"/>
                <a:gd name="connsiteX737" fmla="*/ 4596784 w 4753603"/>
                <a:gd name="connsiteY737" fmla="*/ 2085670 h 4331342"/>
                <a:gd name="connsiteX738" fmla="*/ 4607747 w 4753603"/>
                <a:gd name="connsiteY738" fmla="*/ 2096529 h 4331342"/>
                <a:gd name="connsiteX739" fmla="*/ 4611424 w 4753603"/>
                <a:gd name="connsiteY739" fmla="*/ 2106806 h 4331342"/>
                <a:gd name="connsiteX740" fmla="*/ 4600366 w 4753603"/>
                <a:gd name="connsiteY740" fmla="*/ 2104368 h 4331342"/>
                <a:gd name="connsiteX741" fmla="*/ 4574705 w 4753603"/>
                <a:gd name="connsiteY741" fmla="*/ 2064896 h 4331342"/>
                <a:gd name="connsiteX742" fmla="*/ 4562399 w 4753603"/>
                <a:gd name="connsiteY742" fmla="*/ 2045846 h 4331342"/>
                <a:gd name="connsiteX743" fmla="*/ 4559875 w 4753603"/>
                <a:gd name="connsiteY743" fmla="*/ 2026358 h 4331342"/>
                <a:gd name="connsiteX744" fmla="*/ 4587421 w 4753603"/>
                <a:gd name="connsiteY744" fmla="*/ 1977009 h 4331342"/>
                <a:gd name="connsiteX745" fmla="*/ 4607662 w 4753603"/>
                <a:gd name="connsiteY745" fmla="*/ 1974371 h 4331342"/>
                <a:gd name="connsiteX746" fmla="*/ 4620330 w 4753603"/>
                <a:gd name="connsiteY746" fmla="*/ 1994687 h 4331342"/>
                <a:gd name="connsiteX747" fmla="*/ 4617072 w 4753603"/>
                <a:gd name="connsiteY747" fmla="*/ 1995592 h 4331342"/>
                <a:gd name="connsiteX748" fmla="*/ 4439365 w 4753603"/>
                <a:gd name="connsiteY748" fmla="*/ 1265377 h 4331342"/>
                <a:gd name="connsiteX749" fmla="*/ 4475045 w 4753603"/>
                <a:gd name="connsiteY749" fmla="*/ 1220048 h 4331342"/>
                <a:gd name="connsiteX750" fmla="*/ 4495515 w 4753603"/>
                <a:gd name="connsiteY750" fmla="*/ 1216685 h 4331342"/>
                <a:gd name="connsiteX751" fmla="*/ 4501868 w 4753603"/>
                <a:gd name="connsiteY751" fmla="*/ 1220457 h 4331342"/>
                <a:gd name="connsiteX752" fmla="*/ 4523975 w 4753603"/>
                <a:gd name="connsiteY752" fmla="*/ 1257310 h 4331342"/>
                <a:gd name="connsiteX753" fmla="*/ 4524423 w 4753603"/>
                <a:gd name="connsiteY753" fmla="*/ 1260234 h 4331342"/>
                <a:gd name="connsiteX754" fmla="*/ 4519708 w 4753603"/>
                <a:gd name="connsiteY754" fmla="*/ 1317850 h 4331342"/>
                <a:gd name="connsiteX755" fmla="*/ 4518356 w 4753603"/>
                <a:gd name="connsiteY755" fmla="*/ 1351407 h 4331342"/>
                <a:gd name="connsiteX756" fmla="*/ 4529204 w 4753603"/>
                <a:gd name="connsiteY756" fmla="*/ 1364504 h 4331342"/>
                <a:gd name="connsiteX757" fmla="*/ 4543282 w 4753603"/>
                <a:gd name="connsiteY757" fmla="*/ 1385849 h 4331342"/>
                <a:gd name="connsiteX758" fmla="*/ 4533919 w 4753603"/>
                <a:gd name="connsiteY758" fmla="*/ 1485348 h 4331342"/>
                <a:gd name="connsiteX759" fmla="*/ 4536291 w 4753603"/>
                <a:gd name="connsiteY759" fmla="*/ 1524543 h 4331342"/>
                <a:gd name="connsiteX760" fmla="*/ 4530319 w 4753603"/>
                <a:gd name="connsiteY760" fmla="*/ 1552813 h 4331342"/>
                <a:gd name="connsiteX761" fmla="*/ 4524185 w 4753603"/>
                <a:gd name="connsiteY761" fmla="*/ 1565453 h 4331342"/>
                <a:gd name="connsiteX762" fmla="*/ 4508449 w 4753603"/>
                <a:gd name="connsiteY762" fmla="*/ 1565586 h 4331342"/>
                <a:gd name="connsiteX763" fmla="*/ 4496067 w 4753603"/>
                <a:gd name="connsiteY763" fmla="*/ 1557147 h 4331342"/>
                <a:gd name="connsiteX764" fmla="*/ 4497391 w 4753603"/>
                <a:gd name="connsiteY764" fmla="*/ 1547079 h 4331342"/>
                <a:gd name="connsiteX765" fmla="*/ 4504801 w 4753603"/>
                <a:gd name="connsiteY765" fmla="*/ 1532315 h 4331342"/>
                <a:gd name="connsiteX766" fmla="*/ 4492228 w 4753603"/>
                <a:gd name="connsiteY766" fmla="*/ 1528753 h 4331342"/>
                <a:gd name="connsiteX767" fmla="*/ 4476607 w 4753603"/>
                <a:gd name="connsiteY767" fmla="*/ 1528458 h 4331342"/>
                <a:gd name="connsiteX768" fmla="*/ 4458862 w 4753603"/>
                <a:gd name="connsiteY768" fmla="*/ 1507331 h 4331342"/>
                <a:gd name="connsiteX769" fmla="*/ 4501030 w 4753603"/>
                <a:gd name="connsiteY769" fmla="*/ 1446952 h 4331342"/>
                <a:gd name="connsiteX770" fmla="*/ 4515393 w 4753603"/>
                <a:gd name="connsiteY770" fmla="*/ 1423511 h 4331342"/>
                <a:gd name="connsiteX771" fmla="*/ 4507649 w 4753603"/>
                <a:gd name="connsiteY771" fmla="*/ 1412672 h 4331342"/>
                <a:gd name="connsiteX772" fmla="*/ 4506954 w 4753603"/>
                <a:gd name="connsiteY772" fmla="*/ 1413548 h 4331342"/>
                <a:gd name="connsiteX773" fmla="*/ 4466920 w 4753603"/>
                <a:gd name="connsiteY773" fmla="*/ 1440818 h 4331342"/>
                <a:gd name="connsiteX774" fmla="*/ 4456157 w 4753603"/>
                <a:gd name="connsiteY774" fmla="*/ 1436113 h 4331342"/>
                <a:gd name="connsiteX775" fmla="*/ 4458977 w 4753603"/>
                <a:gd name="connsiteY775" fmla="*/ 1414043 h 4331342"/>
                <a:gd name="connsiteX776" fmla="*/ 4476750 w 4753603"/>
                <a:gd name="connsiteY776" fmla="*/ 1365009 h 4331342"/>
                <a:gd name="connsiteX777" fmla="*/ 4492505 w 4753603"/>
                <a:gd name="connsiteY777" fmla="*/ 1297705 h 4331342"/>
                <a:gd name="connsiteX778" fmla="*/ 4477465 w 4753603"/>
                <a:gd name="connsiteY778" fmla="*/ 1269502 h 4331342"/>
                <a:gd name="connsiteX779" fmla="*/ 4467625 w 4753603"/>
                <a:gd name="connsiteY779" fmla="*/ 1306249 h 4331342"/>
                <a:gd name="connsiteX780" fmla="*/ 4465311 w 4753603"/>
                <a:gd name="connsiteY780" fmla="*/ 1322203 h 4331342"/>
                <a:gd name="connsiteX781" fmla="*/ 4464520 w 4753603"/>
                <a:gd name="connsiteY781" fmla="*/ 1324994 h 4331342"/>
                <a:gd name="connsiteX782" fmla="*/ 4454119 w 4753603"/>
                <a:gd name="connsiteY782" fmla="*/ 1334595 h 4331342"/>
                <a:gd name="connsiteX783" fmla="*/ 4440165 w 4753603"/>
                <a:gd name="connsiteY783" fmla="*/ 1334319 h 4331342"/>
                <a:gd name="connsiteX784" fmla="*/ 4438936 w 4753603"/>
                <a:gd name="connsiteY784" fmla="*/ 1337415 h 4331342"/>
                <a:gd name="connsiteX785" fmla="*/ 4436736 w 4753603"/>
                <a:gd name="connsiteY785" fmla="*/ 1399003 h 4331342"/>
                <a:gd name="connsiteX786" fmla="*/ 4435955 w 4753603"/>
                <a:gd name="connsiteY786" fmla="*/ 1405471 h 4331342"/>
                <a:gd name="connsiteX787" fmla="*/ 4436097 w 4753603"/>
                <a:gd name="connsiteY787" fmla="*/ 1473289 h 4331342"/>
                <a:gd name="connsiteX788" fmla="*/ 4411828 w 4753603"/>
                <a:gd name="connsiteY788" fmla="*/ 1464259 h 4331342"/>
                <a:gd name="connsiteX789" fmla="*/ 4411094 w 4753603"/>
                <a:gd name="connsiteY789" fmla="*/ 1475280 h 4331342"/>
                <a:gd name="connsiteX790" fmla="*/ 4408104 w 4753603"/>
                <a:gd name="connsiteY790" fmla="*/ 1494158 h 4331342"/>
                <a:gd name="connsiteX791" fmla="*/ 4386996 w 4753603"/>
                <a:gd name="connsiteY791" fmla="*/ 1480814 h 4331342"/>
                <a:gd name="connsiteX792" fmla="*/ 4394054 w 4753603"/>
                <a:gd name="connsiteY792" fmla="*/ 1442066 h 4331342"/>
                <a:gd name="connsiteX793" fmla="*/ 4432792 w 4753603"/>
                <a:gd name="connsiteY793" fmla="*/ 1395832 h 4331342"/>
                <a:gd name="connsiteX794" fmla="*/ 4435974 w 4753603"/>
                <a:gd name="connsiteY794" fmla="*/ 1349750 h 4331342"/>
                <a:gd name="connsiteX795" fmla="*/ 4436564 w 4753603"/>
                <a:gd name="connsiteY795" fmla="*/ 1341311 h 4331342"/>
                <a:gd name="connsiteX796" fmla="*/ 4435974 w 4753603"/>
                <a:gd name="connsiteY796" fmla="*/ 1349635 h 4331342"/>
                <a:gd name="connsiteX797" fmla="*/ 4428039 w 4753603"/>
                <a:gd name="connsiteY797" fmla="*/ 1330452 h 4331342"/>
                <a:gd name="connsiteX798" fmla="*/ 4439365 w 4753603"/>
                <a:gd name="connsiteY798" fmla="*/ 1265377 h 4331342"/>
                <a:gd name="connsiteX799" fmla="*/ 4316607 w 4753603"/>
                <a:gd name="connsiteY799" fmla="*/ 1114701 h 4331342"/>
                <a:gd name="connsiteX800" fmla="*/ 4316607 w 4753603"/>
                <a:gd name="connsiteY800" fmla="*/ 1114873 h 4331342"/>
                <a:gd name="connsiteX801" fmla="*/ 4323379 w 4753603"/>
                <a:gd name="connsiteY801" fmla="*/ 1105824 h 4331342"/>
                <a:gd name="connsiteX802" fmla="*/ 4333066 w 4753603"/>
                <a:gd name="connsiteY802" fmla="*/ 1054332 h 4331342"/>
                <a:gd name="connsiteX803" fmla="*/ 4351125 w 4753603"/>
                <a:gd name="connsiteY803" fmla="*/ 1028614 h 4331342"/>
                <a:gd name="connsiteX804" fmla="*/ 4367822 w 4753603"/>
                <a:gd name="connsiteY804" fmla="*/ 1030586 h 4331342"/>
                <a:gd name="connsiteX805" fmla="*/ 4379414 w 4753603"/>
                <a:gd name="connsiteY805" fmla="*/ 1050112 h 4331342"/>
                <a:gd name="connsiteX806" fmla="*/ 4386329 w 4753603"/>
                <a:gd name="connsiteY806" fmla="*/ 1065628 h 4331342"/>
                <a:gd name="connsiteX807" fmla="*/ 4392064 w 4753603"/>
                <a:gd name="connsiteY807" fmla="*/ 1125560 h 4331342"/>
                <a:gd name="connsiteX808" fmla="*/ 4414476 w 4753603"/>
                <a:gd name="connsiteY808" fmla="*/ 1176576 h 4331342"/>
                <a:gd name="connsiteX809" fmla="*/ 4429439 w 4753603"/>
                <a:gd name="connsiteY809" fmla="*/ 1213018 h 4331342"/>
                <a:gd name="connsiteX810" fmla="*/ 4417638 w 4753603"/>
                <a:gd name="connsiteY810" fmla="*/ 1244603 h 4331342"/>
                <a:gd name="connsiteX811" fmla="*/ 4407637 w 4753603"/>
                <a:gd name="connsiteY811" fmla="*/ 1272302 h 4331342"/>
                <a:gd name="connsiteX812" fmla="*/ 4412923 w 4753603"/>
                <a:gd name="connsiteY812" fmla="*/ 1352626 h 4331342"/>
                <a:gd name="connsiteX813" fmla="*/ 4408513 w 4753603"/>
                <a:gd name="connsiteY813" fmla="*/ 1389964 h 4331342"/>
                <a:gd name="connsiteX814" fmla="*/ 4408656 w 4753603"/>
                <a:gd name="connsiteY814" fmla="*/ 1389964 h 4331342"/>
                <a:gd name="connsiteX815" fmla="*/ 4363355 w 4753603"/>
                <a:gd name="connsiteY815" fmla="*/ 1440380 h 4331342"/>
                <a:gd name="connsiteX816" fmla="*/ 4361936 w 4753603"/>
                <a:gd name="connsiteY816" fmla="*/ 1441199 h 4331342"/>
                <a:gd name="connsiteX817" fmla="*/ 4358297 w 4753603"/>
                <a:gd name="connsiteY817" fmla="*/ 1441809 h 4331342"/>
                <a:gd name="connsiteX818" fmla="*/ 4345200 w 4753603"/>
                <a:gd name="connsiteY818" fmla="*/ 1436713 h 4331342"/>
                <a:gd name="connsiteX819" fmla="*/ 4328541 w 4753603"/>
                <a:gd name="connsiteY819" fmla="*/ 1411272 h 4331342"/>
                <a:gd name="connsiteX820" fmla="*/ 4335866 w 4753603"/>
                <a:gd name="connsiteY820" fmla="*/ 1380020 h 4331342"/>
                <a:gd name="connsiteX821" fmla="*/ 4357069 w 4753603"/>
                <a:gd name="connsiteY821" fmla="*/ 1361227 h 4331342"/>
                <a:gd name="connsiteX822" fmla="*/ 4358640 w 4753603"/>
                <a:gd name="connsiteY822" fmla="*/ 1350150 h 4331342"/>
                <a:gd name="connsiteX823" fmla="*/ 4339848 w 4753603"/>
                <a:gd name="connsiteY823" fmla="*/ 1350007 h 4331342"/>
                <a:gd name="connsiteX824" fmla="*/ 4324588 w 4753603"/>
                <a:gd name="connsiteY824" fmla="*/ 1356312 h 4331342"/>
                <a:gd name="connsiteX825" fmla="*/ 4349020 w 4753603"/>
                <a:gd name="connsiteY825" fmla="*/ 1288980 h 4331342"/>
                <a:gd name="connsiteX826" fmla="*/ 4376309 w 4753603"/>
                <a:gd name="connsiteY826" fmla="*/ 1235907 h 4331342"/>
                <a:gd name="connsiteX827" fmla="*/ 4340514 w 4753603"/>
                <a:gd name="connsiteY827" fmla="*/ 1258643 h 4331342"/>
                <a:gd name="connsiteX828" fmla="*/ 4355478 w 4753603"/>
                <a:gd name="connsiteY828" fmla="*/ 1196350 h 4331342"/>
                <a:gd name="connsiteX829" fmla="*/ 4348515 w 4753603"/>
                <a:gd name="connsiteY829" fmla="*/ 1158554 h 4331342"/>
                <a:gd name="connsiteX830" fmla="*/ 4339466 w 4753603"/>
                <a:gd name="connsiteY830" fmla="*/ 1152858 h 4331342"/>
                <a:gd name="connsiteX831" fmla="*/ 4323093 w 4753603"/>
                <a:gd name="connsiteY831" fmla="*/ 1224496 h 4331342"/>
                <a:gd name="connsiteX832" fmla="*/ 4313644 w 4753603"/>
                <a:gd name="connsiteY832" fmla="*/ 1208075 h 4331342"/>
                <a:gd name="connsiteX833" fmla="*/ 4300757 w 4753603"/>
                <a:gd name="connsiteY833" fmla="*/ 1198769 h 4331342"/>
                <a:gd name="connsiteX834" fmla="*/ 4295375 w 4753603"/>
                <a:gd name="connsiteY834" fmla="*/ 1367704 h 4331342"/>
                <a:gd name="connsiteX835" fmla="*/ 4288574 w 4753603"/>
                <a:gd name="connsiteY835" fmla="*/ 1355722 h 4331342"/>
                <a:gd name="connsiteX836" fmla="*/ 4279716 w 4753603"/>
                <a:gd name="connsiteY836" fmla="*/ 1321880 h 4331342"/>
                <a:gd name="connsiteX837" fmla="*/ 4261942 w 4753603"/>
                <a:gd name="connsiteY837" fmla="*/ 1294028 h 4331342"/>
                <a:gd name="connsiteX838" fmla="*/ 4251322 w 4753603"/>
                <a:gd name="connsiteY838" fmla="*/ 1294495 h 4331342"/>
                <a:gd name="connsiteX839" fmla="*/ 4257818 w 4753603"/>
                <a:gd name="connsiteY839" fmla="*/ 1323632 h 4331342"/>
                <a:gd name="connsiteX840" fmla="*/ 4235834 w 4753603"/>
                <a:gd name="connsiteY840" fmla="*/ 1300953 h 4331342"/>
                <a:gd name="connsiteX841" fmla="*/ 4229691 w 4753603"/>
                <a:gd name="connsiteY841" fmla="*/ 1241946 h 4331342"/>
                <a:gd name="connsiteX842" fmla="*/ 4242016 w 4753603"/>
                <a:gd name="connsiteY842" fmla="*/ 1238783 h 4331342"/>
                <a:gd name="connsiteX843" fmla="*/ 4269458 w 4753603"/>
                <a:gd name="connsiteY843" fmla="*/ 1216562 h 4331342"/>
                <a:gd name="connsiteX844" fmla="*/ 4268591 w 4753603"/>
                <a:gd name="connsiteY844" fmla="*/ 1179814 h 4331342"/>
                <a:gd name="connsiteX845" fmla="*/ 4271325 w 4753603"/>
                <a:gd name="connsiteY845" fmla="*/ 1131599 h 4331342"/>
                <a:gd name="connsiteX846" fmla="*/ 4286012 w 4753603"/>
                <a:gd name="connsiteY846" fmla="*/ 1121893 h 4331342"/>
                <a:gd name="connsiteX847" fmla="*/ 4316607 w 4753603"/>
                <a:gd name="connsiteY847" fmla="*/ 1114701 h 4331342"/>
                <a:gd name="connsiteX848" fmla="*/ 4210050 w 4753603"/>
                <a:gd name="connsiteY848" fmla="*/ 1268902 h 4331342"/>
                <a:gd name="connsiteX849" fmla="*/ 4198363 w 4753603"/>
                <a:gd name="connsiteY849" fmla="*/ 1276855 h 4331342"/>
                <a:gd name="connsiteX850" fmla="*/ 4188324 w 4753603"/>
                <a:gd name="connsiteY850" fmla="*/ 1236012 h 4331342"/>
                <a:gd name="connsiteX851" fmla="*/ 4233177 w 4753603"/>
                <a:gd name="connsiteY851" fmla="*/ 1204598 h 4331342"/>
                <a:gd name="connsiteX852" fmla="*/ 4247398 w 4753603"/>
                <a:gd name="connsiteY852" fmla="*/ 1205808 h 4331342"/>
                <a:gd name="connsiteX853" fmla="*/ 4233177 w 4753603"/>
                <a:gd name="connsiteY853" fmla="*/ 1215076 h 4331342"/>
                <a:gd name="connsiteX854" fmla="*/ 4209736 w 4753603"/>
                <a:gd name="connsiteY854" fmla="*/ 1244508 h 4331342"/>
                <a:gd name="connsiteX855" fmla="*/ 4210050 w 4753603"/>
                <a:gd name="connsiteY855" fmla="*/ 1268902 h 4331342"/>
                <a:gd name="connsiteX856" fmla="*/ 4275535 w 4753603"/>
                <a:gd name="connsiteY856" fmla="*/ 914960 h 4331342"/>
                <a:gd name="connsiteX857" fmla="*/ 4243693 w 4753603"/>
                <a:gd name="connsiteY857" fmla="*/ 948444 h 4331342"/>
                <a:gd name="connsiteX858" fmla="*/ 4273268 w 4753603"/>
                <a:gd name="connsiteY858" fmla="*/ 939116 h 4331342"/>
                <a:gd name="connsiteX859" fmla="*/ 4241711 w 4753603"/>
                <a:gd name="connsiteY859" fmla="*/ 979484 h 4331342"/>
                <a:gd name="connsiteX860" fmla="*/ 4274420 w 4753603"/>
                <a:gd name="connsiteY860" fmla="*/ 967864 h 4331342"/>
                <a:gd name="connsiteX861" fmla="*/ 4278640 w 4753603"/>
                <a:gd name="connsiteY861" fmla="*/ 965121 h 4331342"/>
                <a:gd name="connsiteX862" fmla="*/ 4276392 w 4753603"/>
                <a:gd name="connsiteY862" fmla="*/ 970474 h 4331342"/>
                <a:gd name="connsiteX863" fmla="*/ 4265095 w 4753603"/>
                <a:gd name="connsiteY863" fmla="*/ 983142 h 4331342"/>
                <a:gd name="connsiteX864" fmla="*/ 4255923 w 4753603"/>
                <a:gd name="connsiteY864" fmla="*/ 988647 h 4331342"/>
                <a:gd name="connsiteX865" fmla="*/ 4251589 w 4753603"/>
                <a:gd name="connsiteY865" fmla="*/ 1002182 h 4331342"/>
                <a:gd name="connsiteX866" fmla="*/ 4263666 w 4753603"/>
                <a:gd name="connsiteY866" fmla="*/ 1000830 h 4331342"/>
                <a:gd name="connsiteX867" fmla="*/ 4276801 w 4753603"/>
                <a:gd name="connsiteY867" fmla="*/ 996725 h 4331342"/>
                <a:gd name="connsiteX868" fmla="*/ 4250408 w 4753603"/>
                <a:gd name="connsiteY868" fmla="*/ 1009926 h 4331342"/>
                <a:gd name="connsiteX869" fmla="*/ 4213574 w 4753603"/>
                <a:gd name="connsiteY869" fmla="*/ 1034729 h 4331342"/>
                <a:gd name="connsiteX870" fmla="*/ 4187781 w 4753603"/>
                <a:gd name="connsiteY870" fmla="*/ 1055361 h 4331342"/>
                <a:gd name="connsiteX871" fmla="*/ 4182561 w 4753603"/>
                <a:gd name="connsiteY871" fmla="*/ 1026519 h 4331342"/>
                <a:gd name="connsiteX872" fmla="*/ 4197201 w 4753603"/>
                <a:gd name="connsiteY872" fmla="*/ 959644 h 4331342"/>
                <a:gd name="connsiteX873" fmla="*/ 4228719 w 4753603"/>
                <a:gd name="connsiteY873" fmla="*/ 927187 h 4331342"/>
                <a:gd name="connsiteX874" fmla="*/ 4286507 w 4753603"/>
                <a:gd name="connsiteY874" fmla="*/ 886854 h 4331342"/>
                <a:gd name="connsiteX875" fmla="*/ 4275535 w 4753603"/>
                <a:gd name="connsiteY875" fmla="*/ 914960 h 4331342"/>
                <a:gd name="connsiteX876" fmla="*/ 4264171 w 4753603"/>
                <a:gd name="connsiteY876" fmla="*/ 1113977 h 4331342"/>
                <a:gd name="connsiteX877" fmla="*/ 4248150 w 4753603"/>
                <a:gd name="connsiteY877" fmla="*/ 1155040 h 4331342"/>
                <a:gd name="connsiteX878" fmla="*/ 4203649 w 4753603"/>
                <a:gd name="connsiteY878" fmla="*/ 1206522 h 4331342"/>
                <a:gd name="connsiteX879" fmla="*/ 4191810 w 4753603"/>
                <a:gd name="connsiteY879" fmla="*/ 1201617 h 4331342"/>
                <a:gd name="connsiteX880" fmla="*/ 4229310 w 4753603"/>
                <a:gd name="connsiteY880" fmla="*/ 1140314 h 4331342"/>
                <a:gd name="connsiteX881" fmla="*/ 4239197 w 4753603"/>
                <a:gd name="connsiteY881" fmla="*/ 1131513 h 4331342"/>
                <a:gd name="connsiteX882" fmla="*/ 4265800 w 4753603"/>
                <a:gd name="connsiteY882" fmla="*/ 1053475 h 4331342"/>
                <a:gd name="connsiteX883" fmla="*/ 4278268 w 4753603"/>
                <a:gd name="connsiteY883" fmla="*/ 1027109 h 4331342"/>
                <a:gd name="connsiteX884" fmla="*/ 4264171 w 4753603"/>
                <a:gd name="connsiteY884" fmla="*/ 1113977 h 4331342"/>
                <a:gd name="connsiteX885" fmla="*/ 4163759 w 4753603"/>
                <a:gd name="connsiteY885" fmla="*/ 765292 h 4331342"/>
                <a:gd name="connsiteX886" fmla="*/ 4271353 w 4753603"/>
                <a:gd name="connsiteY886" fmla="*/ 798341 h 4331342"/>
                <a:gd name="connsiteX887" fmla="*/ 4290937 w 4753603"/>
                <a:gd name="connsiteY887" fmla="*/ 834610 h 4331342"/>
                <a:gd name="connsiteX888" fmla="*/ 4246159 w 4753603"/>
                <a:gd name="connsiteY888" fmla="*/ 813468 h 4331342"/>
                <a:gd name="connsiteX889" fmla="*/ 4260780 w 4753603"/>
                <a:gd name="connsiteY889" fmla="*/ 832784 h 4331342"/>
                <a:gd name="connsiteX890" fmla="*/ 4279306 w 4753603"/>
                <a:gd name="connsiteY890" fmla="*/ 851161 h 4331342"/>
                <a:gd name="connsiteX891" fmla="*/ 4239759 w 4753603"/>
                <a:gd name="connsiteY891" fmla="*/ 841637 h 4331342"/>
                <a:gd name="connsiteX892" fmla="*/ 4269943 w 4753603"/>
                <a:gd name="connsiteY892" fmla="*/ 869849 h 4331342"/>
                <a:gd name="connsiteX893" fmla="*/ 4231996 w 4753603"/>
                <a:gd name="connsiteY893" fmla="*/ 865226 h 4331342"/>
                <a:gd name="connsiteX894" fmla="*/ 4252608 w 4753603"/>
                <a:gd name="connsiteY894" fmla="*/ 887688 h 4331342"/>
                <a:gd name="connsiteX895" fmla="*/ 4214737 w 4753603"/>
                <a:gd name="connsiteY895" fmla="*/ 908439 h 4331342"/>
                <a:gd name="connsiteX896" fmla="*/ 4185409 w 4753603"/>
                <a:gd name="connsiteY896" fmla="*/ 885150 h 4331342"/>
                <a:gd name="connsiteX897" fmla="*/ 4188276 w 4753603"/>
                <a:gd name="connsiteY897" fmla="*/ 824199 h 4331342"/>
                <a:gd name="connsiteX898" fmla="*/ 4174608 w 4753603"/>
                <a:gd name="connsiteY898" fmla="*/ 794678 h 4331342"/>
                <a:gd name="connsiteX899" fmla="*/ 4163759 w 4753603"/>
                <a:gd name="connsiteY899" fmla="*/ 765292 h 4331342"/>
                <a:gd name="connsiteX900" fmla="*/ 3981707 w 4753603"/>
                <a:gd name="connsiteY900" fmla="*/ 646227 h 4331342"/>
                <a:gd name="connsiteX901" fmla="*/ 4014864 w 4753603"/>
                <a:gd name="connsiteY901" fmla="*/ 620793 h 4331342"/>
                <a:gd name="connsiteX902" fmla="*/ 4031275 w 4753603"/>
                <a:gd name="connsiteY902" fmla="*/ 621712 h 4331342"/>
                <a:gd name="connsiteX903" fmla="*/ 4043125 w 4753603"/>
                <a:gd name="connsiteY903" fmla="*/ 628304 h 4331342"/>
                <a:gd name="connsiteX904" fmla="*/ 4074233 w 4753603"/>
                <a:gd name="connsiteY904" fmla="*/ 652099 h 4331342"/>
                <a:gd name="connsiteX905" fmla="*/ 4090921 w 4753603"/>
                <a:gd name="connsiteY905" fmla="*/ 673829 h 4331342"/>
                <a:gd name="connsiteX906" fmla="*/ 4093921 w 4753603"/>
                <a:gd name="connsiteY906" fmla="*/ 701731 h 4331342"/>
                <a:gd name="connsiteX907" fmla="*/ 4096226 w 4753603"/>
                <a:gd name="connsiteY907" fmla="*/ 730209 h 4331342"/>
                <a:gd name="connsiteX908" fmla="*/ 4121439 w 4753603"/>
                <a:gd name="connsiteY908" fmla="*/ 757697 h 4331342"/>
                <a:gd name="connsiteX909" fmla="*/ 4131888 w 4753603"/>
                <a:gd name="connsiteY909" fmla="*/ 766603 h 4331342"/>
                <a:gd name="connsiteX910" fmla="*/ 4150986 w 4753603"/>
                <a:gd name="connsiteY910" fmla="*/ 800808 h 4331342"/>
                <a:gd name="connsiteX911" fmla="*/ 4160292 w 4753603"/>
                <a:gd name="connsiteY911" fmla="*/ 815924 h 4331342"/>
                <a:gd name="connsiteX912" fmla="*/ 4167588 w 4753603"/>
                <a:gd name="connsiteY912" fmla="*/ 850295 h 4331342"/>
                <a:gd name="connsiteX913" fmla="*/ 4162520 w 4753603"/>
                <a:gd name="connsiteY913" fmla="*/ 890424 h 4331342"/>
                <a:gd name="connsiteX914" fmla="*/ 4179361 w 4753603"/>
                <a:gd name="connsiteY914" fmla="*/ 917859 h 4331342"/>
                <a:gd name="connsiteX915" fmla="*/ 4179065 w 4753603"/>
                <a:gd name="connsiteY915" fmla="*/ 961196 h 4331342"/>
                <a:gd name="connsiteX916" fmla="*/ 4179275 w 4753603"/>
                <a:gd name="connsiteY916" fmla="*/ 961187 h 4331342"/>
                <a:gd name="connsiteX917" fmla="*/ 4172779 w 4753603"/>
                <a:gd name="connsiteY917" fmla="*/ 979675 h 4331342"/>
                <a:gd name="connsiteX918" fmla="*/ 4169931 w 4753603"/>
                <a:gd name="connsiteY918" fmla="*/ 985952 h 4331342"/>
                <a:gd name="connsiteX919" fmla="*/ 4163378 w 4753603"/>
                <a:gd name="connsiteY919" fmla="*/ 1001887 h 4331342"/>
                <a:gd name="connsiteX920" fmla="*/ 4162892 w 4753603"/>
                <a:gd name="connsiteY920" fmla="*/ 1004059 h 4331342"/>
                <a:gd name="connsiteX921" fmla="*/ 4160358 w 4753603"/>
                <a:gd name="connsiteY921" fmla="*/ 1010593 h 4331342"/>
                <a:gd name="connsiteX922" fmla="*/ 4166711 w 4753603"/>
                <a:gd name="connsiteY922" fmla="*/ 1128055 h 4331342"/>
                <a:gd name="connsiteX923" fmla="*/ 4160530 w 4753603"/>
                <a:gd name="connsiteY923" fmla="*/ 1152544 h 4331342"/>
                <a:gd name="connsiteX924" fmla="*/ 4148357 w 4753603"/>
                <a:gd name="connsiteY924" fmla="*/ 1168337 h 4331342"/>
                <a:gd name="connsiteX925" fmla="*/ 4142718 w 4753603"/>
                <a:gd name="connsiteY925" fmla="*/ 1146705 h 4331342"/>
                <a:gd name="connsiteX926" fmla="*/ 4150395 w 4753603"/>
                <a:gd name="connsiteY926" fmla="*/ 1105110 h 4331342"/>
                <a:gd name="connsiteX927" fmla="*/ 4140032 w 4753603"/>
                <a:gd name="connsiteY927" fmla="*/ 1087136 h 4331342"/>
                <a:gd name="connsiteX928" fmla="*/ 4125887 w 4753603"/>
                <a:gd name="connsiteY928" fmla="*/ 1061076 h 4331342"/>
                <a:gd name="connsiteX929" fmla="*/ 4136431 w 4753603"/>
                <a:gd name="connsiteY929" fmla="*/ 1014174 h 4331342"/>
                <a:gd name="connsiteX930" fmla="*/ 4146194 w 4753603"/>
                <a:gd name="connsiteY930" fmla="*/ 960920 h 4331342"/>
                <a:gd name="connsiteX931" fmla="*/ 4119496 w 4753603"/>
                <a:gd name="connsiteY931" fmla="*/ 972941 h 4331342"/>
                <a:gd name="connsiteX932" fmla="*/ 4129354 w 4753603"/>
                <a:gd name="connsiteY932" fmla="*/ 821815 h 4331342"/>
                <a:gd name="connsiteX933" fmla="*/ 4127830 w 4753603"/>
                <a:gd name="connsiteY933" fmla="*/ 807741 h 4331342"/>
                <a:gd name="connsiteX934" fmla="*/ 4107075 w 4753603"/>
                <a:gd name="connsiteY934" fmla="*/ 825593 h 4331342"/>
                <a:gd name="connsiteX935" fmla="*/ 4103827 w 4753603"/>
                <a:gd name="connsiteY935" fmla="*/ 831846 h 4331342"/>
                <a:gd name="connsiteX936" fmla="*/ 4103999 w 4753603"/>
                <a:gd name="connsiteY936" fmla="*/ 831804 h 4331342"/>
                <a:gd name="connsiteX937" fmla="*/ 4101913 w 4753603"/>
                <a:gd name="connsiteY937" fmla="*/ 840358 h 4331342"/>
                <a:gd name="connsiteX938" fmla="*/ 4091350 w 4753603"/>
                <a:gd name="connsiteY938" fmla="*/ 860830 h 4331342"/>
                <a:gd name="connsiteX939" fmla="*/ 4072157 w 4753603"/>
                <a:gd name="connsiteY939" fmla="*/ 838212 h 4331342"/>
                <a:gd name="connsiteX940" fmla="*/ 4056507 w 4753603"/>
                <a:gd name="connsiteY940" fmla="*/ 780944 h 4331342"/>
                <a:gd name="connsiteX941" fmla="*/ 4050287 w 4753603"/>
                <a:gd name="connsiteY941" fmla="*/ 740516 h 4331342"/>
                <a:gd name="connsiteX942" fmla="*/ 4041372 w 4753603"/>
                <a:gd name="connsiteY942" fmla="*/ 724740 h 4331342"/>
                <a:gd name="connsiteX943" fmla="*/ 4030018 w 4753603"/>
                <a:gd name="connsiteY943" fmla="*/ 738649 h 4331342"/>
                <a:gd name="connsiteX944" fmla="*/ 4027608 w 4753603"/>
                <a:gd name="connsiteY944" fmla="*/ 745593 h 4331342"/>
                <a:gd name="connsiteX945" fmla="*/ 4040324 w 4753603"/>
                <a:gd name="connsiteY945" fmla="*/ 813231 h 4331342"/>
                <a:gd name="connsiteX946" fmla="*/ 4041058 w 4753603"/>
                <a:gd name="connsiteY946" fmla="*/ 816193 h 4331342"/>
                <a:gd name="connsiteX947" fmla="*/ 4056964 w 4753603"/>
                <a:gd name="connsiteY947" fmla="*/ 846911 h 4331342"/>
                <a:gd name="connsiteX948" fmla="*/ 4056650 w 4753603"/>
                <a:gd name="connsiteY948" fmla="*/ 846911 h 4331342"/>
                <a:gd name="connsiteX949" fmla="*/ 4078005 w 4753603"/>
                <a:gd name="connsiteY949" fmla="*/ 887204 h 4331342"/>
                <a:gd name="connsiteX950" fmla="*/ 4089569 w 4753603"/>
                <a:gd name="connsiteY950" fmla="*/ 911503 h 4331342"/>
                <a:gd name="connsiteX951" fmla="*/ 4085911 w 4753603"/>
                <a:gd name="connsiteY951" fmla="*/ 921317 h 4331342"/>
                <a:gd name="connsiteX952" fmla="*/ 4078576 w 4753603"/>
                <a:gd name="connsiteY952" fmla="*/ 919449 h 4331342"/>
                <a:gd name="connsiteX953" fmla="*/ 4059431 w 4753603"/>
                <a:gd name="connsiteY953" fmla="*/ 911503 h 4331342"/>
                <a:gd name="connsiteX954" fmla="*/ 4056278 w 4753603"/>
                <a:gd name="connsiteY954" fmla="*/ 908985 h 4331342"/>
                <a:gd name="connsiteX955" fmla="*/ 4034504 w 4753603"/>
                <a:gd name="connsiteY955" fmla="*/ 890969 h 4331342"/>
                <a:gd name="connsiteX956" fmla="*/ 3994128 w 4753603"/>
                <a:gd name="connsiteY956" fmla="*/ 862718 h 4331342"/>
                <a:gd name="connsiteX957" fmla="*/ 3997319 w 4753603"/>
                <a:gd name="connsiteY957" fmla="*/ 886935 h 4331342"/>
                <a:gd name="connsiteX958" fmla="*/ 4000338 w 4753603"/>
                <a:gd name="connsiteY958" fmla="*/ 893250 h 4331342"/>
                <a:gd name="connsiteX959" fmla="*/ 4035076 w 4753603"/>
                <a:gd name="connsiteY959" fmla="*/ 921264 h 4331342"/>
                <a:gd name="connsiteX960" fmla="*/ 4053364 w 4753603"/>
                <a:gd name="connsiteY960" fmla="*/ 936278 h 4331342"/>
                <a:gd name="connsiteX961" fmla="*/ 4075348 w 4753603"/>
                <a:gd name="connsiteY961" fmla="*/ 954710 h 4331342"/>
                <a:gd name="connsiteX962" fmla="*/ 4091245 w 4753603"/>
                <a:gd name="connsiteY962" fmla="*/ 973455 h 4331342"/>
                <a:gd name="connsiteX963" fmla="*/ 4107075 w 4753603"/>
                <a:gd name="connsiteY963" fmla="*/ 1026366 h 4331342"/>
                <a:gd name="connsiteX964" fmla="*/ 4097236 w 4753603"/>
                <a:gd name="connsiteY964" fmla="*/ 1029291 h 4331342"/>
                <a:gd name="connsiteX965" fmla="*/ 4071157 w 4753603"/>
                <a:gd name="connsiteY965" fmla="*/ 1019699 h 4331342"/>
                <a:gd name="connsiteX966" fmla="*/ 4079005 w 4753603"/>
                <a:gd name="connsiteY966" fmla="*/ 1043330 h 4331342"/>
                <a:gd name="connsiteX967" fmla="*/ 4088521 w 4753603"/>
                <a:gd name="connsiteY967" fmla="*/ 1060199 h 4331342"/>
                <a:gd name="connsiteX968" fmla="*/ 4099989 w 4753603"/>
                <a:gd name="connsiteY968" fmla="*/ 1072820 h 4331342"/>
                <a:gd name="connsiteX969" fmla="*/ 4100627 w 4753603"/>
                <a:gd name="connsiteY969" fmla="*/ 1075134 h 4331342"/>
                <a:gd name="connsiteX970" fmla="*/ 4118848 w 4753603"/>
                <a:gd name="connsiteY970" fmla="*/ 1137733 h 4331342"/>
                <a:gd name="connsiteX971" fmla="*/ 4118848 w 4753603"/>
                <a:gd name="connsiteY971" fmla="*/ 1142419 h 4331342"/>
                <a:gd name="connsiteX972" fmla="*/ 4119801 w 4753603"/>
                <a:gd name="connsiteY972" fmla="*/ 1152858 h 4331342"/>
                <a:gd name="connsiteX973" fmla="*/ 4117105 w 4753603"/>
                <a:gd name="connsiteY973" fmla="*/ 1156735 h 4331342"/>
                <a:gd name="connsiteX974" fmla="*/ 4113524 w 4753603"/>
                <a:gd name="connsiteY974" fmla="*/ 1152173 h 4331342"/>
                <a:gd name="connsiteX975" fmla="*/ 4101246 w 4753603"/>
                <a:gd name="connsiteY975" fmla="*/ 1134447 h 4331342"/>
                <a:gd name="connsiteX976" fmla="*/ 4061127 w 4753603"/>
                <a:gd name="connsiteY976" fmla="*/ 1070267 h 4331342"/>
                <a:gd name="connsiteX977" fmla="*/ 4018941 w 4753603"/>
                <a:gd name="connsiteY977" fmla="*/ 1010993 h 4331342"/>
                <a:gd name="connsiteX978" fmla="*/ 4021893 w 4753603"/>
                <a:gd name="connsiteY978" fmla="*/ 985637 h 4331342"/>
                <a:gd name="connsiteX979" fmla="*/ 4022751 w 4753603"/>
                <a:gd name="connsiteY979" fmla="*/ 982123 h 4331342"/>
                <a:gd name="connsiteX980" fmla="*/ 4021893 w 4753603"/>
                <a:gd name="connsiteY980" fmla="*/ 952489 h 4331342"/>
                <a:gd name="connsiteX981" fmla="*/ 4009292 w 4753603"/>
                <a:gd name="connsiteY981" fmla="*/ 933286 h 4331342"/>
                <a:gd name="connsiteX982" fmla="*/ 3999881 w 4753603"/>
                <a:gd name="connsiteY982" fmla="*/ 927683 h 4331342"/>
                <a:gd name="connsiteX983" fmla="*/ 3987451 w 4753603"/>
                <a:gd name="connsiteY983" fmla="*/ 918438 h 4331342"/>
                <a:gd name="connsiteX984" fmla="*/ 3967772 w 4753603"/>
                <a:gd name="connsiteY984" fmla="*/ 888402 h 4331342"/>
                <a:gd name="connsiteX985" fmla="*/ 3956333 w 4753603"/>
                <a:gd name="connsiteY985" fmla="*/ 809031 h 4331342"/>
                <a:gd name="connsiteX986" fmla="*/ 3976307 w 4753603"/>
                <a:gd name="connsiteY986" fmla="*/ 785360 h 4331342"/>
                <a:gd name="connsiteX987" fmla="*/ 3992680 w 4753603"/>
                <a:gd name="connsiteY987" fmla="*/ 746966 h 4331342"/>
                <a:gd name="connsiteX988" fmla="*/ 3976278 w 4753603"/>
                <a:gd name="connsiteY988" fmla="*/ 701802 h 4331342"/>
                <a:gd name="connsiteX989" fmla="*/ 3981707 w 4753603"/>
                <a:gd name="connsiteY989" fmla="*/ 646227 h 4331342"/>
                <a:gd name="connsiteX990" fmla="*/ 3984060 w 4753603"/>
                <a:gd name="connsiteY990" fmla="*/ 1031329 h 4331342"/>
                <a:gd name="connsiteX991" fmla="*/ 3998395 w 4753603"/>
                <a:gd name="connsiteY991" fmla="*/ 1035339 h 4331342"/>
                <a:gd name="connsiteX992" fmla="*/ 4059193 w 4753603"/>
                <a:gd name="connsiteY992" fmla="*/ 1112558 h 4331342"/>
                <a:gd name="connsiteX993" fmla="*/ 4048249 w 4753603"/>
                <a:gd name="connsiteY993" fmla="*/ 1108481 h 4331342"/>
                <a:gd name="connsiteX994" fmla="*/ 3987213 w 4753603"/>
                <a:gd name="connsiteY994" fmla="*/ 1045321 h 4331342"/>
                <a:gd name="connsiteX995" fmla="*/ 3984060 w 4753603"/>
                <a:gd name="connsiteY995" fmla="*/ 1031329 h 4331342"/>
                <a:gd name="connsiteX996" fmla="*/ 3972963 w 4753603"/>
                <a:gd name="connsiteY996" fmla="*/ 965683 h 4331342"/>
                <a:gd name="connsiteX997" fmla="*/ 3982631 w 4753603"/>
                <a:gd name="connsiteY997" fmla="*/ 960920 h 4331342"/>
                <a:gd name="connsiteX998" fmla="*/ 4001167 w 4753603"/>
                <a:gd name="connsiteY998" fmla="*/ 976112 h 4331342"/>
                <a:gd name="connsiteX999" fmla="*/ 3989318 w 4753603"/>
                <a:gd name="connsiteY999" fmla="*/ 989914 h 4331342"/>
                <a:gd name="connsiteX1000" fmla="*/ 3972963 w 4753603"/>
                <a:gd name="connsiteY1000" fmla="*/ 965683 h 4331342"/>
                <a:gd name="connsiteX1001" fmla="*/ 4060689 w 4753603"/>
                <a:gd name="connsiteY1001" fmla="*/ 1150725 h 4331342"/>
                <a:gd name="connsiteX1002" fmla="*/ 4103637 w 4753603"/>
                <a:gd name="connsiteY1002" fmla="*/ 1197950 h 4331342"/>
                <a:gd name="connsiteX1003" fmla="*/ 4106694 w 4753603"/>
                <a:gd name="connsiteY1003" fmla="*/ 1206522 h 4331342"/>
                <a:gd name="connsiteX1004" fmla="*/ 4046230 w 4753603"/>
                <a:gd name="connsiteY1004" fmla="*/ 1181176 h 4331342"/>
                <a:gd name="connsiteX1005" fmla="*/ 4024008 w 4753603"/>
                <a:gd name="connsiteY1005" fmla="*/ 1170299 h 4331342"/>
                <a:gd name="connsiteX1006" fmla="*/ 4016921 w 4753603"/>
                <a:gd name="connsiteY1006" fmla="*/ 1162841 h 4331342"/>
                <a:gd name="connsiteX1007" fmla="*/ 4024122 w 4753603"/>
                <a:gd name="connsiteY1007" fmla="*/ 1156735 h 4331342"/>
                <a:gd name="connsiteX1008" fmla="*/ 4039219 w 4753603"/>
                <a:gd name="connsiteY1008" fmla="*/ 1148896 h 4331342"/>
                <a:gd name="connsiteX1009" fmla="*/ 4060689 w 4753603"/>
                <a:gd name="connsiteY1009" fmla="*/ 1150725 h 4331342"/>
                <a:gd name="connsiteX1010" fmla="*/ 4088521 w 4753603"/>
                <a:gd name="connsiteY1010" fmla="*/ 1157183 h 4331342"/>
                <a:gd name="connsiteX1011" fmla="*/ 4088521 w 4753603"/>
                <a:gd name="connsiteY1011" fmla="*/ 1143391 h 4331342"/>
                <a:gd name="connsiteX1012" fmla="*/ 4099751 w 4753603"/>
                <a:gd name="connsiteY1012" fmla="*/ 1155097 h 4331342"/>
                <a:gd name="connsiteX1013" fmla="*/ 4101608 w 4753603"/>
                <a:gd name="connsiteY1013" fmla="*/ 1163050 h 4331342"/>
                <a:gd name="connsiteX1014" fmla="*/ 4094512 w 4753603"/>
                <a:gd name="connsiteY1014" fmla="*/ 1164403 h 4331342"/>
                <a:gd name="connsiteX1015" fmla="*/ 4088521 w 4753603"/>
                <a:gd name="connsiteY1015" fmla="*/ 1157183 h 4331342"/>
                <a:gd name="connsiteX1016" fmla="*/ 3968496 w 4753603"/>
                <a:gd name="connsiteY1016" fmla="*/ 1011355 h 4331342"/>
                <a:gd name="connsiteX1017" fmla="*/ 3949884 w 4753603"/>
                <a:gd name="connsiteY1017" fmla="*/ 1012689 h 4331342"/>
                <a:gd name="connsiteX1018" fmla="*/ 3913689 w 4753603"/>
                <a:gd name="connsiteY1018" fmla="*/ 982323 h 4331342"/>
                <a:gd name="connsiteX1019" fmla="*/ 3871198 w 4753603"/>
                <a:gd name="connsiteY1019" fmla="*/ 949867 h 4331342"/>
                <a:gd name="connsiteX1020" fmla="*/ 3866493 w 4753603"/>
                <a:gd name="connsiteY1020" fmla="*/ 938331 h 4331342"/>
                <a:gd name="connsiteX1021" fmla="*/ 3879942 w 4753603"/>
                <a:gd name="connsiteY1021" fmla="*/ 933286 h 4331342"/>
                <a:gd name="connsiteX1022" fmla="*/ 3929768 w 4753603"/>
                <a:gd name="connsiteY1022" fmla="*/ 956996 h 4331342"/>
                <a:gd name="connsiteX1023" fmla="*/ 3958514 w 4753603"/>
                <a:gd name="connsiteY1023" fmla="*/ 980646 h 4331342"/>
                <a:gd name="connsiteX1024" fmla="*/ 3967991 w 4753603"/>
                <a:gd name="connsiteY1024" fmla="*/ 996410 h 4331342"/>
                <a:gd name="connsiteX1025" fmla="*/ 3968496 w 4753603"/>
                <a:gd name="connsiteY1025" fmla="*/ 1011355 h 4331342"/>
                <a:gd name="connsiteX1026" fmla="*/ 3913403 w 4753603"/>
                <a:gd name="connsiteY1026" fmla="*/ 669743 h 4331342"/>
                <a:gd name="connsiteX1027" fmla="*/ 3953399 w 4753603"/>
                <a:gd name="connsiteY1027" fmla="*/ 702886 h 4331342"/>
                <a:gd name="connsiteX1028" fmla="*/ 3971906 w 4753603"/>
                <a:gd name="connsiteY1028" fmla="*/ 752548 h 4331342"/>
                <a:gd name="connsiteX1029" fmla="*/ 3964658 w 4753603"/>
                <a:gd name="connsiteY1029" fmla="*/ 760937 h 4331342"/>
                <a:gd name="connsiteX1030" fmla="*/ 3933997 w 4753603"/>
                <a:gd name="connsiteY1030" fmla="*/ 782647 h 4331342"/>
                <a:gd name="connsiteX1031" fmla="*/ 3926901 w 4753603"/>
                <a:gd name="connsiteY1031" fmla="*/ 787765 h 4331342"/>
                <a:gd name="connsiteX1032" fmla="*/ 3922005 w 4753603"/>
                <a:gd name="connsiteY1032" fmla="*/ 782823 h 4331342"/>
                <a:gd name="connsiteX1033" fmla="*/ 3916509 w 4753603"/>
                <a:gd name="connsiteY1033" fmla="*/ 718156 h 4331342"/>
                <a:gd name="connsiteX1034" fmla="*/ 3913403 w 4753603"/>
                <a:gd name="connsiteY1034" fmla="*/ 669743 h 4331342"/>
                <a:gd name="connsiteX1035" fmla="*/ 3917280 w 4753603"/>
                <a:gd name="connsiteY1035" fmla="*/ 813231 h 4331342"/>
                <a:gd name="connsiteX1036" fmla="*/ 3943826 w 4753603"/>
                <a:gd name="connsiteY1036" fmla="*/ 869591 h 4331342"/>
                <a:gd name="connsiteX1037" fmla="*/ 3953942 w 4753603"/>
                <a:gd name="connsiteY1037" fmla="*/ 915434 h 4331342"/>
                <a:gd name="connsiteX1038" fmla="*/ 3954933 w 4753603"/>
                <a:gd name="connsiteY1038" fmla="*/ 925537 h 4331342"/>
                <a:gd name="connsiteX1039" fmla="*/ 3943607 w 4753603"/>
                <a:gd name="connsiteY1039" fmla="*/ 925371 h 4331342"/>
                <a:gd name="connsiteX1040" fmla="*/ 3915918 w 4753603"/>
                <a:gd name="connsiteY1040" fmla="*/ 897884 h 4331342"/>
                <a:gd name="connsiteX1041" fmla="*/ 3917280 w 4753603"/>
                <a:gd name="connsiteY1041" fmla="*/ 813231 h 4331342"/>
                <a:gd name="connsiteX1042" fmla="*/ 3617338 w 4753603"/>
                <a:gd name="connsiteY1042" fmla="*/ 317236 h 4331342"/>
                <a:gd name="connsiteX1043" fmla="*/ 3617443 w 4753603"/>
                <a:gd name="connsiteY1043" fmla="*/ 313541 h 4331342"/>
                <a:gd name="connsiteX1044" fmla="*/ 3626082 w 4753603"/>
                <a:gd name="connsiteY1044" fmla="*/ 291977 h 4331342"/>
                <a:gd name="connsiteX1045" fmla="*/ 3626939 w 4753603"/>
                <a:gd name="connsiteY1045" fmla="*/ 289139 h 4331342"/>
                <a:gd name="connsiteX1046" fmla="*/ 3629244 w 4753603"/>
                <a:gd name="connsiteY1046" fmla="*/ 286631 h 4331342"/>
                <a:gd name="connsiteX1047" fmla="*/ 3632321 w 4753603"/>
                <a:gd name="connsiteY1047" fmla="*/ 285392 h 4331342"/>
                <a:gd name="connsiteX1048" fmla="*/ 3676841 w 4753603"/>
                <a:gd name="connsiteY1048" fmla="*/ 295185 h 4331342"/>
                <a:gd name="connsiteX1049" fmla="*/ 3701653 w 4753603"/>
                <a:gd name="connsiteY1049" fmla="*/ 308361 h 4331342"/>
                <a:gd name="connsiteX1050" fmla="*/ 3732705 w 4753603"/>
                <a:gd name="connsiteY1050" fmla="*/ 355352 h 4331342"/>
                <a:gd name="connsiteX1051" fmla="*/ 3742144 w 4753603"/>
                <a:gd name="connsiteY1051" fmla="*/ 380353 h 4331342"/>
                <a:gd name="connsiteX1052" fmla="*/ 3769005 w 4753603"/>
                <a:gd name="connsiteY1052" fmla="*/ 396831 h 4331342"/>
                <a:gd name="connsiteX1053" fmla="*/ 3790693 w 4753603"/>
                <a:gd name="connsiteY1053" fmla="*/ 397274 h 4331342"/>
                <a:gd name="connsiteX1054" fmla="*/ 3801656 w 4753603"/>
                <a:gd name="connsiteY1054" fmla="*/ 406851 h 4331342"/>
                <a:gd name="connsiteX1055" fmla="*/ 3802037 w 4753603"/>
                <a:gd name="connsiteY1055" fmla="*/ 411907 h 4331342"/>
                <a:gd name="connsiteX1056" fmla="*/ 3814648 w 4753603"/>
                <a:gd name="connsiteY1056" fmla="*/ 436959 h 4331342"/>
                <a:gd name="connsiteX1057" fmla="*/ 3833889 w 4753603"/>
                <a:gd name="connsiteY1057" fmla="*/ 470897 h 4331342"/>
                <a:gd name="connsiteX1058" fmla="*/ 3837365 w 4753603"/>
                <a:gd name="connsiteY1058" fmla="*/ 503999 h 4331342"/>
                <a:gd name="connsiteX1059" fmla="*/ 3842766 w 4753603"/>
                <a:gd name="connsiteY1059" fmla="*/ 551865 h 4331342"/>
                <a:gd name="connsiteX1060" fmla="*/ 3861483 w 4753603"/>
                <a:gd name="connsiteY1060" fmla="*/ 560771 h 4331342"/>
                <a:gd name="connsiteX1061" fmla="*/ 3865426 w 4753603"/>
                <a:gd name="connsiteY1061" fmla="*/ 561172 h 4331342"/>
                <a:gd name="connsiteX1062" fmla="*/ 3874322 w 4753603"/>
                <a:gd name="connsiteY1062" fmla="*/ 572813 h 4331342"/>
                <a:gd name="connsiteX1063" fmla="*/ 3888448 w 4753603"/>
                <a:gd name="connsiteY1063" fmla="*/ 659476 h 4331342"/>
                <a:gd name="connsiteX1064" fmla="*/ 3889277 w 4753603"/>
                <a:gd name="connsiteY1064" fmla="*/ 665079 h 4331342"/>
                <a:gd name="connsiteX1065" fmla="*/ 3890182 w 4753603"/>
                <a:gd name="connsiteY1065" fmla="*/ 667967 h 4331342"/>
                <a:gd name="connsiteX1066" fmla="*/ 3893572 w 4753603"/>
                <a:gd name="connsiteY1066" fmla="*/ 674428 h 4331342"/>
                <a:gd name="connsiteX1067" fmla="*/ 3897030 w 4753603"/>
                <a:gd name="connsiteY1067" fmla="*/ 711203 h 4331342"/>
                <a:gd name="connsiteX1068" fmla="*/ 3887553 w 4753603"/>
                <a:gd name="connsiteY1068" fmla="*/ 726969 h 4331342"/>
                <a:gd name="connsiteX1069" fmla="*/ 3881028 w 4753603"/>
                <a:gd name="connsiteY1069" fmla="*/ 751496 h 4331342"/>
                <a:gd name="connsiteX1070" fmla="*/ 3889496 w 4753603"/>
                <a:gd name="connsiteY1070" fmla="*/ 764146 h 4331342"/>
                <a:gd name="connsiteX1071" fmla="*/ 3890610 w 4753603"/>
                <a:gd name="connsiteY1071" fmla="*/ 767314 h 4331342"/>
                <a:gd name="connsiteX1072" fmla="*/ 3893468 w 4753603"/>
                <a:gd name="connsiteY1072" fmla="*/ 813985 h 4331342"/>
                <a:gd name="connsiteX1073" fmla="*/ 3883381 w 4753603"/>
                <a:gd name="connsiteY1073" fmla="*/ 815295 h 4331342"/>
                <a:gd name="connsiteX1074" fmla="*/ 3864902 w 4753603"/>
                <a:gd name="connsiteY1074" fmla="*/ 746966 h 4331342"/>
                <a:gd name="connsiteX1075" fmla="*/ 3861654 w 4753603"/>
                <a:gd name="connsiteY1075" fmla="*/ 661261 h 4331342"/>
                <a:gd name="connsiteX1076" fmla="*/ 3858387 w 4753603"/>
                <a:gd name="connsiteY1076" fmla="*/ 649746 h 4331342"/>
                <a:gd name="connsiteX1077" fmla="*/ 3833860 w 4753603"/>
                <a:gd name="connsiteY1077" fmla="*/ 643699 h 4331342"/>
                <a:gd name="connsiteX1078" fmla="*/ 3834165 w 4753603"/>
                <a:gd name="connsiteY1078" fmla="*/ 640780 h 4331342"/>
                <a:gd name="connsiteX1079" fmla="*/ 3795551 w 4753603"/>
                <a:gd name="connsiteY1079" fmla="*/ 508177 h 4331342"/>
                <a:gd name="connsiteX1080" fmla="*/ 3788988 w 4753603"/>
                <a:gd name="connsiteY1080" fmla="*/ 480070 h 4331342"/>
                <a:gd name="connsiteX1081" fmla="*/ 3779720 w 4753603"/>
                <a:gd name="connsiteY1081" fmla="*/ 477449 h 4331342"/>
                <a:gd name="connsiteX1082" fmla="*/ 3777320 w 4753603"/>
                <a:gd name="connsiteY1082" fmla="*/ 486550 h 4331342"/>
                <a:gd name="connsiteX1083" fmla="*/ 3777320 w 4753603"/>
                <a:gd name="connsiteY1083" fmla="*/ 486653 h 4331342"/>
                <a:gd name="connsiteX1084" fmla="*/ 3776101 w 4753603"/>
                <a:gd name="connsiteY1084" fmla="*/ 497055 h 4331342"/>
                <a:gd name="connsiteX1085" fmla="*/ 3770929 w 4753603"/>
                <a:gd name="connsiteY1085" fmla="*/ 506970 h 4331342"/>
                <a:gd name="connsiteX1086" fmla="*/ 3761165 w 4753603"/>
                <a:gd name="connsiteY1086" fmla="*/ 498849 h 4331342"/>
                <a:gd name="connsiteX1087" fmla="*/ 3717455 w 4753603"/>
                <a:gd name="connsiteY1087" fmla="*/ 409141 h 4331342"/>
                <a:gd name="connsiteX1088" fmla="*/ 3699758 w 4753603"/>
                <a:gd name="connsiteY1088" fmla="*/ 397904 h 4331342"/>
                <a:gd name="connsiteX1089" fmla="*/ 3692119 w 4753603"/>
                <a:gd name="connsiteY1089" fmla="*/ 396729 h 4331342"/>
                <a:gd name="connsiteX1090" fmla="*/ 3676041 w 4753603"/>
                <a:gd name="connsiteY1090" fmla="*/ 359645 h 4331342"/>
                <a:gd name="connsiteX1091" fmla="*/ 3664353 w 4753603"/>
                <a:gd name="connsiteY1091" fmla="*/ 368362 h 4331342"/>
                <a:gd name="connsiteX1092" fmla="*/ 3673307 w 4753603"/>
                <a:gd name="connsiteY1092" fmla="*/ 409069 h 4331342"/>
                <a:gd name="connsiteX1093" fmla="*/ 3695224 w 4753603"/>
                <a:gd name="connsiteY1093" fmla="*/ 439921 h 4331342"/>
                <a:gd name="connsiteX1094" fmla="*/ 3703891 w 4753603"/>
                <a:gd name="connsiteY1094" fmla="*/ 453190 h 4331342"/>
                <a:gd name="connsiteX1095" fmla="*/ 3698234 w 4753603"/>
                <a:gd name="connsiteY1095" fmla="*/ 464324 h 4331342"/>
                <a:gd name="connsiteX1096" fmla="*/ 3700586 w 4753603"/>
                <a:gd name="connsiteY1096" fmla="*/ 483475 h 4331342"/>
                <a:gd name="connsiteX1097" fmla="*/ 3733133 w 4753603"/>
                <a:gd name="connsiteY1097" fmla="*/ 504524 h 4331342"/>
                <a:gd name="connsiteX1098" fmla="*/ 3770290 w 4753603"/>
                <a:gd name="connsiteY1098" fmla="*/ 544220 h 4331342"/>
                <a:gd name="connsiteX1099" fmla="*/ 3752345 w 4753603"/>
                <a:gd name="connsiteY1099" fmla="*/ 541526 h 4331342"/>
                <a:gd name="connsiteX1100" fmla="*/ 3729561 w 4753603"/>
                <a:gd name="connsiteY1100" fmla="*/ 543642 h 4331342"/>
                <a:gd name="connsiteX1101" fmla="*/ 3726780 w 4753603"/>
                <a:gd name="connsiteY1101" fmla="*/ 556230 h 4331342"/>
                <a:gd name="connsiteX1102" fmla="*/ 3762166 w 4753603"/>
                <a:gd name="connsiteY1102" fmla="*/ 569625 h 4331342"/>
                <a:gd name="connsiteX1103" fmla="*/ 3798599 w 4753603"/>
                <a:gd name="connsiteY1103" fmla="*/ 610226 h 4331342"/>
                <a:gd name="connsiteX1104" fmla="*/ 3799056 w 4753603"/>
                <a:gd name="connsiteY1104" fmla="*/ 612476 h 4331342"/>
                <a:gd name="connsiteX1105" fmla="*/ 3801780 w 4753603"/>
                <a:gd name="connsiteY1105" fmla="*/ 619112 h 4331342"/>
                <a:gd name="connsiteX1106" fmla="*/ 3802342 w 4753603"/>
                <a:gd name="connsiteY1106" fmla="*/ 621433 h 4331342"/>
                <a:gd name="connsiteX1107" fmla="*/ 3814077 w 4753603"/>
                <a:gd name="connsiteY1107" fmla="*/ 661085 h 4331342"/>
                <a:gd name="connsiteX1108" fmla="*/ 3808343 w 4753603"/>
                <a:gd name="connsiteY1108" fmla="*/ 664791 h 4331342"/>
                <a:gd name="connsiteX1109" fmla="*/ 3789807 w 4753603"/>
                <a:gd name="connsiteY1109" fmla="*/ 642028 h 4331342"/>
                <a:gd name="connsiteX1110" fmla="*/ 3735858 w 4753603"/>
                <a:gd name="connsiteY1110" fmla="*/ 588444 h 4331342"/>
                <a:gd name="connsiteX1111" fmla="*/ 3714988 w 4753603"/>
                <a:gd name="connsiteY1111" fmla="*/ 557747 h 4331342"/>
                <a:gd name="connsiteX1112" fmla="*/ 3649685 w 4753603"/>
                <a:gd name="connsiteY1112" fmla="*/ 451313 h 4331342"/>
                <a:gd name="connsiteX1113" fmla="*/ 3619519 w 4753603"/>
                <a:gd name="connsiteY1113" fmla="*/ 387463 h 4331342"/>
                <a:gd name="connsiteX1114" fmla="*/ 3617338 w 4753603"/>
                <a:gd name="connsiteY1114" fmla="*/ 317236 h 4331342"/>
                <a:gd name="connsiteX1115" fmla="*/ 3463328 w 4753603"/>
                <a:gd name="connsiteY1115" fmla="*/ 705239 h 4331342"/>
                <a:gd name="connsiteX1116" fmla="*/ 3404502 w 4753603"/>
                <a:gd name="connsiteY1116" fmla="*/ 693610 h 4331342"/>
                <a:gd name="connsiteX1117" fmla="*/ 3382185 w 4753603"/>
                <a:gd name="connsiteY1117" fmla="*/ 657990 h 4331342"/>
                <a:gd name="connsiteX1118" fmla="*/ 3402768 w 4753603"/>
                <a:gd name="connsiteY1118" fmla="*/ 615613 h 4331342"/>
                <a:gd name="connsiteX1119" fmla="*/ 3426981 w 4753603"/>
                <a:gd name="connsiteY1119" fmla="*/ 609906 h 4331342"/>
                <a:gd name="connsiteX1120" fmla="*/ 3503324 w 4753603"/>
                <a:gd name="connsiteY1120" fmla="*/ 645784 h 4331342"/>
                <a:gd name="connsiteX1121" fmla="*/ 3529365 w 4753603"/>
                <a:gd name="connsiteY1121" fmla="*/ 653770 h 4331342"/>
                <a:gd name="connsiteX1122" fmla="*/ 3573942 w 4753603"/>
                <a:gd name="connsiteY1122" fmla="*/ 656174 h 4331342"/>
                <a:gd name="connsiteX1123" fmla="*/ 3581943 w 4753603"/>
                <a:gd name="connsiteY1123" fmla="*/ 665646 h 4331342"/>
                <a:gd name="connsiteX1124" fmla="*/ 3589287 w 4753603"/>
                <a:gd name="connsiteY1124" fmla="*/ 690204 h 4331342"/>
                <a:gd name="connsiteX1125" fmla="*/ 3641912 w 4753603"/>
                <a:gd name="connsiteY1125" fmla="*/ 714742 h 4331342"/>
                <a:gd name="connsiteX1126" fmla="*/ 3669630 w 4753603"/>
                <a:gd name="connsiteY1126" fmla="*/ 735286 h 4331342"/>
                <a:gd name="connsiteX1127" fmla="*/ 3582591 w 4753603"/>
                <a:gd name="connsiteY1127" fmla="*/ 702670 h 4331342"/>
                <a:gd name="connsiteX1128" fmla="*/ 3489131 w 4753603"/>
                <a:gd name="connsiteY1128" fmla="*/ 669877 h 4331342"/>
                <a:gd name="connsiteX1129" fmla="*/ 3447860 w 4753603"/>
                <a:gd name="connsiteY1129" fmla="*/ 665802 h 4331342"/>
                <a:gd name="connsiteX1130" fmla="*/ 3476244 w 4753603"/>
                <a:gd name="connsiteY1130" fmla="*/ 690204 h 4331342"/>
                <a:gd name="connsiteX1131" fmla="*/ 3563979 w 4753603"/>
                <a:gd name="connsiteY1131" fmla="*/ 717713 h 4331342"/>
                <a:gd name="connsiteX1132" fmla="*/ 3562912 w 4753603"/>
                <a:gd name="connsiteY1132" fmla="*/ 725896 h 4331342"/>
                <a:gd name="connsiteX1133" fmla="*/ 3541595 w 4753603"/>
                <a:gd name="connsiteY1133" fmla="*/ 747739 h 4331342"/>
                <a:gd name="connsiteX1134" fmla="*/ 3557635 w 4753603"/>
                <a:gd name="connsiteY1134" fmla="*/ 748018 h 4331342"/>
                <a:gd name="connsiteX1135" fmla="*/ 3627577 w 4753603"/>
                <a:gd name="connsiteY1135" fmla="*/ 740404 h 4331342"/>
                <a:gd name="connsiteX1136" fmla="*/ 3667335 w 4753603"/>
                <a:gd name="connsiteY1136" fmla="*/ 767717 h 4331342"/>
                <a:gd name="connsiteX1137" fmla="*/ 3680089 w 4753603"/>
                <a:gd name="connsiteY1137" fmla="*/ 776311 h 4331342"/>
                <a:gd name="connsiteX1138" fmla="*/ 3691604 w 4753603"/>
                <a:gd name="connsiteY1138" fmla="*/ 782359 h 4331342"/>
                <a:gd name="connsiteX1139" fmla="*/ 3677212 w 4753603"/>
                <a:gd name="connsiteY1139" fmla="*/ 788168 h 4331342"/>
                <a:gd name="connsiteX1140" fmla="*/ 3667763 w 4753603"/>
                <a:gd name="connsiteY1140" fmla="*/ 799528 h 4331342"/>
                <a:gd name="connsiteX1141" fmla="*/ 3682127 w 4753603"/>
                <a:gd name="connsiteY1141" fmla="*/ 807618 h 4331342"/>
                <a:gd name="connsiteX1142" fmla="*/ 3764747 w 4753603"/>
                <a:gd name="connsiteY1142" fmla="*/ 825003 h 4331342"/>
                <a:gd name="connsiteX1143" fmla="*/ 3778987 w 4753603"/>
                <a:gd name="connsiteY1143" fmla="*/ 841153 h 4331342"/>
                <a:gd name="connsiteX1144" fmla="*/ 3752259 w 4753603"/>
                <a:gd name="connsiteY1144" fmla="*/ 838675 h 4331342"/>
                <a:gd name="connsiteX1145" fmla="*/ 3644808 w 4753603"/>
                <a:gd name="connsiteY1145" fmla="*/ 817884 h 4331342"/>
                <a:gd name="connsiteX1146" fmla="*/ 3614004 w 4753603"/>
                <a:gd name="connsiteY1146" fmla="*/ 785155 h 4331342"/>
                <a:gd name="connsiteX1147" fmla="*/ 3610852 w 4753603"/>
                <a:gd name="connsiteY1147" fmla="*/ 782080 h 4331342"/>
                <a:gd name="connsiteX1148" fmla="*/ 3601136 w 4753603"/>
                <a:gd name="connsiteY1148" fmla="*/ 780005 h 4331342"/>
                <a:gd name="connsiteX1149" fmla="*/ 3595373 w 4753603"/>
                <a:gd name="connsiteY1149" fmla="*/ 778870 h 4331342"/>
                <a:gd name="connsiteX1150" fmla="*/ 3519611 w 4753603"/>
                <a:gd name="connsiteY1150" fmla="*/ 776065 h 4331342"/>
                <a:gd name="connsiteX1151" fmla="*/ 3474282 w 4753603"/>
                <a:gd name="connsiteY1151" fmla="*/ 745171 h 4331342"/>
                <a:gd name="connsiteX1152" fmla="*/ 3476216 w 4753603"/>
                <a:gd name="connsiteY1152" fmla="*/ 722738 h 4331342"/>
                <a:gd name="connsiteX1153" fmla="*/ 3463328 w 4753603"/>
                <a:gd name="connsiteY1153" fmla="*/ 705239 h 4331342"/>
                <a:gd name="connsiteX1154" fmla="*/ 3385728 w 4753603"/>
                <a:gd name="connsiteY1154" fmla="*/ 564299 h 4331342"/>
                <a:gd name="connsiteX1155" fmla="*/ 3409502 w 4753603"/>
                <a:gd name="connsiteY1155" fmla="*/ 561667 h 4331342"/>
                <a:gd name="connsiteX1156" fmla="*/ 3395443 w 4753603"/>
                <a:gd name="connsiteY1156" fmla="*/ 580572 h 4331342"/>
                <a:gd name="connsiteX1157" fmla="*/ 3385728 w 4753603"/>
                <a:gd name="connsiteY1157" fmla="*/ 564299 h 4331342"/>
                <a:gd name="connsiteX1158" fmla="*/ 3699377 w 4753603"/>
                <a:gd name="connsiteY1158" fmla="*/ 740445 h 4331342"/>
                <a:gd name="connsiteX1159" fmla="*/ 3727285 w 4753603"/>
                <a:gd name="connsiteY1159" fmla="*/ 746233 h 4331342"/>
                <a:gd name="connsiteX1160" fmla="*/ 3765356 w 4753603"/>
                <a:gd name="connsiteY1160" fmla="*/ 776385 h 4331342"/>
                <a:gd name="connsiteX1161" fmla="*/ 3767728 w 4753603"/>
                <a:gd name="connsiteY1161" fmla="*/ 778870 h 4331342"/>
                <a:gd name="connsiteX1162" fmla="*/ 3770433 w 4753603"/>
                <a:gd name="connsiteY1162" fmla="*/ 783122 h 4331342"/>
                <a:gd name="connsiteX1163" fmla="*/ 3770929 w 4753603"/>
                <a:gd name="connsiteY1163" fmla="*/ 787993 h 4331342"/>
                <a:gd name="connsiteX1164" fmla="*/ 3773138 w 4753603"/>
                <a:gd name="connsiteY1164" fmla="*/ 799229 h 4331342"/>
                <a:gd name="connsiteX1165" fmla="*/ 3761661 w 4753603"/>
                <a:gd name="connsiteY1165" fmla="*/ 797505 h 4331342"/>
                <a:gd name="connsiteX1166" fmla="*/ 3699377 w 4753603"/>
                <a:gd name="connsiteY1166" fmla="*/ 740445 h 4331342"/>
                <a:gd name="connsiteX1167" fmla="*/ 3747211 w 4753603"/>
                <a:gd name="connsiteY1167" fmla="*/ 899792 h 4331342"/>
                <a:gd name="connsiteX1168" fmla="*/ 3771805 w 4753603"/>
                <a:gd name="connsiteY1168" fmla="*/ 905881 h 4331342"/>
                <a:gd name="connsiteX1169" fmla="*/ 3773958 w 4753603"/>
                <a:gd name="connsiteY1169" fmla="*/ 906344 h 4331342"/>
                <a:gd name="connsiteX1170" fmla="*/ 3794027 w 4753603"/>
                <a:gd name="connsiteY1170" fmla="*/ 912030 h 4331342"/>
                <a:gd name="connsiteX1171" fmla="*/ 3801761 w 4753603"/>
                <a:gd name="connsiteY1171" fmla="*/ 926960 h 4331342"/>
                <a:gd name="connsiteX1172" fmla="*/ 3789998 w 4753603"/>
                <a:gd name="connsiteY1172" fmla="*/ 930283 h 4331342"/>
                <a:gd name="connsiteX1173" fmla="*/ 3736619 w 4753603"/>
                <a:gd name="connsiteY1173" fmla="*/ 906427 h 4331342"/>
                <a:gd name="connsiteX1174" fmla="*/ 3747211 w 4753603"/>
                <a:gd name="connsiteY1174" fmla="*/ 899792 h 4331342"/>
                <a:gd name="connsiteX1175" fmla="*/ 3803276 w 4753603"/>
                <a:gd name="connsiteY1175" fmla="*/ 809310 h 4331342"/>
                <a:gd name="connsiteX1176" fmla="*/ 3818525 w 4753603"/>
                <a:gd name="connsiteY1176" fmla="*/ 831804 h 4331342"/>
                <a:gd name="connsiteX1177" fmla="*/ 3803276 w 4753603"/>
                <a:gd name="connsiteY1177" fmla="*/ 809310 h 4331342"/>
                <a:gd name="connsiteX1178" fmla="*/ 3799294 w 4753603"/>
                <a:gd name="connsiteY1178" fmla="*/ 724740 h 4331342"/>
                <a:gd name="connsiteX1179" fmla="*/ 3792941 w 4753603"/>
                <a:gd name="connsiteY1179" fmla="*/ 696870 h 4331342"/>
                <a:gd name="connsiteX1180" fmla="*/ 3803009 w 4753603"/>
                <a:gd name="connsiteY1180" fmla="*/ 688079 h 4331342"/>
                <a:gd name="connsiteX1181" fmla="*/ 3833765 w 4753603"/>
                <a:gd name="connsiteY1181" fmla="*/ 723904 h 4331342"/>
                <a:gd name="connsiteX1182" fmla="*/ 3836299 w 4753603"/>
                <a:gd name="connsiteY1182" fmla="*/ 733315 h 4331342"/>
                <a:gd name="connsiteX1183" fmla="*/ 3836842 w 4753603"/>
                <a:gd name="connsiteY1183" fmla="*/ 735461 h 4331342"/>
                <a:gd name="connsiteX1184" fmla="*/ 3839499 w 4753603"/>
                <a:gd name="connsiteY1184" fmla="*/ 745347 h 4331342"/>
                <a:gd name="connsiteX1185" fmla="*/ 3842318 w 4753603"/>
                <a:gd name="connsiteY1185" fmla="*/ 751496 h 4331342"/>
                <a:gd name="connsiteX1186" fmla="*/ 3852691 w 4753603"/>
                <a:gd name="connsiteY1186" fmla="*/ 782359 h 4331342"/>
                <a:gd name="connsiteX1187" fmla="*/ 3855120 w 4753603"/>
                <a:gd name="connsiteY1187" fmla="*/ 792068 h 4331342"/>
                <a:gd name="connsiteX1188" fmla="*/ 3855796 w 4753603"/>
                <a:gd name="connsiteY1188" fmla="*/ 797526 h 4331342"/>
                <a:gd name="connsiteX1189" fmla="*/ 3852453 w 4753603"/>
                <a:gd name="connsiteY1189" fmla="*/ 816327 h 4331342"/>
                <a:gd name="connsiteX1190" fmla="*/ 3799294 w 4753603"/>
                <a:gd name="connsiteY1190" fmla="*/ 724740 h 4331342"/>
                <a:gd name="connsiteX1191" fmla="*/ 3311614 w 4753603"/>
                <a:gd name="connsiteY1191" fmla="*/ 326191 h 4331342"/>
                <a:gd name="connsiteX1192" fmla="*/ 3331293 w 4753603"/>
                <a:gd name="connsiteY1192" fmla="*/ 337769 h 4331342"/>
                <a:gd name="connsiteX1193" fmla="*/ 3364106 w 4753603"/>
                <a:gd name="connsiteY1193" fmla="*/ 336479 h 4331342"/>
                <a:gd name="connsiteX1194" fmla="*/ 3384652 w 4753603"/>
                <a:gd name="connsiteY1194" fmla="*/ 325924 h 4331342"/>
                <a:gd name="connsiteX1195" fmla="*/ 3400492 w 4753603"/>
                <a:gd name="connsiteY1195" fmla="*/ 332289 h 4331342"/>
                <a:gd name="connsiteX1196" fmla="*/ 3441392 w 4753603"/>
                <a:gd name="connsiteY1196" fmla="*/ 353834 h 4331342"/>
                <a:gd name="connsiteX1197" fmla="*/ 3499495 w 4753603"/>
                <a:gd name="connsiteY1197" fmla="*/ 400948 h 4331342"/>
                <a:gd name="connsiteX1198" fmla="*/ 3553349 w 4753603"/>
                <a:gd name="connsiteY1198" fmla="*/ 420409 h 4331342"/>
                <a:gd name="connsiteX1199" fmla="*/ 3573247 w 4753603"/>
                <a:gd name="connsiteY1199" fmla="*/ 419471 h 4331342"/>
                <a:gd name="connsiteX1200" fmla="*/ 3626634 w 4753603"/>
                <a:gd name="connsiteY1200" fmla="*/ 461219 h 4331342"/>
                <a:gd name="connsiteX1201" fmla="*/ 3626939 w 4753603"/>
                <a:gd name="connsiteY1201" fmla="*/ 461641 h 4331342"/>
                <a:gd name="connsiteX1202" fmla="*/ 3629539 w 4753603"/>
                <a:gd name="connsiteY1202" fmla="*/ 464324 h 4331342"/>
                <a:gd name="connsiteX1203" fmla="*/ 3642436 w 4753603"/>
                <a:gd name="connsiteY1203" fmla="*/ 471031 h 4331342"/>
                <a:gd name="connsiteX1204" fmla="*/ 3676041 w 4753603"/>
                <a:gd name="connsiteY1204" fmla="*/ 514007 h 4331342"/>
                <a:gd name="connsiteX1205" fmla="*/ 3682146 w 4753603"/>
                <a:gd name="connsiteY1205" fmla="*/ 526905 h 4331342"/>
                <a:gd name="connsiteX1206" fmla="*/ 3682146 w 4753603"/>
                <a:gd name="connsiteY1206" fmla="*/ 529197 h 4331342"/>
                <a:gd name="connsiteX1207" fmla="*/ 3682956 w 4753603"/>
                <a:gd name="connsiteY1207" fmla="*/ 532674 h 4331342"/>
                <a:gd name="connsiteX1208" fmla="*/ 3698443 w 4753603"/>
                <a:gd name="connsiteY1208" fmla="*/ 591777 h 4331342"/>
                <a:gd name="connsiteX1209" fmla="*/ 3704682 w 4753603"/>
                <a:gd name="connsiteY1209" fmla="*/ 597959 h 4331342"/>
                <a:gd name="connsiteX1210" fmla="*/ 3734019 w 4753603"/>
                <a:gd name="connsiteY1210" fmla="*/ 609700 h 4331342"/>
                <a:gd name="connsiteX1211" fmla="*/ 3745630 w 4753603"/>
                <a:gd name="connsiteY1211" fmla="*/ 615509 h 4331342"/>
                <a:gd name="connsiteX1212" fmla="*/ 3767061 w 4753603"/>
                <a:gd name="connsiteY1212" fmla="*/ 635125 h 4331342"/>
                <a:gd name="connsiteX1213" fmla="*/ 3767709 w 4753603"/>
                <a:gd name="connsiteY1213" fmla="*/ 640161 h 4331342"/>
                <a:gd name="connsiteX1214" fmla="*/ 3773367 w 4753603"/>
                <a:gd name="connsiteY1214" fmla="*/ 691649 h 4331342"/>
                <a:gd name="connsiteX1215" fmla="*/ 3762280 w 4753603"/>
                <a:gd name="connsiteY1215" fmla="*/ 696696 h 4331342"/>
                <a:gd name="connsiteX1216" fmla="*/ 3748888 w 4753603"/>
                <a:gd name="connsiteY1216" fmla="*/ 656679 h 4331342"/>
                <a:gd name="connsiteX1217" fmla="*/ 3735105 w 4753603"/>
                <a:gd name="connsiteY1217" fmla="*/ 648074 h 4331342"/>
                <a:gd name="connsiteX1218" fmla="*/ 3720532 w 4753603"/>
                <a:gd name="connsiteY1218" fmla="*/ 645009 h 4331342"/>
                <a:gd name="connsiteX1219" fmla="*/ 3639093 w 4753603"/>
                <a:gd name="connsiteY1219" fmla="*/ 549585 h 4331342"/>
                <a:gd name="connsiteX1220" fmla="*/ 3619862 w 4753603"/>
                <a:gd name="connsiteY1220" fmla="*/ 502131 h 4331342"/>
                <a:gd name="connsiteX1221" fmla="*/ 3601536 w 4753603"/>
                <a:gd name="connsiteY1221" fmla="*/ 498746 h 4331342"/>
                <a:gd name="connsiteX1222" fmla="*/ 3601184 w 4753603"/>
                <a:gd name="connsiteY1222" fmla="*/ 499057 h 4331342"/>
                <a:gd name="connsiteX1223" fmla="*/ 3602374 w 4753603"/>
                <a:gd name="connsiteY1223" fmla="*/ 519877 h 4331342"/>
                <a:gd name="connsiteX1224" fmla="*/ 3600964 w 4753603"/>
                <a:gd name="connsiteY1224" fmla="*/ 527711 h 4331342"/>
                <a:gd name="connsiteX1225" fmla="*/ 3593392 w 4753603"/>
                <a:gd name="connsiteY1225" fmla="*/ 527142 h 4331342"/>
                <a:gd name="connsiteX1226" fmla="*/ 3582105 w 4753603"/>
                <a:gd name="connsiteY1226" fmla="*/ 517650 h 4331342"/>
                <a:gd name="connsiteX1227" fmla="*/ 3488560 w 4753603"/>
                <a:gd name="connsiteY1227" fmla="*/ 457030 h 4331342"/>
                <a:gd name="connsiteX1228" fmla="*/ 3466348 w 4753603"/>
                <a:gd name="connsiteY1228" fmla="*/ 420089 h 4331342"/>
                <a:gd name="connsiteX1229" fmla="*/ 3453756 w 4753603"/>
                <a:gd name="connsiteY1229" fmla="*/ 394757 h 4331342"/>
                <a:gd name="connsiteX1230" fmla="*/ 3441707 w 4753603"/>
                <a:gd name="connsiteY1230" fmla="*/ 386565 h 4331342"/>
                <a:gd name="connsiteX1231" fmla="*/ 3438125 w 4753603"/>
                <a:gd name="connsiteY1231" fmla="*/ 402010 h 4331342"/>
                <a:gd name="connsiteX1232" fmla="*/ 3445040 w 4753603"/>
                <a:gd name="connsiteY1232" fmla="*/ 432461 h 4331342"/>
                <a:gd name="connsiteX1233" fmla="*/ 3445983 w 4753603"/>
                <a:gd name="connsiteY1233" fmla="*/ 442139 h 4331342"/>
                <a:gd name="connsiteX1234" fmla="*/ 3437773 w 4753603"/>
                <a:gd name="connsiteY1234" fmla="*/ 440200 h 4331342"/>
                <a:gd name="connsiteX1235" fmla="*/ 3419066 w 4753603"/>
                <a:gd name="connsiteY1235" fmla="*/ 431418 h 4331342"/>
                <a:gd name="connsiteX1236" fmla="*/ 3328254 w 4753603"/>
                <a:gd name="connsiteY1236" fmla="*/ 393622 h 4331342"/>
                <a:gd name="connsiteX1237" fmla="*/ 3320263 w 4753603"/>
                <a:gd name="connsiteY1237" fmla="*/ 392240 h 4331342"/>
                <a:gd name="connsiteX1238" fmla="*/ 3323444 w 4753603"/>
                <a:gd name="connsiteY1238" fmla="*/ 404456 h 4331342"/>
                <a:gd name="connsiteX1239" fmla="*/ 3324273 w 4753603"/>
                <a:gd name="connsiteY1239" fmla="*/ 406179 h 4331342"/>
                <a:gd name="connsiteX1240" fmla="*/ 3359934 w 4753603"/>
                <a:gd name="connsiteY1240" fmla="*/ 430810 h 4331342"/>
                <a:gd name="connsiteX1241" fmla="*/ 3359934 w 4753603"/>
                <a:gd name="connsiteY1241" fmla="*/ 430759 h 4331342"/>
                <a:gd name="connsiteX1242" fmla="*/ 3375546 w 4753603"/>
                <a:gd name="connsiteY1242" fmla="*/ 436826 h 4331342"/>
                <a:gd name="connsiteX1243" fmla="*/ 3446621 w 4753603"/>
                <a:gd name="connsiteY1243" fmla="*/ 468761 h 4331342"/>
                <a:gd name="connsiteX1244" fmla="*/ 3385728 w 4753603"/>
                <a:gd name="connsiteY1244" fmla="*/ 474550 h 4331342"/>
                <a:gd name="connsiteX1245" fmla="*/ 3360411 w 4753603"/>
                <a:gd name="connsiteY1245" fmla="*/ 489450 h 4331342"/>
                <a:gd name="connsiteX1246" fmla="*/ 3366164 w 4753603"/>
                <a:gd name="connsiteY1246" fmla="*/ 492607 h 4331342"/>
                <a:gd name="connsiteX1247" fmla="*/ 3467957 w 4753603"/>
                <a:gd name="connsiteY1247" fmla="*/ 491007 h 4331342"/>
                <a:gd name="connsiteX1248" fmla="*/ 3507353 w 4753603"/>
                <a:gd name="connsiteY1248" fmla="*/ 498704 h 4331342"/>
                <a:gd name="connsiteX1249" fmla="*/ 3554625 w 4753603"/>
                <a:gd name="connsiteY1249" fmla="*/ 529537 h 4331342"/>
                <a:gd name="connsiteX1250" fmla="*/ 3588582 w 4753603"/>
                <a:gd name="connsiteY1250" fmla="*/ 555766 h 4331342"/>
                <a:gd name="connsiteX1251" fmla="*/ 3594240 w 4753603"/>
                <a:gd name="connsiteY1251" fmla="*/ 564083 h 4331342"/>
                <a:gd name="connsiteX1252" fmla="*/ 3583076 w 4753603"/>
                <a:gd name="connsiteY1252" fmla="*/ 566899 h 4331342"/>
                <a:gd name="connsiteX1253" fmla="*/ 3558035 w 4753603"/>
                <a:gd name="connsiteY1253" fmla="*/ 569685 h 4331342"/>
                <a:gd name="connsiteX1254" fmla="*/ 3529175 w 4753603"/>
                <a:gd name="connsiteY1254" fmla="*/ 572337 h 4331342"/>
                <a:gd name="connsiteX1255" fmla="*/ 3523040 w 4753603"/>
                <a:gd name="connsiteY1255" fmla="*/ 573245 h 4331342"/>
                <a:gd name="connsiteX1256" fmla="*/ 3504562 w 4753603"/>
                <a:gd name="connsiteY1256" fmla="*/ 588836 h 4331342"/>
                <a:gd name="connsiteX1257" fmla="*/ 3504562 w 4753603"/>
                <a:gd name="connsiteY1257" fmla="*/ 591736 h 4331342"/>
                <a:gd name="connsiteX1258" fmla="*/ 3547872 w 4753603"/>
                <a:gd name="connsiteY1258" fmla="*/ 591777 h 4331342"/>
                <a:gd name="connsiteX1259" fmla="*/ 3554263 w 4753603"/>
                <a:gd name="connsiteY1259" fmla="*/ 591241 h 4331342"/>
                <a:gd name="connsiteX1260" fmla="*/ 3585572 w 4753603"/>
                <a:gd name="connsiteY1260" fmla="*/ 585628 h 4331342"/>
                <a:gd name="connsiteX1261" fmla="*/ 3591830 w 4753603"/>
                <a:gd name="connsiteY1261" fmla="*/ 585761 h 4331342"/>
                <a:gd name="connsiteX1262" fmla="*/ 3617557 w 4753603"/>
                <a:gd name="connsiteY1262" fmla="*/ 591241 h 4331342"/>
                <a:gd name="connsiteX1263" fmla="*/ 3620472 w 4753603"/>
                <a:gd name="connsiteY1263" fmla="*/ 591777 h 4331342"/>
                <a:gd name="connsiteX1264" fmla="*/ 3646227 w 4753603"/>
                <a:gd name="connsiteY1264" fmla="*/ 603593 h 4331342"/>
                <a:gd name="connsiteX1265" fmla="*/ 3676650 w 4753603"/>
                <a:gd name="connsiteY1265" fmla="*/ 627417 h 4331342"/>
                <a:gd name="connsiteX1266" fmla="*/ 3699539 w 4753603"/>
                <a:gd name="connsiteY1266" fmla="*/ 653047 h 4331342"/>
                <a:gd name="connsiteX1267" fmla="*/ 3711083 w 4753603"/>
                <a:gd name="connsiteY1267" fmla="*/ 671001 h 4331342"/>
                <a:gd name="connsiteX1268" fmla="*/ 3676145 w 4753603"/>
                <a:gd name="connsiteY1268" fmla="*/ 676605 h 4331342"/>
                <a:gd name="connsiteX1269" fmla="*/ 3664896 w 4753603"/>
                <a:gd name="connsiteY1269" fmla="*/ 683827 h 4331342"/>
                <a:gd name="connsiteX1270" fmla="*/ 3677060 w 4753603"/>
                <a:gd name="connsiteY1270" fmla="*/ 690606 h 4331342"/>
                <a:gd name="connsiteX1271" fmla="*/ 3726533 w 4753603"/>
                <a:gd name="connsiteY1271" fmla="*/ 698923 h 4331342"/>
                <a:gd name="connsiteX1272" fmla="*/ 3736267 w 4753603"/>
                <a:gd name="connsiteY1272" fmla="*/ 702813 h 4331342"/>
                <a:gd name="connsiteX1273" fmla="*/ 3739801 w 4753603"/>
                <a:gd name="connsiteY1273" fmla="*/ 705301 h 4331342"/>
                <a:gd name="connsiteX1274" fmla="*/ 3746945 w 4753603"/>
                <a:gd name="connsiteY1274" fmla="*/ 710118 h 4331342"/>
                <a:gd name="connsiteX1275" fmla="*/ 3747240 w 4753603"/>
                <a:gd name="connsiteY1275" fmla="*/ 710450 h 4331342"/>
                <a:gd name="connsiteX1276" fmla="*/ 3752241 w 4753603"/>
                <a:gd name="connsiteY1276" fmla="*/ 717713 h 4331342"/>
                <a:gd name="connsiteX1277" fmla="*/ 3758365 w 4753603"/>
                <a:gd name="connsiteY1277" fmla="*/ 729012 h 4331342"/>
                <a:gd name="connsiteX1278" fmla="*/ 3749326 w 4753603"/>
                <a:gd name="connsiteY1278" fmla="*/ 733593 h 4331342"/>
                <a:gd name="connsiteX1279" fmla="*/ 3685461 w 4753603"/>
                <a:gd name="connsiteY1279" fmla="*/ 705703 h 4331342"/>
                <a:gd name="connsiteX1280" fmla="*/ 3676012 w 4753603"/>
                <a:gd name="connsiteY1280" fmla="*/ 702670 h 4331342"/>
                <a:gd name="connsiteX1281" fmla="*/ 3615566 w 4753603"/>
                <a:gd name="connsiteY1281" fmla="*/ 678297 h 4331342"/>
                <a:gd name="connsiteX1282" fmla="*/ 3610213 w 4753603"/>
                <a:gd name="connsiteY1282" fmla="*/ 668453 h 4331342"/>
                <a:gd name="connsiteX1283" fmla="*/ 3601107 w 4753603"/>
                <a:gd name="connsiteY1283" fmla="*/ 638076 h 4331342"/>
                <a:gd name="connsiteX1284" fmla="*/ 3595402 w 4753603"/>
                <a:gd name="connsiteY1284" fmla="*/ 637012 h 4331342"/>
                <a:gd name="connsiteX1285" fmla="*/ 3529536 w 4753603"/>
                <a:gd name="connsiteY1285" fmla="*/ 635125 h 4331342"/>
                <a:gd name="connsiteX1286" fmla="*/ 3490932 w 4753603"/>
                <a:gd name="connsiteY1286" fmla="*/ 613096 h 4331342"/>
                <a:gd name="connsiteX1287" fmla="*/ 3475578 w 4753603"/>
                <a:gd name="connsiteY1287" fmla="*/ 604180 h 4331342"/>
                <a:gd name="connsiteX1288" fmla="*/ 3451670 w 4753603"/>
                <a:gd name="connsiteY1288" fmla="*/ 600310 h 4331342"/>
                <a:gd name="connsiteX1289" fmla="*/ 3434753 w 4753603"/>
                <a:gd name="connsiteY1289" fmla="*/ 576433 h 4331342"/>
                <a:gd name="connsiteX1290" fmla="*/ 3437744 w 4753603"/>
                <a:gd name="connsiteY1290" fmla="*/ 554445 h 4331342"/>
                <a:gd name="connsiteX1291" fmla="*/ 3412227 w 4753603"/>
                <a:gd name="connsiteY1291" fmla="*/ 542218 h 4331342"/>
                <a:gd name="connsiteX1292" fmla="*/ 3370164 w 4753603"/>
                <a:gd name="connsiteY1292" fmla="*/ 536543 h 4331342"/>
                <a:gd name="connsiteX1293" fmla="*/ 3315748 w 4753603"/>
                <a:gd name="connsiteY1293" fmla="*/ 518279 h 4331342"/>
                <a:gd name="connsiteX1294" fmla="*/ 3277791 w 4753603"/>
                <a:gd name="connsiteY1294" fmla="*/ 474550 h 4331342"/>
                <a:gd name="connsiteX1295" fmla="*/ 3293631 w 4753603"/>
                <a:gd name="connsiteY1295" fmla="*/ 457710 h 4331342"/>
                <a:gd name="connsiteX1296" fmla="*/ 3290430 w 4753603"/>
                <a:gd name="connsiteY1296" fmla="*/ 435948 h 4331342"/>
                <a:gd name="connsiteX1297" fmla="*/ 3224575 w 4753603"/>
                <a:gd name="connsiteY1297" fmla="*/ 397274 h 4331342"/>
                <a:gd name="connsiteX1298" fmla="*/ 3205801 w 4753603"/>
                <a:gd name="connsiteY1298" fmla="*/ 367414 h 4331342"/>
                <a:gd name="connsiteX1299" fmla="*/ 3224003 w 4753603"/>
                <a:gd name="connsiteY1299" fmla="*/ 335809 h 4331342"/>
                <a:gd name="connsiteX1300" fmla="*/ 3311614 w 4753603"/>
                <a:gd name="connsiteY1300" fmla="*/ 326191 h 4331342"/>
                <a:gd name="connsiteX1301" fmla="*/ 3050419 w 4753603"/>
                <a:gd name="connsiteY1301" fmla="*/ 147899 h 4331342"/>
                <a:gd name="connsiteX1302" fmla="*/ 3062783 w 4753603"/>
                <a:gd name="connsiteY1302" fmla="*/ 68623 h 4331342"/>
                <a:gd name="connsiteX1303" fmla="*/ 3129153 w 4753603"/>
                <a:gd name="connsiteY1303" fmla="*/ 149003 h 4331342"/>
                <a:gd name="connsiteX1304" fmla="*/ 3239062 w 4753603"/>
                <a:gd name="connsiteY1304" fmla="*/ 277447 h 4331342"/>
                <a:gd name="connsiteX1305" fmla="*/ 3230347 w 4753603"/>
                <a:gd name="connsiteY1305" fmla="*/ 312922 h 4331342"/>
                <a:gd name="connsiteX1306" fmla="*/ 3221698 w 4753603"/>
                <a:gd name="connsiteY1306" fmla="*/ 315451 h 4331342"/>
                <a:gd name="connsiteX1307" fmla="*/ 3183817 w 4753603"/>
                <a:gd name="connsiteY1307" fmla="*/ 356434 h 4331342"/>
                <a:gd name="connsiteX1308" fmla="*/ 3174864 w 4753603"/>
                <a:gd name="connsiteY1308" fmla="*/ 359221 h 4331342"/>
                <a:gd name="connsiteX1309" fmla="*/ 3105369 w 4753603"/>
                <a:gd name="connsiteY1309" fmla="*/ 285392 h 4331342"/>
                <a:gd name="connsiteX1310" fmla="*/ 3068584 w 4753603"/>
                <a:gd name="connsiteY1310" fmla="*/ 247669 h 4331342"/>
                <a:gd name="connsiteX1311" fmla="*/ 3050419 w 4753603"/>
                <a:gd name="connsiteY1311" fmla="*/ 147899 h 4331342"/>
                <a:gd name="connsiteX1312" fmla="*/ 3028474 w 4753603"/>
                <a:gd name="connsiteY1312" fmla="*/ 368362 h 4331342"/>
                <a:gd name="connsiteX1313" fmla="*/ 3037265 w 4753603"/>
                <a:gd name="connsiteY1313" fmla="*/ 321847 h 4331342"/>
                <a:gd name="connsiteX1314" fmla="*/ 3038027 w 4753603"/>
                <a:gd name="connsiteY1314" fmla="*/ 279025 h 4331342"/>
                <a:gd name="connsiteX1315" fmla="*/ 3060106 w 4753603"/>
                <a:gd name="connsiteY1315" fmla="*/ 272763 h 4331342"/>
                <a:gd name="connsiteX1316" fmla="*/ 3120971 w 4753603"/>
                <a:gd name="connsiteY1316" fmla="*/ 329968 h 4331342"/>
                <a:gd name="connsiteX1317" fmla="*/ 3223765 w 4753603"/>
                <a:gd name="connsiteY1317" fmla="*/ 438694 h 4331342"/>
                <a:gd name="connsiteX1318" fmla="*/ 3253807 w 4753603"/>
                <a:gd name="connsiteY1318" fmla="*/ 486025 h 4331342"/>
                <a:gd name="connsiteX1319" fmla="*/ 3306261 w 4753603"/>
                <a:gd name="connsiteY1319" fmla="*/ 533271 h 4331342"/>
                <a:gd name="connsiteX1320" fmla="*/ 3376251 w 4753603"/>
                <a:gd name="connsiteY1320" fmla="*/ 596162 h 4331342"/>
                <a:gd name="connsiteX1321" fmla="*/ 3378508 w 4753603"/>
                <a:gd name="connsiteY1321" fmla="*/ 611960 h 4331342"/>
                <a:gd name="connsiteX1322" fmla="*/ 3364268 w 4753603"/>
                <a:gd name="connsiteY1322" fmla="*/ 645370 h 4331342"/>
                <a:gd name="connsiteX1323" fmla="*/ 3390071 w 4753603"/>
                <a:gd name="connsiteY1323" fmla="*/ 707643 h 4331342"/>
                <a:gd name="connsiteX1324" fmla="*/ 3437525 w 4753603"/>
                <a:gd name="connsiteY1324" fmla="*/ 719860 h 4331342"/>
                <a:gd name="connsiteX1325" fmla="*/ 3448641 w 4753603"/>
                <a:gd name="connsiteY1325" fmla="*/ 732077 h 4331342"/>
                <a:gd name="connsiteX1326" fmla="*/ 3436315 w 4753603"/>
                <a:gd name="connsiteY1326" fmla="*/ 743386 h 4331342"/>
                <a:gd name="connsiteX1327" fmla="*/ 3393081 w 4753603"/>
                <a:gd name="connsiteY1327" fmla="*/ 729012 h 4331342"/>
                <a:gd name="connsiteX1328" fmla="*/ 3310157 w 4753603"/>
                <a:gd name="connsiteY1328" fmla="*/ 668329 h 4331342"/>
                <a:gd name="connsiteX1329" fmla="*/ 3260627 w 4753603"/>
                <a:gd name="connsiteY1329" fmla="*/ 626839 h 4331342"/>
                <a:gd name="connsiteX1330" fmla="*/ 3150213 w 4753603"/>
                <a:gd name="connsiteY1330" fmla="*/ 524016 h 4331342"/>
                <a:gd name="connsiteX1331" fmla="*/ 3031417 w 4753603"/>
                <a:gd name="connsiteY1331" fmla="*/ 400948 h 4331342"/>
                <a:gd name="connsiteX1332" fmla="*/ 3025207 w 4753603"/>
                <a:gd name="connsiteY1332" fmla="*/ 392240 h 4331342"/>
                <a:gd name="connsiteX1333" fmla="*/ 3028474 w 4753603"/>
                <a:gd name="connsiteY1333" fmla="*/ 368362 h 4331342"/>
                <a:gd name="connsiteX1334" fmla="*/ 3785007 w 4753603"/>
                <a:gd name="connsiteY1334" fmla="*/ 1010593 h 4331342"/>
                <a:gd name="connsiteX1335" fmla="*/ 3739934 w 4753603"/>
                <a:gd name="connsiteY1335" fmla="*/ 1000192 h 4331342"/>
                <a:gd name="connsiteX1336" fmla="*/ 3733876 w 4753603"/>
                <a:gd name="connsiteY1336" fmla="*/ 988962 h 4331342"/>
                <a:gd name="connsiteX1337" fmla="*/ 3745011 w 4753603"/>
                <a:gd name="connsiteY1337" fmla="*/ 986171 h 4331342"/>
                <a:gd name="connsiteX1338" fmla="*/ 3758632 w 4753603"/>
                <a:gd name="connsiteY1338" fmla="*/ 985990 h 4331342"/>
                <a:gd name="connsiteX1339" fmla="*/ 3788645 w 4753603"/>
                <a:gd name="connsiteY1339" fmla="*/ 1001954 h 4331342"/>
                <a:gd name="connsiteX1340" fmla="*/ 3785007 w 4753603"/>
                <a:gd name="connsiteY1340" fmla="*/ 1010593 h 4331342"/>
                <a:gd name="connsiteX1341" fmla="*/ 3811962 w 4753603"/>
                <a:gd name="connsiteY1341" fmla="*/ 976598 h 4331342"/>
                <a:gd name="connsiteX1342" fmla="*/ 3735858 w 4753603"/>
                <a:gd name="connsiteY1342" fmla="*/ 951982 h 4331342"/>
                <a:gd name="connsiteX1343" fmla="*/ 3711664 w 4753603"/>
                <a:gd name="connsiteY1343" fmla="*/ 963520 h 4331342"/>
                <a:gd name="connsiteX1344" fmla="*/ 3683194 w 4753603"/>
                <a:gd name="connsiteY1344" fmla="*/ 973017 h 4331342"/>
                <a:gd name="connsiteX1345" fmla="*/ 3573504 w 4753603"/>
                <a:gd name="connsiteY1345" fmla="*/ 944678 h 4331342"/>
                <a:gd name="connsiteX1346" fmla="*/ 3458928 w 4753603"/>
                <a:gd name="connsiteY1346" fmla="*/ 903105 h 4331342"/>
                <a:gd name="connsiteX1347" fmla="*/ 3328426 w 4753603"/>
                <a:gd name="connsiteY1347" fmla="*/ 832010 h 4331342"/>
                <a:gd name="connsiteX1348" fmla="*/ 3216040 w 4753603"/>
                <a:gd name="connsiteY1348" fmla="*/ 752363 h 4331342"/>
                <a:gd name="connsiteX1349" fmla="*/ 3160852 w 4753603"/>
                <a:gd name="connsiteY1349" fmla="*/ 703598 h 4331342"/>
                <a:gd name="connsiteX1350" fmla="*/ 3081833 w 4753603"/>
                <a:gd name="connsiteY1350" fmla="*/ 629440 h 4331342"/>
                <a:gd name="connsiteX1351" fmla="*/ 2994927 w 4753603"/>
                <a:gd name="connsiteY1351" fmla="*/ 543126 h 4331342"/>
                <a:gd name="connsiteX1352" fmla="*/ 2875741 w 4753603"/>
                <a:gd name="connsiteY1352" fmla="*/ 408759 h 4331342"/>
                <a:gd name="connsiteX1353" fmla="*/ 2891400 w 4753603"/>
                <a:gd name="connsiteY1353" fmla="*/ 374275 h 4331342"/>
                <a:gd name="connsiteX1354" fmla="*/ 3005166 w 4753603"/>
                <a:gd name="connsiteY1354" fmla="*/ 408367 h 4331342"/>
                <a:gd name="connsiteX1355" fmla="*/ 3082452 w 4753603"/>
                <a:gd name="connsiteY1355" fmla="*/ 482434 h 4331342"/>
                <a:gd name="connsiteX1356" fmla="*/ 3092930 w 4753603"/>
                <a:gd name="connsiteY1356" fmla="*/ 487077 h 4331342"/>
                <a:gd name="connsiteX1357" fmla="*/ 3101835 w 4753603"/>
                <a:gd name="connsiteY1357" fmla="*/ 500439 h 4331342"/>
                <a:gd name="connsiteX1358" fmla="*/ 3174854 w 4753603"/>
                <a:gd name="connsiteY1358" fmla="*/ 569985 h 4331342"/>
                <a:gd name="connsiteX1359" fmla="*/ 3256559 w 4753603"/>
                <a:gd name="connsiteY1359" fmla="*/ 649952 h 4331342"/>
                <a:gd name="connsiteX1360" fmla="*/ 3381185 w 4753603"/>
                <a:gd name="connsiteY1360" fmla="*/ 745171 h 4331342"/>
                <a:gd name="connsiteX1361" fmla="*/ 3560093 w 4753603"/>
                <a:gd name="connsiteY1361" fmla="*/ 829946 h 4331342"/>
                <a:gd name="connsiteX1362" fmla="*/ 3689604 w 4753603"/>
                <a:gd name="connsiteY1362" fmla="*/ 875462 h 4331342"/>
                <a:gd name="connsiteX1363" fmla="*/ 3705101 w 4753603"/>
                <a:gd name="connsiteY1363" fmla="*/ 892775 h 4331342"/>
                <a:gd name="connsiteX1364" fmla="*/ 3767423 w 4753603"/>
                <a:gd name="connsiteY1364" fmla="*/ 949206 h 4331342"/>
                <a:gd name="connsiteX1365" fmla="*/ 3910184 w 4753603"/>
                <a:gd name="connsiteY1365" fmla="*/ 1002182 h 4331342"/>
                <a:gd name="connsiteX1366" fmla="*/ 3918166 w 4753603"/>
                <a:gd name="connsiteY1366" fmla="*/ 1009098 h 4331342"/>
                <a:gd name="connsiteX1367" fmla="*/ 3923843 w 4753603"/>
                <a:gd name="connsiteY1367" fmla="*/ 1029576 h 4331342"/>
                <a:gd name="connsiteX1368" fmla="*/ 3904774 w 4753603"/>
                <a:gd name="connsiteY1368" fmla="*/ 1027109 h 4331342"/>
                <a:gd name="connsiteX1369" fmla="*/ 3811962 w 4753603"/>
                <a:gd name="connsiteY1369" fmla="*/ 976598 h 4331342"/>
                <a:gd name="connsiteX1370" fmla="*/ 3811962 w 4753603"/>
                <a:gd name="connsiteY1370" fmla="*/ 1080030 h 4331342"/>
                <a:gd name="connsiteX1371" fmla="*/ 3846586 w 4753603"/>
                <a:gd name="connsiteY1371" fmla="*/ 1066943 h 4331342"/>
                <a:gd name="connsiteX1372" fmla="*/ 3908517 w 4753603"/>
                <a:gd name="connsiteY1372" fmla="*/ 1062742 h 4331342"/>
                <a:gd name="connsiteX1373" fmla="*/ 4004024 w 4753603"/>
                <a:gd name="connsiteY1373" fmla="*/ 1099223 h 4331342"/>
                <a:gd name="connsiteX1374" fmla="*/ 4024875 w 4753603"/>
                <a:gd name="connsiteY1374" fmla="*/ 1116968 h 4331342"/>
                <a:gd name="connsiteX1375" fmla="*/ 4021017 w 4753603"/>
                <a:gd name="connsiteY1375" fmla="*/ 1131722 h 4331342"/>
                <a:gd name="connsiteX1376" fmla="*/ 3952046 w 4753603"/>
                <a:gd name="connsiteY1376" fmla="*/ 1149010 h 4331342"/>
                <a:gd name="connsiteX1377" fmla="*/ 3918004 w 4753603"/>
                <a:gd name="connsiteY1377" fmla="*/ 1138342 h 4331342"/>
                <a:gd name="connsiteX1378" fmla="*/ 3864474 w 4753603"/>
                <a:gd name="connsiteY1378" fmla="*/ 1121474 h 4331342"/>
                <a:gd name="connsiteX1379" fmla="*/ 3877618 w 4753603"/>
                <a:gd name="connsiteY1379" fmla="*/ 1115568 h 4331342"/>
                <a:gd name="connsiteX1380" fmla="*/ 3889772 w 4753603"/>
                <a:gd name="connsiteY1380" fmla="*/ 1109291 h 4331342"/>
                <a:gd name="connsiteX1381" fmla="*/ 3875351 w 4753603"/>
                <a:gd name="connsiteY1381" fmla="*/ 1100738 h 4331342"/>
                <a:gd name="connsiteX1382" fmla="*/ 3854615 w 4753603"/>
                <a:gd name="connsiteY1382" fmla="*/ 1103319 h 4331342"/>
                <a:gd name="connsiteX1383" fmla="*/ 3847576 w 4753603"/>
                <a:gd name="connsiteY1383" fmla="*/ 1106072 h 4331342"/>
                <a:gd name="connsiteX1384" fmla="*/ 3832917 w 4753603"/>
                <a:gd name="connsiteY1384" fmla="*/ 1103671 h 4331342"/>
                <a:gd name="connsiteX1385" fmla="*/ 3832679 w 4753603"/>
                <a:gd name="connsiteY1385" fmla="*/ 1100157 h 4331342"/>
                <a:gd name="connsiteX1386" fmla="*/ 3845947 w 4753603"/>
                <a:gd name="connsiteY1386" fmla="*/ 1093842 h 4331342"/>
                <a:gd name="connsiteX1387" fmla="*/ 3864731 w 4753603"/>
                <a:gd name="connsiteY1387" fmla="*/ 1089251 h 4331342"/>
                <a:gd name="connsiteX1388" fmla="*/ 3817611 w 4753603"/>
                <a:gd name="connsiteY1388" fmla="*/ 1088241 h 4331342"/>
                <a:gd name="connsiteX1389" fmla="*/ 3809667 w 4753603"/>
                <a:gd name="connsiteY1389" fmla="*/ 1089431 h 4331342"/>
                <a:gd name="connsiteX1390" fmla="*/ 3811962 w 4753603"/>
                <a:gd name="connsiteY1390" fmla="*/ 1080030 h 4331342"/>
                <a:gd name="connsiteX1391" fmla="*/ 3849119 w 4753603"/>
                <a:gd name="connsiteY1391" fmla="*/ 1233573 h 4331342"/>
                <a:gd name="connsiteX1392" fmla="*/ 3878494 w 4753603"/>
                <a:gd name="connsiteY1392" fmla="*/ 1232135 h 4331342"/>
                <a:gd name="connsiteX1393" fmla="*/ 3839499 w 4753603"/>
                <a:gd name="connsiteY1393" fmla="*/ 1202627 h 4331342"/>
                <a:gd name="connsiteX1394" fmla="*/ 3870560 w 4753603"/>
                <a:gd name="connsiteY1394" fmla="*/ 1202627 h 4331342"/>
                <a:gd name="connsiteX1395" fmla="*/ 3822344 w 4753603"/>
                <a:gd name="connsiteY1395" fmla="*/ 1165689 h 4331342"/>
                <a:gd name="connsiteX1396" fmla="*/ 3848719 w 4753603"/>
                <a:gd name="connsiteY1396" fmla="*/ 1170727 h 4331342"/>
                <a:gd name="connsiteX1397" fmla="*/ 3861397 w 4753603"/>
                <a:gd name="connsiteY1397" fmla="*/ 1169041 h 4331342"/>
                <a:gd name="connsiteX1398" fmla="*/ 3852958 w 4753603"/>
                <a:gd name="connsiteY1398" fmla="*/ 1160612 h 4331342"/>
                <a:gd name="connsiteX1399" fmla="*/ 3808867 w 4753603"/>
                <a:gd name="connsiteY1399" fmla="*/ 1127636 h 4331342"/>
                <a:gd name="connsiteX1400" fmla="*/ 4056993 w 4753603"/>
                <a:gd name="connsiteY1400" fmla="*/ 1208256 h 4331342"/>
                <a:gd name="connsiteX1401" fmla="*/ 4127116 w 4753603"/>
                <a:gd name="connsiteY1401" fmla="*/ 1251871 h 4331342"/>
                <a:gd name="connsiteX1402" fmla="*/ 4233196 w 4753603"/>
                <a:gd name="connsiteY1402" fmla="*/ 1336472 h 4331342"/>
                <a:gd name="connsiteX1403" fmla="*/ 4288993 w 4753603"/>
                <a:gd name="connsiteY1403" fmla="*/ 1404680 h 4331342"/>
                <a:gd name="connsiteX1404" fmla="*/ 4424525 w 4753603"/>
                <a:gd name="connsiteY1404" fmla="*/ 1537773 h 4331342"/>
                <a:gd name="connsiteX1405" fmla="*/ 4553217 w 4753603"/>
                <a:gd name="connsiteY1405" fmla="*/ 1613640 h 4331342"/>
                <a:gd name="connsiteX1406" fmla="*/ 4647162 w 4753603"/>
                <a:gd name="connsiteY1406" fmla="*/ 1691773 h 4331342"/>
                <a:gd name="connsiteX1407" fmla="*/ 4628083 w 4753603"/>
                <a:gd name="connsiteY1407" fmla="*/ 1692393 h 4331342"/>
                <a:gd name="connsiteX1408" fmla="*/ 4648419 w 4753603"/>
                <a:gd name="connsiteY1408" fmla="*/ 1729054 h 4331342"/>
                <a:gd name="connsiteX1409" fmla="*/ 4624359 w 4753603"/>
                <a:gd name="connsiteY1409" fmla="*/ 1718320 h 4331342"/>
                <a:gd name="connsiteX1410" fmla="*/ 4646848 w 4753603"/>
                <a:gd name="connsiteY1410" fmla="*/ 1755105 h 4331342"/>
                <a:gd name="connsiteX1411" fmla="*/ 4650191 w 4753603"/>
                <a:gd name="connsiteY1411" fmla="*/ 1787757 h 4331342"/>
                <a:gd name="connsiteX1412" fmla="*/ 4638837 w 4753603"/>
                <a:gd name="connsiteY1412" fmla="*/ 1790214 h 4331342"/>
                <a:gd name="connsiteX1413" fmla="*/ 4574705 w 4753603"/>
                <a:gd name="connsiteY1413" fmla="*/ 1744256 h 4331342"/>
                <a:gd name="connsiteX1414" fmla="*/ 4489123 w 4753603"/>
                <a:gd name="connsiteY1414" fmla="*/ 1696679 h 4331342"/>
                <a:gd name="connsiteX1415" fmla="*/ 4387949 w 4753603"/>
                <a:gd name="connsiteY1415" fmla="*/ 1630023 h 4331342"/>
                <a:gd name="connsiteX1416" fmla="*/ 4280307 w 4753603"/>
                <a:gd name="connsiteY1416" fmla="*/ 1533239 h 4331342"/>
                <a:gd name="connsiteX1417" fmla="*/ 4218442 w 4753603"/>
                <a:gd name="connsiteY1417" fmla="*/ 1460021 h 4331342"/>
                <a:gd name="connsiteX1418" fmla="*/ 4092169 w 4753603"/>
                <a:gd name="connsiteY1418" fmla="*/ 1371638 h 4331342"/>
                <a:gd name="connsiteX1419" fmla="*/ 3921547 w 4753603"/>
                <a:gd name="connsiteY1419" fmla="*/ 1291761 h 4331342"/>
                <a:gd name="connsiteX1420" fmla="*/ 3855520 w 4753603"/>
                <a:gd name="connsiteY1420" fmla="*/ 1258157 h 4331342"/>
                <a:gd name="connsiteX1421" fmla="*/ 3880275 w 4753603"/>
                <a:gd name="connsiteY1421" fmla="*/ 1252747 h 4331342"/>
                <a:gd name="connsiteX1422" fmla="*/ 3849119 w 4753603"/>
                <a:gd name="connsiteY1422" fmla="*/ 1233573 h 4331342"/>
                <a:gd name="connsiteX1423" fmla="*/ 3937950 w 4753603"/>
                <a:gd name="connsiteY1423" fmla="*/ 1416920 h 4331342"/>
                <a:gd name="connsiteX1424" fmla="*/ 3938588 w 4753603"/>
                <a:gd name="connsiteY1424" fmla="*/ 1406852 h 4331342"/>
                <a:gd name="connsiteX1425" fmla="*/ 3923205 w 4753603"/>
                <a:gd name="connsiteY1425" fmla="*/ 1387554 h 4331342"/>
                <a:gd name="connsiteX1426" fmla="*/ 3922528 w 4753603"/>
                <a:gd name="connsiteY1426" fmla="*/ 1354750 h 4331342"/>
                <a:gd name="connsiteX1427" fmla="*/ 3917709 w 4753603"/>
                <a:gd name="connsiteY1427" fmla="*/ 1343606 h 4331342"/>
                <a:gd name="connsiteX1428" fmla="*/ 3913928 w 4753603"/>
                <a:gd name="connsiteY1428" fmla="*/ 1328509 h 4331342"/>
                <a:gd name="connsiteX1429" fmla="*/ 3908993 w 4753603"/>
                <a:gd name="connsiteY1429" fmla="*/ 1318689 h 4331342"/>
                <a:gd name="connsiteX1430" fmla="*/ 3891715 w 4753603"/>
                <a:gd name="connsiteY1430" fmla="*/ 1308811 h 4331342"/>
                <a:gd name="connsiteX1431" fmla="*/ 3918757 w 4753603"/>
                <a:gd name="connsiteY1431" fmla="*/ 1308487 h 4331342"/>
                <a:gd name="connsiteX1432" fmla="*/ 4036657 w 4753603"/>
                <a:gd name="connsiteY1432" fmla="*/ 1364742 h 4331342"/>
                <a:gd name="connsiteX1433" fmla="*/ 4169702 w 4753603"/>
                <a:gd name="connsiteY1433" fmla="*/ 1445066 h 4331342"/>
                <a:gd name="connsiteX1434" fmla="*/ 4255618 w 4753603"/>
                <a:gd name="connsiteY1434" fmla="*/ 1531230 h 4331342"/>
                <a:gd name="connsiteX1435" fmla="*/ 4433031 w 4753603"/>
                <a:gd name="connsiteY1435" fmla="*/ 1691030 h 4331342"/>
                <a:gd name="connsiteX1436" fmla="*/ 4563332 w 4753603"/>
                <a:gd name="connsiteY1436" fmla="*/ 1761935 h 4331342"/>
                <a:gd name="connsiteX1437" fmla="*/ 4620597 w 4753603"/>
                <a:gd name="connsiteY1437" fmla="*/ 1807493 h 4331342"/>
                <a:gd name="connsiteX1438" fmla="*/ 4624435 w 4753603"/>
                <a:gd name="connsiteY1438" fmla="*/ 1819304 h 4331342"/>
                <a:gd name="connsiteX1439" fmla="*/ 4613396 w 4753603"/>
                <a:gd name="connsiteY1439" fmla="*/ 1815341 h 4331342"/>
                <a:gd name="connsiteX1440" fmla="*/ 4604862 w 4753603"/>
                <a:gd name="connsiteY1440" fmla="*/ 1814398 h 4331342"/>
                <a:gd name="connsiteX1441" fmla="*/ 4613396 w 4753603"/>
                <a:gd name="connsiteY1441" fmla="*/ 1827762 h 4331342"/>
                <a:gd name="connsiteX1442" fmla="*/ 4608538 w 4753603"/>
                <a:gd name="connsiteY1442" fmla="*/ 1843507 h 4331342"/>
                <a:gd name="connsiteX1443" fmla="*/ 4607747 w 4753603"/>
                <a:gd name="connsiteY1443" fmla="*/ 1854737 h 4331342"/>
                <a:gd name="connsiteX1444" fmla="*/ 4605976 w 4753603"/>
                <a:gd name="connsiteY1444" fmla="*/ 1877044 h 4331342"/>
                <a:gd name="connsiteX1445" fmla="*/ 4606776 w 4753603"/>
                <a:gd name="connsiteY1445" fmla="*/ 1889589 h 4331342"/>
                <a:gd name="connsiteX1446" fmla="*/ 4608186 w 4753603"/>
                <a:gd name="connsiteY1446" fmla="*/ 1898999 h 4331342"/>
                <a:gd name="connsiteX1447" fmla="*/ 4597975 w 4753603"/>
                <a:gd name="connsiteY1447" fmla="*/ 1897523 h 4331342"/>
                <a:gd name="connsiteX1448" fmla="*/ 4593117 w 4753603"/>
                <a:gd name="connsiteY1448" fmla="*/ 1893751 h 4331342"/>
                <a:gd name="connsiteX1449" fmla="*/ 4540863 w 4753603"/>
                <a:gd name="connsiteY1449" fmla="*/ 1881407 h 4331342"/>
                <a:gd name="connsiteX1450" fmla="*/ 4498715 w 4753603"/>
                <a:gd name="connsiteY1450" fmla="*/ 1869272 h 4331342"/>
                <a:gd name="connsiteX1451" fmla="*/ 4450213 w 4753603"/>
                <a:gd name="connsiteY1451" fmla="*/ 1840687 h 4331342"/>
                <a:gd name="connsiteX1452" fmla="*/ 4416324 w 4753603"/>
                <a:gd name="connsiteY1452" fmla="*/ 1820942 h 4331342"/>
                <a:gd name="connsiteX1453" fmla="*/ 4396055 w 4753603"/>
                <a:gd name="connsiteY1453" fmla="*/ 1818589 h 4331342"/>
                <a:gd name="connsiteX1454" fmla="*/ 4396055 w 4753603"/>
                <a:gd name="connsiteY1454" fmla="*/ 1818656 h 4331342"/>
                <a:gd name="connsiteX1455" fmla="*/ 4395978 w 4753603"/>
                <a:gd name="connsiteY1455" fmla="*/ 1818656 h 4331342"/>
                <a:gd name="connsiteX1456" fmla="*/ 4409675 w 4753603"/>
                <a:gd name="connsiteY1456" fmla="*/ 1831705 h 4331342"/>
                <a:gd name="connsiteX1457" fmla="*/ 4479503 w 4753603"/>
                <a:gd name="connsiteY1457" fmla="*/ 1886426 h 4331342"/>
                <a:gd name="connsiteX1458" fmla="*/ 4480179 w 4753603"/>
                <a:gd name="connsiteY1458" fmla="*/ 1904190 h 4331342"/>
                <a:gd name="connsiteX1459" fmla="*/ 4428011 w 4753603"/>
                <a:gd name="connsiteY1459" fmla="*/ 1965312 h 4331342"/>
                <a:gd name="connsiteX1460" fmla="*/ 4405008 w 4753603"/>
                <a:gd name="connsiteY1460" fmla="*/ 1970342 h 4331342"/>
                <a:gd name="connsiteX1461" fmla="*/ 4346486 w 4753603"/>
                <a:gd name="connsiteY1461" fmla="*/ 1928536 h 4331342"/>
                <a:gd name="connsiteX1462" fmla="*/ 4343143 w 4753603"/>
                <a:gd name="connsiteY1462" fmla="*/ 1912696 h 4331342"/>
                <a:gd name="connsiteX1463" fmla="*/ 4324474 w 4753603"/>
                <a:gd name="connsiteY1463" fmla="*/ 1781889 h 4331342"/>
                <a:gd name="connsiteX1464" fmla="*/ 4315825 w 4753603"/>
                <a:gd name="connsiteY1464" fmla="*/ 1774860 h 4331342"/>
                <a:gd name="connsiteX1465" fmla="*/ 4295556 w 4753603"/>
                <a:gd name="connsiteY1465" fmla="*/ 1769164 h 4331342"/>
                <a:gd name="connsiteX1466" fmla="*/ 4287107 w 4753603"/>
                <a:gd name="connsiteY1466" fmla="*/ 1753857 h 4331342"/>
                <a:gd name="connsiteX1467" fmla="*/ 4304500 w 4753603"/>
                <a:gd name="connsiteY1467" fmla="*/ 1752390 h 4331342"/>
                <a:gd name="connsiteX1468" fmla="*/ 4353097 w 4753603"/>
                <a:gd name="connsiteY1468" fmla="*/ 1787681 h 4331342"/>
                <a:gd name="connsiteX1469" fmla="*/ 4383653 w 4753603"/>
                <a:gd name="connsiteY1469" fmla="*/ 1813512 h 4331342"/>
                <a:gd name="connsiteX1470" fmla="*/ 4395978 w 4753603"/>
                <a:gd name="connsiteY1470" fmla="*/ 1818656 h 4331342"/>
                <a:gd name="connsiteX1471" fmla="*/ 4396055 w 4753603"/>
                <a:gd name="connsiteY1471" fmla="*/ 1818589 h 4331342"/>
                <a:gd name="connsiteX1472" fmla="*/ 4377347 w 4753603"/>
                <a:gd name="connsiteY1472" fmla="*/ 1782089 h 4331342"/>
                <a:gd name="connsiteX1473" fmla="*/ 4334971 w 4753603"/>
                <a:gd name="connsiteY1473" fmla="*/ 1746914 h 4331342"/>
                <a:gd name="connsiteX1474" fmla="*/ 4282250 w 4753603"/>
                <a:gd name="connsiteY1474" fmla="*/ 1672285 h 4331342"/>
                <a:gd name="connsiteX1475" fmla="*/ 4240397 w 4753603"/>
                <a:gd name="connsiteY1475" fmla="*/ 1585122 h 4331342"/>
                <a:gd name="connsiteX1476" fmla="*/ 4222728 w 4753603"/>
                <a:gd name="connsiteY1476" fmla="*/ 1576721 h 4331342"/>
                <a:gd name="connsiteX1477" fmla="*/ 4208955 w 4753603"/>
                <a:gd name="connsiteY1477" fmla="*/ 1578607 h 4331342"/>
                <a:gd name="connsiteX1478" fmla="*/ 4191172 w 4753603"/>
                <a:gd name="connsiteY1478" fmla="*/ 1557499 h 4331342"/>
                <a:gd name="connsiteX1479" fmla="*/ 4186904 w 4753603"/>
                <a:gd name="connsiteY1479" fmla="*/ 1510351 h 4331342"/>
                <a:gd name="connsiteX1480" fmla="*/ 4176617 w 4753603"/>
                <a:gd name="connsiteY1480" fmla="*/ 1506950 h 4331342"/>
                <a:gd name="connsiteX1481" fmla="*/ 4165759 w 4753603"/>
                <a:gd name="connsiteY1481" fmla="*/ 1489796 h 4331342"/>
                <a:gd name="connsiteX1482" fmla="*/ 4121363 w 4753603"/>
                <a:gd name="connsiteY1482" fmla="*/ 1492558 h 4331342"/>
                <a:gd name="connsiteX1483" fmla="*/ 4106104 w 4753603"/>
                <a:gd name="connsiteY1483" fmla="*/ 1508389 h 4331342"/>
                <a:gd name="connsiteX1484" fmla="*/ 4061460 w 4753603"/>
                <a:gd name="connsiteY1484" fmla="*/ 1520104 h 4331342"/>
                <a:gd name="connsiteX1485" fmla="*/ 3976659 w 4753603"/>
                <a:gd name="connsiteY1485" fmla="*/ 1463735 h 4331342"/>
                <a:gd name="connsiteX1486" fmla="*/ 3935501 w 4753603"/>
                <a:gd name="connsiteY1486" fmla="*/ 1429436 h 4331342"/>
                <a:gd name="connsiteX1487" fmla="*/ 3937950 w 4753603"/>
                <a:gd name="connsiteY1487" fmla="*/ 1416920 h 4331342"/>
                <a:gd name="connsiteX1488" fmla="*/ 3981784 w 4753603"/>
                <a:gd name="connsiteY1488" fmla="*/ 1608525 h 4331342"/>
                <a:gd name="connsiteX1489" fmla="*/ 3972192 w 4753603"/>
                <a:gd name="connsiteY1489" fmla="*/ 1598733 h 4331342"/>
                <a:gd name="connsiteX1490" fmla="*/ 3971525 w 4753603"/>
                <a:gd name="connsiteY1490" fmla="*/ 1583627 h 4331342"/>
                <a:gd name="connsiteX1491" fmla="*/ 3968496 w 4753603"/>
                <a:gd name="connsiteY1491" fmla="*/ 1572559 h 4331342"/>
                <a:gd name="connsiteX1492" fmla="*/ 3948798 w 4753603"/>
                <a:gd name="connsiteY1492" fmla="*/ 1546003 h 4331342"/>
                <a:gd name="connsiteX1493" fmla="*/ 3978678 w 4753603"/>
                <a:gd name="connsiteY1493" fmla="*/ 1558985 h 4331342"/>
                <a:gd name="connsiteX1494" fmla="*/ 3955428 w 4753603"/>
                <a:gd name="connsiteY1494" fmla="*/ 1533182 h 4331342"/>
                <a:gd name="connsiteX1495" fmla="*/ 3946570 w 4753603"/>
                <a:gd name="connsiteY1495" fmla="*/ 1527305 h 4331342"/>
                <a:gd name="connsiteX1496" fmla="*/ 3939302 w 4753603"/>
                <a:gd name="connsiteY1496" fmla="*/ 1513665 h 4331342"/>
                <a:gd name="connsiteX1497" fmla="*/ 3953704 w 4753603"/>
                <a:gd name="connsiteY1497" fmla="*/ 1516485 h 4331342"/>
                <a:gd name="connsiteX1498" fmla="*/ 3960171 w 4753603"/>
                <a:gd name="connsiteY1498" fmla="*/ 1520266 h 4331342"/>
                <a:gd name="connsiteX1499" fmla="*/ 3968515 w 4753603"/>
                <a:gd name="connsiteY1499" fmla="*/ 1520485 h 4331342"/>
                <a:gd name="connsiteX1500" fmla="*/ 3966801 w 4753603"/>
                <a:gd name="connsiteY1500" fmla="*/ 1512065 h 4331342"/>
                <a:gd name="connsiteX1501" fmla="*/ 3948093 w 4753603"/>
                <a:gd name="connsiteY1501" fmla="*/ 1498683 h 4331342"/>
                <a:gd name="connsiteX1502" fmla="*/ 3937302 w 4753603"/>
                <a:gd name="connsiteY1502" fmla="*/ 1488281 h 4331342"/>
                <a:gd name="connsiteX1503" fmla="*/ 3949770 w 4753603"/>
                <a:gd name="connsiteY1503" fmla="*/ 1485690 h 4331342"/>
                <a:gd name="connsiteX1504" fmla="*/ 3954656 w 4753603"/>
                <a:gd name="connsiteY1504" fmla="*/ 1483824 h 4331342"/>
                <a:gd name="connsiteX1505" fmla="*/ 3933711 w 4753603"/>
                <a:gd name="connsiteY1505" fmla="*/ 1458763 h 4331342"/>
                <a:gd name="connsiteX1506" fmla="*/ 3983041 w 4753603"/>
                <a:gd name="connsiteY1506" fmla="*/ 1490577 h 4331342"/>
                <a:gd name="connsiteX1507" fmla="*/ 4061136 w 4753603"/>
                <a:gd name="connsiteY1507" fmla="*/ 1544860 h 4331342"/>
                <a:gd name="connsiteX1508" fmla="*/ 4069137 w 4753603"/>
                <a:gd name="connsiteY1508" fmla="*/ 1561271 h 4331342"/>
                <a:gd name="connsiteX1509" fmla="*/ 4066061 w 4753603"/>
                <a:gd name="connsiteY1509" fmla="*/ 1596438 h 4331342"/>
                <a:gd name="connsiteX1510" fmla="*/ 4072576 w 4753603"/>
                <a:gd name="connsiteY1510" fmla="*/ 1630756 h 4331342"/>
                <a:gd name="connsiteX1511" fmla="*/ 4075805 w 4753603"/>
                <a:gd name="connsiteY1511" fmla="*/ 1644006 h 4331342"/>
                <a:gd name="connsiteX1512" fmla="*/ 4051802 w 4753603"/>
                <a:gd name="connsiteY1512" fmla="*/ 1660179 h 4331342"/>
                <a:gd name="connsiteX1513" fmla="*/ 3981784 w 4753603"/>
                <a:gd name="connsiteY1513" fmla="*/ 1608525 h 4331342"/>
                <a:gd name="connsiteX1514" fmla="*/ 4139365 w 4753603"/>
                <a:gd name="connsiteY1514" fmla="*/ 2005089 h 4331342"/>
                <a:gd name="connsiteX1515" fmla="*/ 4121439 w 4753603"/>
                <a:gd name="connsiteY1515" fmla="*/ 1985324 h 4331342"/>
                <a:gd name="connsiteX1516" fmla="*/ 4017035 w 4753603"/>
                <a:gd name="connsiteY1516" fmla="*/ 1942024 h 4331342"/>
                <a:gd name="connsiteX1517" fmla="*/ 4005025 w 4753603"/>
                <a:gd name="connsiteY1517" fmla="*/ 1910820 h 4331342"/>
                <a:gd name="connsiteX1518" fmla="*/ 3988956 w 4753603"/>
                <a:gd name="connsiteY1518" fmla="*/ 1872425 h 4331342"/>
                <a:gd name="connsiteX1519" fmla="*/ 3935721 w 4753603"/>
                <a:gd name="connsiteY1519" fmla="*/ 1834115 h 4331342"/>
                <a:gd name="connsiteX1520" fmla="*/ 3931596 w 4753603"/>
                <a:gd name="connsiteY1520" fmla="*/ 1808140 h 4331342"/>
                <a:gd name="connsiteX1521" fmla="*/ 3922024 w 4753603"/>
                <a:gd name="connsiteY1521" fmla="*/ 1748161 h 4331342"/>
                <a:gd name="connsiteX1522" fmla="*/ 3886248 w 4753603"/>
                <a:gd name="connsiteY1522" fmla="*/ 1721682 h 4331342"/>
                <a:gd name="connsiteX1523" fmla="*/ 3866064 w 4753603"/>
                <a:gd name="connsiteY1523" fmla="*/ 1687620 h 4331342"/>
                <a:gd name="connsiteX1524" fmla="*/ 3875180 w 4753603"/>
                <a:gd name="connsiteY1524" fmla="*/ 1675457 h 4331342"/>
                <a:gd name="connsiteX1525" fmla="*/ 3938083 w 4753603"/>
                <a:gd name="connsiteY1525" fmla="*/ 1650673 h 4331342"/>
                <a:gd name="connsiteX1526" fmla="*/ 3953847 w 4753603"/>
                <a:gd name="connsiteY1526" fmla="*/ 1658569 h 4331342"/>
                <a:gd name="connsiteX1527" fmla="*/ 3978678 w 4753603"/>
                <a:gd name="connsiteY1527" fmla="*/ 1692154 h 4331342"/>
                <a:gd name="connsiteX1528" fmla="*/ 3996976 w 4753603"/>
                <a:gd name="connsiteY1528" fmla="*/ 1711309 h 4331342"/>
                <a:gd name="connsiteX1529" fmla="*/ 4004863 w 4753603"/>
                <a:gd name="connsiteY1529" fmla="*/ 1711738 h 4331342"/>
                <a:gd name="connsiteX1530" fmla="*/ 4019550 w 4753603"/>
                <a:gd name="connsiteY1530" fmla="*/ 1701394 h 4331342"/>
                <a:gd name="connsiteX1531" fmla="*/ 4045049 w 4753603"/>
                <a:gd name="connsiteY1531" fmla="*/ 1701356 h 4331342"/>
                <a:gd name="connsiteX1532" fmla="*/ 4048430 w 4753603"/>
                <a:gd name="connsiteY1532" fmla="*/ 1702603 h 4331342"/>
                <a:gd name="connsiteX1533" fmla="*/ 4076271 w 4753603"/>
                <a:gd name="connsiteY1533" fmla="*/ 1719796 h 4331342"/>
                <a:gd name="connsiteX1534" fmla="*/ 4107580 w 4753603"/>
                <a:gd name="connsiteY1534" fmla="*/ 1750838 h 4331342"/>
                <a:gd name="connsiteX1535" fmla="*/ 4117267 w 4753603"/>
                <a:gd name="connsiteY1535" fmla="*/ 1787852 h 4331342"/>
                <a:gd name="connsiteX1536" fmla="*/ 4123211 w 4753603"/>
                <a:gd name="connsiteY1536" fmla="*/ 1803035 h 4331342"/>
                <a:gd name="connsiteX1537" fmla="*/ 4144766 w 4753603"/>
                <a:gd name="connsiteY1537" fmla="*/ 1804016 h 4331342"/>
                <a:gd name="connsiteX1538" fmla="*/ 4179751 w 4753603"/>
                <a:gd name="connsiteY1538" fmla="*/ 1814779 h 4331342"/>
                <a:gd name="connsiteX1539" fmla="*/ 4190000 w 4753603"/>
                <a:gd name="connsiteY1539" fmla="*/ 1831677 h 4331342"/>
                <a:gd name="connsiteX1540" fmla="*/ 4189771 w 4753603"/>
                <a:gd name="connsiteY1540" fmla="*/ 1831886 h 4331342"/>
                <a:gd name="connsiteX1541" fmla="*/ 4230339 w 4753603"/>
                <a:gd name="connsiteY1541" fmla="*/ 1898799 h 4331342"/>
                <a:gd name="connsiteX1542" fmla="*/ 4230024 w 4753603"/>
                <a:gd name="connsiteY1542" fmla="*/ 1898495 h 4331342"/>
                <a:gd name="connsiteX1543" fmla="*/ 4231510 w 4753603"/>
                <a:gd name="connsiteY1543" fmla="*/ 1935328 h 4331342"/>
                <a:gd name="connsiteX1544" fmla="*/ 4229319 w 4753603"/>
                <a:gd name="connsiteY1544" fmla="*/ 1960893 h 4331342"/>
                <a:gd name="connsiteX1545" fmla="*/ 4255570 w 4753603"/>
                <a:gd name="connsiteY1545" fmla="*/ 2012366 h 4331342"/>
                <a:gd name="connsiteX1546" fmla="*/ 4257513 w 4753603"/>
                <a:gd name="connsiteY1546" fmla="*/ 2039941 h 4331342"/>
                <a:gd name="connsiteX1547" fmla="*/ 4246474 w 4753603"/>
                <a:gd name="connsiteY1547" fmla="*/ 2085194 h 4331342"/>
                <a:gd name="connsiteX1548" fmla="*/ 4237387 w 4753603"/>
                <a:gd name="connsiteY1548" fmla="*/ 2047827 h 4331342"/>
                <a:gd name="connsiteX1549" fmla="*/ 4229214 w 4753603"/>
                <a:gd name="connsiteY1549" fmla="*/ 2019052 h 4331342"/>
                <a:gd name="connsiteX1550" fmla="*/ 4172798 w 4753603"/>
                <a:gd name="connsiteY1550" fmla="*/ 1911344 h 4331342"/>
                <a:gd name="connsiteX1551" fmla="*/ 4169340 w 4753603"/>
                <a:gd name="connsiteY1551" fmla="*/ 1851632 h 4331342"/>
                <a:gd name="connsiteX1552" fmla="*/ 4149128 w 4753603"/>
                <a:gd name="connsiteY1552" fmla="*/ 1874434 h 4331342"/>
                <a:gd name="connsiteX1553" fmla="*/ 4136431 w 4753603"/>
                <a:gd name="connsiteY1553" fmla="*/ 1876377 h 4331342"/>
                <a:gd name="connsiteX1554" fmla="*/ 4085587 w 4753603"/>
                <a:gd name="connsiteY1554" fmla="*/ 1822199 h 4331342"/>
                <a:gd name="connsiteX1555" fmla="*/ 4064280 w 4753603"/>
                <a:gd name="connsiteY1555" fmla="*/ 1774565 h 4331342"/>
                <a:gd name="connsiteX1556" fmla="*/ 4057869 w 4753603"/>
                <a:gd name="connsiteY1556" fmla="*/ 1759429 h 4331342"/>
                <a:gd name="connsiteX1557" fmla="*/ 4049144 w 4753603"/>
                <a:gd name="connsiteY1557" fmla="*/ 1754524 h 4331342"/>
                <a:gd name="connsiteX1558" fmla="*/ 4044144 w 4753603"/>
                <a:gd name="connsiteY1558" fmla="*/ 1761906 h 4331342"/>
                <a:gd name="connsiteX1559" fmla="*/ 4017159 w 4753603"/>
                <a:gd name="connsiteY1559" fmla="*/ 1771317 h 4331342"/>
                <a:gd name="connsiteX1560" fmla="*/ 3963305 w 4753603"/>
                <a:gd name="connsiteY1560" fmla="*/ 1727968 h 4331342"/>
                <a:gd name="connsiteX1561" fmla="*/ 3936692 w 4753603"/>
                <a:gd name="connsiteY1561" fmla="*/ 1710966 h 4331342"/>
                <a:gd name="connsiteX1562" fmla="*/ 3938092 w 4753603"/>
                <a:gd name="connsiteY1562" fmla="*/ 1728826 h 4331342"/>
                <a:gd name="connsiteX1563" fmla="*/ 3941378 w 4753603"/>
                <a:gd name="connsiteY1563" fmla="*/ 1735503 h 4331342"/>
                <a:gd name="connsiteX1564" fmla="*/ 3966505 w 4753603"/>
                <a:gd name="connsiteY1564" fmla="*/ 1763335 h 4331342"/>
                <a:gd name="connsiteX1565" fmla="*/ 3997328 w 4753603"/>
                <a:gd name="connsiteY1565" fmla="*/ 1782299 h 4331342"/>
                <a:gd name="connsiteX1566" fmla="*/ 4029266 w 4753603"/>
                <a:gd name="connsiteY1566" fmla="*/ 1800120 h 4331342"/>
                <a:gd name="connsiteX1567" fmla="*/ 4032066 w 4753603"/>
                <a:gd name="connsiteY1567" fmla="*/ 1800806 h 4331342"/>
                <a:gd name="connsiteX1568" fmla="*/ 4063899 w 4753603"/>
                <a:gd name="connsiteY1568" fmla="*/ 1827638 h 4331342"/>
                <a:gd name="connsiteX1569" fmla="*/ 4051354 w 4753603"/>
                <a:gd name="connsiteY1569" fmla="*/ 1830705 h 4331342"/>
                <a:gd name="connsiteX1570" fmla="*/ 4038095 w 4753603"/>
                <a:gd name="connsiteY1570" fmla="*/ 1830705 h 4331342"/>
                <a:gd name="connsiteX1571" fmla="*/ 4007510 w 4753603"/>
                <a:gd name="connsiteY1571" fmla="*/ 1830705 h 4331342"/>
                <a:gd name="connsiteX1572" fmla="*/ 4004177 w 4753603"/>
                <a:gd name="connsiteY1572" fmla="*/ 1831277 h 4331342"/>
                <a:gd name="connsiteX1573" fmla="*/ 4004386 w 4753603"/>
                <a:gd name="connsiteY1573" fmla="*/ 1843507 h 4331342"/>
                <a:gd name="connsiteX1574" fmla="*/ 4032533 w 4753603"/>
                <a:gd name="connsiteY1574" fmla="*/ 1850431 h 4331342"/>
                <a:gd name="connsiteX1575" fmla="*/ 4035714 w 4753603"/>
                <a:gd name="connsiteY1575" fmla="*/ 1852441 h 4331342"/>
                <a:gd name="connsiteX1576" fmla="*/ 4041401 w 4753603"/>
                <a:gd name="connsiteY1576" fmla="*/ 1853479 h 4331342"/>
                <a:gd name="connsiteX1577" fmla="*/ 4077415 w 4753603"/>
                <a:gd name="connsiteY1577" fmla="*/ 1852584 h 4331342"/>
                <a:gd name="connsiteX1578" fmla="*/ 4089168 w 4753603"/>
                <a:gd name="connsiteY1578" fmla="*/ 1858127 h 4331342"/>
                <a:gd name="connsiteX1579" fmla="*/ 4129107 w 4753603"/>
                <a:gd name="connsiteY1579" fmla="*/ 1911344 h 4331342"/>
                <a:gd name="connsiteX1580" fmla="*/ 4133136 w 4753603"/>
                <a:gd name="connsiteY1580" fmla="*/ 1918478 h 4331342"/>
                <a:gd name="connsiteX1581" fmla="*/ 4143994 w 4753603"/>
                <a:gd name="connsiteY1581" fmla="*/ 1931137 h 4331342"/>
                <a:gd name="connsiteX1582" fmla="*/ 4103265 w 4753603"/>
                <a:gd name="connsiteY1582" fmla="*/ 1927708 h 4331342"/>
                <a:gd name="connsiteX1583" fmla="*/ 4062622 w 4753603"/>
                <a:gd name="connsiteY1583" fmla="*/ 1932346 h 4331342"/>
                <a:gd name="connsiteX1584" fmla="*/ 4054354 w 4753603"/>
                <a:gd name="connsiteY1584" fmla="*/ 1941643 h 4331342"/>
                <a:gd name="connsiteX1585" fmla="*/ 4085844 w 4753603"/>
                <a:gd name="connsiteY1585" fmla="*/ 1948967 h 4331342"/>
                <a:gd name="connsiteX1586" fmla="*/ 4095141 w 4753603"/>
                <a:gd name="connsiteY1586" fmla="*/ 1950977 h 4331342"/>
                <a:gd name="connsiteX1587" fmla="*/ 4100875 w 4753603"/>
                <a:gd name="connsiteY1587" fmla="*/ 1951996 h 4331342"/>
                <a:gd name="connsiteX1588" fmla="*/ 4135346 w 4753603"/>
                <a:gd name="connsiteY1588" fmla="*/ 1955054 h 4331342"/>
                <a:gd name="connsiteX1589" fmla="*/ 4154910 w 4753603"/>
                <a:gd name="connsiteY1589" fmla="*/ 1961169 h 4331342"/>
                <a:gd name="connsiteX1590" fmla="*/ 4164587 w 4753603"/>
                <a:gd name="connsiteY1590" fmla="*/ 1967074 h 4331342"/>
                <a:gd name="connsiteX1591" fmla="*/ 4165073 w 4753603"/>
                <a:gd name="connsiteY1591" fmla="*/ 1967456 h 4331342"/>
                <a:gd name="connsiteX1592" fmla="*/ 4179941 w 4753603"/>
                <a:gd name="connsiteY1592" fmla="*/ 1991468 h 4331342"/>
                <a:gd name="connsiteX1593" fmla="*/ 4182990 w 4753603"/>
                <a:gd name="connsiteY1593" fmla="*/ 1996897 h 4331342"/>
                <a:gd name="connsiteX1594" fmla="*/ 4198020 w 4753603"/>
                <a:gd name="connsiteY1594" fmla="*/ 2029435 h 4331342"/>
                <a:gd name="connsiteX1595" fmla="*/ 4188485 w 4753603"/>
                <a:gd name="connsiteY1595" fmla="*/ 2037198 h 4331342"/>
                <a:gd name="connsiteX1596" fmla="*/ 4176951 w 4753603"/>
                <a:gd name="connsiteY1596" fmla="*/ 2041179 h 4331342"/>
                <a:gd name="connsiteX1597" fmla="*/ 4184028 w 4753603"/>
                <a:gd name="connsiteY1597" fmla="*/ 2055657 h 4331342"/>
                <a:gd name="connsiteX1598" fmla="*/ 4220032 w 4753603"/>
                <a:gd name="connsiteY1598" fmla="*/ 2088413 h 4331342"/>
                <a:gd name="connsiteX1599" fmla="*/ 4220709 w 4753603"/>
                <a:gd name="connsiteY1599" fmla="*/ 2096243 h 4331342"/>
                <a:gd name="connsiteX1600" fmla="*/ 4161120 w 4753603"/>
                <a:gd name="connsiteY1600" fmla="*/ 2053523 h 4331342"/>
                <a:gd name="connsiteX1601" fmla="*/ 4139365 w 4753603"/>
                <a:gd name="connsiteY1601" fmla="*/ 2005089 h 4331342"/>
                <a:gd name="connsiteX1602" fmla="*/ 4221166 w 4753603"/>
                <a:gd name="connsiteY1602" fmla="*/ 2202075 h 4331342"/>
                <a:gd name="connsiteX1603" fmla="*/ 4228624 w 4753603"/>
                <a:gd name="connsiteY1603" fmla="*/ 2206647 h 4331342"/>
                <a:gd name="connsiteX1604" fmla="*/ 4249379 w 4753603"/>
                <a:gd name="connsiteY1604" fmla="*/ 2250053 h 4331342"/>
                <a:gd name="connsiteX1605" fmla="*/ 4236044 w 4753603"/>
                <a:gd name="connsiteY1605" fmla="*/ 2275827 h 4331342"/>
                <a:gd name="connsiteX1606" fmla="*/ 4222823 w 4753603"/>
                <a:gd name="connsiteY1606" fmla="*/ 2287915 h 4331342"/>
                <a:gd name="connsiteX1607" fmla="*/ 4199649 w 4753603"/>
                <a:gd name="connsiteY1607" fmla="*/ 2234460 h 4331342"/>
                <a:gd name="connsiteX1608" fmla="*/ 4221166 w 4753603"/>
                <a:gd name="connsiteY1608" fmla="*/ 2202075 h 4331342"/>
                <a:gd name="connsiteX1609" fmla="*/ 4172893 w 4753603"/>
                <a:gd name="connsiteY1609" fmla="*/ 2099891 h 4331342"/>
                <a:gd name="connsiteX1610" fmla="*/ 4211231 w 4753603"/>
                <a:gd name="connsiteY1610" fmla="*/ 2114017 h 4331342"/>
                <a:gd name="connsiteX1611" fmla="*/ 4237749 w 4753603"/>
                <a:gd name="connsiteY1611" fmla="*/ 2139753 h 4331342"/>
                <a:gd name="connsiteX1612" fmla="*/ 4238168 w 4753603"/>
                <a:gd name="connsiteY1612" fmla="*/ 2155165 h 4331342"/>
                <a:gd name="connsiteX1613" fmla="*/ 4223128 w 4753603"/>
                <a:gd name="connsiteY1613" fmla="*/ 2155851 h 4331342"/>
                <a:gd name="connsiteX1614" fmla="*/ 4172893 w 4753603"/>
                <a:gd name="connsiteY1614" fmla="*/ 2099891 h 4331342"/>
                <a:gd name="connsiteX1615" fmla="*/ 4128868 w 4753603"/>
                <a:gd name="connsiteY1615" fmla="*/ 2130162 h 4331342"/>
                <a:gd name="connsiteX1616" fmla="*/ 4161854 w 4753603"/>
                <a:gd name="connsiteY1616" fmla="*/ 2129228 h 4331342"/>
                <a:gd name="connsiteX1617" fmla="*/ 4201811 w 4753603"/>
                <a:gd name="connsiteY1617" fmla="*/ 2171691 h 4331342"/>
                <a:gd name="connsiteX1618" fmla="*/ 4196572 w 4753603"/>
                <a:gd name="connsiteY1618" fmla="*/ 2188398 h 4331342"/>
                <a:gd name="connsiteX1619" fmla="*/ 4182761 w 4753603"/>
                <a:gd name="connsiteY1619" fmla="*/ 2184892 h 4331342"/>
                <a:gd name="connsiteX1620" fmla="*/ 4172760 w 4753603"/>
                <a:gd name="connsiteY1620" fmla="*/ 2168081 h 4331342"/>
                <a:gd name="connsiteX1621" fmla="*/ 4141032 w 4753603"/>
                <a:gd name="connsiteY1621" fmla="*/ 2153936 h 4331342"/>
                <a:gd name="connsiteX1622" fmla="*/ 4127507 w 4753603"/>
                <a:gd name="connsiteY1622" fmla="*/ 2156441 h 4331342"/>
                <a:gd name="connsiteX1623" fmla="*/ 4117077 w 4753603"/>
                <a:gd name="connsiteY1623" fmla="*/ 2148488 h 4331342"/>
                <a:gd name="connsiteX1624" fmla="*/ 4128868 w 4753603"/>
                <a:gd name="connsiteY1624" fmla="*/ 2130162 h 4331342"/>
                <a:gd name="connsiteX1625" fmla="*/ 3996328 w 4753603"/>
                <a:gd name="connsiteY1625" fmla="*/ 2313632 h 4331342"/>
                <a:gd name="connsiteX1626" fmla="*/ 4020807 w 4753603"/>
                <a:gd name="connsiteY1626" fmla="*/ 2379059 h 4331342"/>
                <a:gd name="connsiteX1627" fmla="*/ 4019760 w 4753603"/>
                <a:gd name="connsiteY1627" fmla="*/ 2385241 h 4331342"/>
                <a:gd name="connsiteX1628" fmla="*/ 3990023 w 4753603"/>
                <a:gd name="connsiteY1628" fmla="*/ 2413540 h 4331342"/>
                <a:gd name="connsiteX1629" fmla="*/ 3996328 w 4753603"/>
                <a:gd name="connsiteY1629" fmla="*/ 2313632 h 4331342"/>
                <a:gd name="connsiteX1630" fmla="*/ 4135536 w 4753603"/>
                <a:gd name="connsiteY1630" fmla="*/ 2642597 h 4331342"/>
                <a:gd name="connsiteX1631" fmla="*/ 4123820 w 4753603"/>
                <a:gd name="connsiteY1631" fmla="*/ 2599382 h 4331342"/>
                <a:gd name="connsiteX1632" fmla="*/ 4139536 w 4753603"/>
                <a:gd name="connsiteY1632" fmla="*/ 2571369 h 4331342"/>
                <a:gd name="connsiteX1633" fmla="*/ 4167264 w 4753603"/>
                <a:gd name="connsiteY1633" fmla="*/ 2663742 h 4331342"/>
                <a:gd name="connsiteX1634" fmla="*/ 4170293 w 4753603"/>
                <a:gd name="connsiteY1634" fmla="*/ 2759345 h 4331342"/>
                <a:gd name="connsiteX1635" fmla="*/ 4135536 w 4753603"/>
                <a:gd name="connsiteY1635" fmla="*/ 2642597 h 4331342"/>
                <a:gd name="connsiteX1636" fmla="*/ 4150243 w 4753603"/>
                <a:gd name="connsiteY1636" fmla="*/ 2782281 h 4331342"/>
                <a:gd name="connsiteX1637" fmla="*/ 4103208 w 4753603"/>
                <a:gd name="connsiteY1637" fmla="*/ 2707434 h 4331342"/>
                <a:gd name="connsiteX1638" fmla="*/ 4150243 w 4753603"/>
                <a:gd name="connsiteY1638" fmla="*/ 2782281 h 4331342"/>
                <a:gd name="connsiteX1639" fmla="*/ 4129869 w 4753603"/>
                <a:gd name="connsiteY1639" fmla="*/ 2700052 h 4331342"/>
                <a:gd name="connsiteX1640" fmla="*/ 4082482 w 4753603"/>
                <a:gd name="connsiteY1640" fmla="*/ 2660323 h 4331342"/>
                <a:gd name="connsiteX1641" fmla="*/ 4129869 w 4753603"/>
                <a:gd name="connsiteY1641" fmla="*/ 2700052 h 4331342"/>
                <a:gd name="connsiteX1642" fmla="*/ 4080825 w 4753603"/>
                <a:gd name="connsiteY1642" fmla="*/ 2608869 h 4331342"/>
                <a:gd name="connsiteX1643" fmla="*/ 4046353 w 4753603"/>
                <a:gd name="connsiteY1643" fmla="*/ 2555882 h 4331342"/>
                <a:gd name="connsiteX1644" fmla="*/ 4090778 w 4753603"/>
                <a:gd name="connsiteY1644" fmla="*/ 2598715 h 4331342"/>
                <a:gd name="connsiteX1645" fmla="*/ 4088140 w 4753603"/>
                <a:gd name="connsiteY1645" fmla="*/ 2607840 h 4331342"/>
                <a:gd name="connsiteX1646" fmla="*/ 4080825 w 4753603"/>
                <a:gd name="connsiteY1646" fmla="*/ 2608869 h 4331342"/>
                <a:gd name="connsiteX1647" fmla="*/ 4061222 w 4753603"/>
                <a:gd name="connsiteY1647" fmla="*/ 2530945 h 4331342"/>
                <a:gd name="connsiteX1648" fmla="*/ 4053954 w 4753603"/>
                <a:gd name="connsiteY1648" fmla="*/ 2521258 h 4331342"/>
                <a:gd name="connsiteX1649" fmla="*/ 4067880 w 4753603"/>
                <a:gd name="connsiteY1649" fmla="*/ 2510133 h 4331342"/>
                <a:gd name="connsiteX1650" fmla="*/ 4078996 w 4753603"/>
                <a:gd name="connsiteY1650" fmla="*/ 2515095 h 4331342"/>
                <a:gd name="connsiteX1651" fmla="*/ 4094216 w 4753603"/>
                <a:gd name="connsiteY1651" fmla="*/ 2546814 h 4331342"/>
                <a:gd name="connsiteX1652" fmla="*/ 4061222 w 4753603"/>
                <a:gd name="connsiteY1652" fmla="*/ 2530945 h 4331342"/>
                <a:gd name="connsiteX1653" fmla="*/ 4034571 w 4753603"/>
                <a:gd name="connsiteY1653" fmla="*/ 2509333 h 4331342"/>
                <a:gd name="connsiteX1654" fmla="*/ 4008596 w 4753603"/>
                <a:gd name="connsiteY1654" fmla="*/ 2502037 h 4331342"/>
                <a:gd name="connsiteX1655" fmla="*/ 4000814 w 4753603"/>
                <a:gd name="connsiteY1655" fmla="*/ 2463060 h 4331342"/>
                <a:gd name="connsiteX1656" fmla="*/ 4025399 w 4753603"/>
                <a:gd name="connsiteY1656" fmla="*/ 2408682 h 4331342"/>
                <a:gd name="connsiteX1657" fmla="*/ 4042705 w 4753603"/>
                <a:gd name="connsiteY1657" fmla="*/ 2416855 h 4331342"/>
                <a:gd name="connsiteX1658" fmla="*/ 4051773 w 4753603"/>
                <a:gd name="connsiteY1658" fmla="*/ 2450802 h 4331342"/>
                <a:gd name="connsiteX1659" fmla="*/ 4034571 w 4753603"/>
                <a:gd name="connsiteY1659" fmla="*/ 2509333 h 4331342"/>
                <a:gd name="connsiteX1660" fmla="*/ 3747802 w 4753603"/>
                <a:gd name="connsiteY1660" fmla="*/ 3184836 h 4331342"/>
                <a:gd name="connsiteX1661" fmla="*/ 3754431 w 4753603"/>
                <a:gd name="connsiteY1661" fmla="*/ 3173501 h 4331342"/>
                <a:gd name="connsiteX1662" fmla="*/ 3764051 w 4753603"/>
                <a:gd name="connsiteY1662" fmla="*/ 3131239 h 4331342"/>
                <a:gd name="connsiteX1663" fmla="*/ 3781520 w 4753603"/>
                <a:gd name="connsiteY1663" fmla="*/ 3128058 h 4331342"/>
                <a:gd name="connsiteX1664" fmla="*/ 3813715 w 4753603"/>
                <a:gd name="connsiteY1664" fmla="*/ 3108341 h 4331342"/>
                <a:gd name="connsiteX1665" fmla="*/ 3825850 w 4753603"/>
                <a:gd name="connsiteY1665" fmla="*/ 3045971 h 4331342"/>
                <a:gd name="connsiteX1666" fmla="*/ 3847833 w 4753603"/>
                <a:gd name="connsiteY1666" fmla="*/ 3032151 h 4331342"/>
                <a:gd name="connsiteX1667" fmla="*/ 3892029 w 4753603"/>
                <a:gd name="connsiteY1667" fmla="*/ 3053553 h 4331342"/>
                <a:gd name="connsiteX1668" fmla="*/ 3917280 w 4753603"/>
                <a:gd name="connsiteY1668" fmla="*/ 3099635 h 4331342"/>
                <a:gd name="connsiteX1669" fmla="*/ 3916718 w 4753603"/>
                <a:gd name="connsiteY1669" fmla="*/ 3102007 h 4331342"/>
                <a:gd name="connsiteX1670" fmla="*/ 3904802 w 4753603"/>
                <a:gd name="connsiteY1670" fmla="*/ 3133230 h 4331342"/>
                <a:gd name="connsiteX1671" fmla="*/ 3904898 w 4753603"/>
                <a:gd name="connsiteY1671" fmla="*/ 3133230 h 4331342"/>
                <a:gd name="connsiteX1672" fmla="*/ 3899707 w 4753603"/>
                <a:gd name="connsiteY1672" fmla="*/ 3187484 h 4331342"/>
                <a:gd name="connsiteX1673" fmla="*/ 3905422 w 4753603"/>
                <a:gd name="connsiteY1673" fmla="*/ 3188627 h 4331342"/>
                <a:gd name="connsiteX1674" fmla="*/ 3921071 w 4753603"/>
                <a:gd name="connsiteY1674" fmla="*/ 3209792 h 4331342"/>
                <a:gd name="connsiteX1675" fmla="*/ 3901631 w 4753603"/>
                <a:gd name="connsiteY1675" fmla="*/ 3275505 h 4331342"/>
                <a:gd name="connsiteX1676" fmla="*/ 3882476 w 4753603"/>
                <a:gd name="connsiteY1676" fmla="*/ 3292831 h 4331342"/>
                <a:gd name="connsiteX1677" fmla="*/ 3863712 w 4753603"/>
                <a:gd name="connsiteY1677" fmla="*/ 3299060 h 4331342"/>
                <a:gd name="connsiteX1678" fmla="*/ 3851462 w 4753603"/>
                <a:gd name="connsiteY1678" fmla="*/ 3326292 h 4331342"/>
                <a:gd name="connsiteX1679" fmla="*/ 3848452 w 4753603"/>
                <a:gd name="connsiteY1679" fmla="*/ 3336846 h 4331342"/>
                <a:gd name="connsiteX1680" fmla="*/ 3816782 w 4753603"/>
                <a:gd name="connsiteY1680" fmla="*/ 3369917 h 4331342"/>
                <a:gd name="connsiteX1681" fmla="*/ 3791607 w 4753603"/>
                <a:gd name="connsiteY1681" fmla="*/ 3391538 h 4331342"/>
                <a:gd name="connsiteX1682" fmla="*/ 3778939 w 4753603"/>
                <a:gd name="connsiteY1682" fmla="*/ 3428991 h 4331342"/>
                <a:gd name="connsiteX1683" fmla="*/ 3767023 w 4753603"/>
                <a:gd name="connsiteY1683" fmla="*/ 3460299 h 4331342"/>
                <a:gd name="connsiteX1684" fmla="*/ 3748068 w 4753603"/>
                <a:gd name="connsiteY1684" fmla="*/ 3475015 h 4331342"/>
                <a:gd name="connsiteX1685" fmla="*/ 3728923 w 4753603"/>
                <a:gd name="connsiteY1685" fmla="*/ 3465367 h 4331342"/>
                <a:gd name="connsiteX1686" fmla="*/ 3731695 w 4753603"/>
                <a:gd name="connsiteY1686" fmla="*/ 3390319 h 4331342"/>
                <a:gd name="connsiteX1687" fmla="*/ 3769690 w 4753603"/>
                <a:gd name="connsiteY1687" fmla="*/ 3355553 h 4331342"/>
                <a:gd name="connsiteX1688" fmla="*/ 3805066 w 4753603"/>
                <a:gd name="connsiteY1688" fmla="*/ 3340646 h 4331342"/>
                <a:gd name="connsiteX1689" fmla="*/ 3765223 w 4753603"/>
                <a:gd name="connsiteY1689" fmla="*/ 3335846 h 4331342"/>
                <a:gd name="connsiteX1690" fmla="*/ 3752784 w 4753603"/>
                <a:gd name="connsiteY1690" fmla="*/ 3338465 h 4331342"/>
                <a:gd name="connsiteX1691" fmla="*/ 3753803 w 4753603"/>
                <a:gd name="connsiteY1691" fmla="*/ 3324444 h 4331342"/>
                <a:gd name="connsiteX1692" fmla="*/ 3790712 w 4753603"/>
                <a:gd name="connsiteY1692" fmla="*/ 3287420 h 4331342"/>
                <a:gd name="connsiteX1693" fmla="*/ 3844328 w 4753603"/>
                <a:gd name="connsiteY1693" fmla="*/ 3252607 h 4331342"/>
                <a:gd name="connsiteX1694" fmla="*/ 3847367 w 4753603"/>
                <a:gd name="connsiteY1694" fmla="*/ 3245682 h 4331342"/>
                <a:gd name="connsiteX1695" fmla="*/ 3825707 w 4753603"/>
                <a:gd name="connsiteY1695" fmla="*/ 3247416 h 4331342"/>
                <a:gd name="connsiteX1696" fmla="*/ 3815239 w 4753603"/>
                <a:gd name="connsiteY1696" fmla="*/ 3232128 h 4331342"/>
                <a:gd name="connsiteX1697" fmla="*/ 3844947 w 4753603"/>
                <a:gd name="connsiteY1697" fmla="*/ 3164158 h 4331342"/>
                <a:gd name="connsiteX1698" fmla="*/ 3857416 w 4753603"/>
                <a:gd name="connsiteY1698" fmla="*/ 3117152 h 4331342"/>
                <a:gd name="connsiteX1699" fmla="*/ 3857454 w 4753603"/>
                <a:gd name="connsiteY1699" fmla="*/ 3109665 h 4331342"/>
                <a:gd name="connsiteX1700" fmla="*/ 3849710 w 4753603"/>
                <a:gd name="connsiteY1700" fmla="*/ 3094349 h 4331342"/>
                <a:gd name="connsiteX1701" fmla="*/ 3838623 w 4753603"/>
                <a:gd name="connsiteY1701" fmla="*/ 3106436 h 4331342"/>
                <a:gd name="connsiteX1702" fmla="*/ 3828736 w 4753603"/>
                <a:gd name="connsiteY1702" fmla="*/ 3132963 h 4331342"/>
                <a:gd name="connsiteX1703" fmla="*/ 3817068 w 4753603"/>
                <a:gd name="connsiteY1703" fmla="*/ 3176492 h 4331342"/>
                <a:gd name="connsiteX1704" fmla="*/ 3816201 w 4753603"/>
                <a:gd name="connsiteY1704" fmla="*/ 3182227 h 4331342"/>
                <a:gd name="connsiteX1705" fmla="*/ 3807247 w 4753603"/>
                <a:gd name="connsiteY1705" fmla="*/ 3204696 h 4331342"/>
                <a:gd name="connsiteX1706" fmla="*/ 3806924 w 4753603"/>
                <a:gd name="connsiteY1706" fmla="*/ 3206420 h 4331342"/>
                <a:gd name="connsiteX1707" fmla="*/ 3794951 w 4753603"/>
                <a:gd name="connsiteY1707" fmla="*/ 3229413 h 4331342"/>
                <a:gd name="connsiteX1708" fmla="*/ 3783511 w 4753603"/>
                <a:gd name="connsiteY1708" fmla="*/ 3237738 h 4331342"/>
                <a:gd name="connsiteX1709" fmla="*/ 3778701 w 4753603"/>
                <a:gd name="connsiteY1709" fmla="*/ 3191990 h 4331342"/>
                <a:gd name="connsiteX1710" fmla="*/ 3760880 w 4753603"/>
                <a:gd name="connsiteY1710" fmla="*/ 3173740 h 4331342"/>
                <a:gd name="connsiteX1711" fmla="*/ 3762985 w 4753603"/>
                <a:gd name="connsiteY1711" fmla="*/ 3234538 h 4331342"/>
                <a:gd name="connsiteX1712" fmla="*/ 3742163 w 4753603"/>
                <a:gd name="connsiteY1712" fmla="*/ 3302079 h 4331342"/>
                <a:gd name="connsiteX1713" fmla="*/ 3734162 w 4753603"/>
                <a:gd name="connsiteY1713" fmla="*/ 3303394 h 4331342"/>
                <a:gd name="connsiteX1714" fmla="*/ 3719132 w 4753603"/>
                <a:gd name="connsiteY1714" fmla="*/ 3293631 h 4331342"/>
                <a:gd name="connsiteX1715" fmla="*/ 3710397 w 4753603"/>
                <a:gd name="connsiteY1715" fmla="*/ 3291021 h 4331342"/>
                <a:gd name="connsiteX1716" fmla="*/ 3716569 w 4753603"/>
                <a:gd name="connsiteY1716" fmla="*/ 3364887 h 4331342"/>
                <a:gd name="connsiteX1717" fmla="*/ 3715960 w 4753603"/>
                <a:gd name="connsiteY1717" fmla="*/ 3379918 h 4331342"/>
                <a:gd name="connsiteX1718" fmla="*/ 3716312 w 4753603"/>
                <a:gd name="connsiteY1718" fmla="*/ 3382880 h 4331342"/>
                <a:gd name="connsiteX1719" fmla="*/ 3710178 w 4753603"/>
                <a:gd name="connsiteY1719" fmla="*/ 3405407 h 4331342"/>
                <a:gd name="connsiteX1720" fmla="*/ 3709321 w 4753603"/>
                <a:gd name="connsiteY1720" fmla="*/ 3409874 h 4331342"/>
                <a:gd name="connsiteX1721" fmla="*/ 3694871 w 4753603"/>
                <a:gd name="connsiteY1721" fmla="*/ 3419199 h 4331342"/>
                <a:gd name="connsiteX1722" fmla="*/ 3692909 w 4753603"/>
                <a:gd name="connsiteY1722" fmla="*/ 3401606 h 4331342"/>
                <a:gd name="connsiteX1723" fmla="*/ 3704606 w 4753603"/>
                <a:gd name="connsiteY1723" fmla="*/ 3361401 h 4331342"/>
                <a:gd name="connsiteX1724" fmla="*/ 3704606 w 4753603"/>
                <a:gd name="connsiteY1724" fmla="*/ 3336941 h 4331342"/>
                <a:gd name="connsiteX1725" fmla="*/ 3694891 w 4753603"/>
                <a:gd name="connsiteY1725" fmla="*/ 3302327 h 4331342"/>
                <a:gd name="connsiteX1726" fmla="*/ 3714159 w 4753603"/>
                <a:gd name="connsiteY1726" fmla="*/ 3257960 h 4331342"/>
                <a:gd name="connsiteX1727" fmla="*/ 3730524 w 4753603"/>
                <a:gd name="connsiteY1727" fmla="*/ 3235938 h 4331342"/>
                <a:gd name="connsiteX1728" fmla="*/ 3747802 w 4753603"/>
                <a:gd name="connsiteY1728" fmla="*/ 3184836 h 4331342"/>
                <a:gd name="connsiteX1729" fmla="*/ 3948941 w 4753603"/>
                <a:gd name="connsiteY1729" fmla="*/ 3296117 h 4331342"/>
                <a:gd name="connsiteX1730" fmla="*/ 3921052 w 4753603"/>
                <a:gd name="connsiteY1730" fmla="*/ 3286211 h 4331342"/>
                <a:gd name="connsiteX1731" fmla="*/ 3937502 w 4753603"/>
                <a:gd name="connsiteY1731" fmla="*/ 3253407 h 4331342"/>
                <a:gd name="connsiteX1732" fmla="*/ 3957943 w 4753603"/>
                <a:gd name="connsiteY1732" fmla="*/ 3289316 h 4331342"/>
                <a:gd name="connsiteX1733" fmla="*/ 3948941 w 4753603"/>
                <a:gd name="connsiteY1733" fmla="*/ 3296117 h 4331342"/>
                <a:gd name="connsiteX1734" fmla="*/ 3964276 w 4753603"/>
                <a:gd name="connsiteY1734" fmla="*/ 3324444 h 4331342"/>
                <a:gd name="connsiteX1735" fmla="*/ 3956161 w 4753603"/>
                <a:gd name="connsiteY1735" fmla="*/ 3331493 h 4331342"/>
                <a:gd name="connsiteX1736" fmla="*/ 3943188 w 4753603"/>
                <a:gd name="connsiteY1736" fmla="*/ 3336351 h 4331342"/>
                <a:gd name="connsiteX1737" fmla="*/ 3899707 w 4753603"/>
                <a:gd name="connsiteY1737" fmla="*/ 3377222 h 4331342"/>
                <a:gd name="connsiteX1738" fmla="*/ 3883266 w 4753603"/>
                <a:gd name="connsiteY1738" fmla="*/ 3385680 h 4331342"/>
                <a:gd name="connsiteX1739" fmla="*/ 3834946 w 4753603"/>
                <a:gd name="connsiteY1739" fmla="*/ 3392510 h 4331342"/>
                <a:gd name="connsiteX1740" fmla="*/ 3824259 w 4753603"/>
                <a:gd name="connsiteY1740" fmla="*/ 3395968 h 4331342"/>
                <a:gd name="connsiteX1741" fmla="*/ 3827031 w 4753603"/>
                <a:gd name="connsiteY1741" fmla="*/ 3382070 h 4331342"/>
                <a:gd name="connsiteX1742" fmla="*/ 3848214 w 4753603"/>
                <a:gd name="connsiteY1742" fmla="*/ 3367869 h 4331342"/>
                <a:gd name="connsiteX1743" fmla="*/ 3878028 w 4753603"/>
                <a:gd name="connsiteY1743" fmla="*/ 3327940 h 4331342"/>
                <a:gd name="connsiteX1744" fmla="*/ 3895106 w 4753603"/>
                <a:gd name="connsiteY1744" fmla="*/ 3311585 h 4331342"/>
                <a:gd name="connsiteX1745" fmla="*/ 3908898 w 4753603"/>
                <a:gd name="connsiteY1745" fmla="*/ 3311585 h 4331342"/>
                <a:gd name="connsiteX1746" fmla="*/ 3955390 w 4753603"/>
                <a:gd name="connsiteY1746" fmla="*/ 3316938 h 4331342"/>
                <a:gd name="connsiteX1747" fmla="*/ 3964276 w 4753603"/>
                <a:gd name="connsiteY1747" fmla="*/ 3324444 h 4331342"/>
                <a:gd name="connsiteX1748" fmla="*/ 3737848 w 4753603"/>
                <a:gd name="connsiteY1748" fmla="*/ 3628073 h 4331342"/>
                <a:gd name="connsiteX1749" fmla="*/ 3760308 w 4753603"/>
                <a:gd name="connsiteY1749" fmla="*/ 3669697 h 4331342"/>
                <a:gd name="connsiteX1750" fmla="*/ 3746126 w 4753603"/>
                <a:gd name="connsiteY1750" fmla="*/ 3700548 h 4331342"/>
                <a:gd name="connsiteX1751" fmla="*/ 3709968 w 4753603"/>
                <a:gd name="connsiteY1751" fmla="*/ 3706368 h 4331342"/>
                <a:gd name="connsiteX1752" fmla="*/ 3700729 w 4753603"/>
                <a:gd name="connsiteY1752" fmla="*/ 3690490 h 4331342"/>
                <a:gd name="connsiteX1753" fmla="*/ 3695605 w 4753603"/>
                <a:gd name="connsiteY1753" fmla="*/ 3645570 h 4331342"/>
                <a:gd name="connsiteX1754" fmla="*/ 3717951 w 4753603"/>
                <a:gd name="connsiteY1754" fmla="*/ 3626320 h 4331342"/>
                <a:gd name="connsiteX1755" fmla="*/ 3737848 w 4753603"/>
                <a:gd name="connsiteY1755" fmla="*/ 3628073 h 4331342"/>
                <a:gd name="connsiteX1756" fmla="*/ 3678374 w 4753603"/>
                <a:gd name="connsiteY1756" fmla="*/ 3190028 h 4331342"/>
                <a:gd name="connsiteX1757" fmla="*/ 3715369 w 4753603"/>
                <a:gd name="connsiteY1757" fmla="*/ 3167196 h 4331342"/>
                <a:gd name="connsiteX1758" fmla="*/ 3725551 w 4753603"/>
                <a:gd name="connsiteY1758" fmla="*/ 3178331 h 4331342"/>
                <a:gd name="connsiteX1759" fmla="*/ 3713216 w 4753603"/>
                <a:gd name="connsiteY1759" fmla="*/ 3231623 h 4331342"/>
                <a:gd name="connsiteX1760" fmla="*/ 3706511 w 4753603"/>
                <a:gd name="connsiteY1760" fmla="*/ 3239633 h 4331342"/>
                <a:gd name="connsiteX1761" fmla="*/ 3673955 w 4753603"/>
                <a:gd name="connsiteY1761" fmla="*/ 3260589 h 4331342"/>
                <a:gd name="connsiteX1762" fmla="*/ 3678374 w 4753603"/>
                <a:gd name="connsiteY1762" fmla="*/ 3190028 h 4331342"/>
                <a:gd name="connsiteX1763" fmla="*/ 3570008 w 4753603"/>
                <a:gd name="connsiteY1763" fmla="*/ 3343770 h 4331342"/>
                <a:gd name="connsiteX1764" fmla="*/ 3646532 w 4753603"/>
                <a:gd name="connsiteY1764" fmla="*/ 3248311 h 4331342"/>
                <a:gd name="connsiteX1765" fmla="*/ 3653571 w 4753603"/>
                <a:gd name="connsiteY1765" fmla="*/ 3279667 h 4331342"/>
                <a:gd name="connsiteX1766" fmla="*/ 3646113 w 4753603"/>
                <a:gd name="connsiteY1766" fmla="*/ 3287783 h 4331342"/>
                <a:gd name="connsiteX1767" fmla="*/ 3605260 w 4753603"/>
                <a:gd name="connsiteY1767" fmla="*/ 3316786 h 4331342"/>
                <a:gd name="connsiteX1768" fmla="*/ 3576047 w 4753603"/>
                <a:gd name="connsiteY1768" fmla="*/ 3350428 h 4331342"/>
                <a:gd name="connsiteX1769" fmla="*/ 3567779 w 4753603"/>
                <a:gd name="connsiteY1769" fmla="*/ 3352486 h 4331342"/>
                <a:gd name="connsiteX1770" fmla="*/ 3570008 w 4753603"/>
                <a:gd name="connsiteY1770" fmla="*/ 3343770 h 4331342"/>
                <a:gd name="connsiteX1771" fmla="*/ 3580991 w 4753603"/>
                <a:gd name="connsiteY1771" fmla="*/ 3428409 h 4331342"/>
                <a:gd name="connsiteX1772" fmla="*/ 3569675 w 4753603"/>
                <a:gd name="connsiteY1772" fmla="*/ 3402435 h 4331342"/>
                <a:gd name="connsiteX1773" fmla="*/ 3580991 w 4753603"/>
                <a:gd name="connsiteY1773" fmla="*/ 3428409 h 4331342"/>
                <a:gd name="connsiteX1774" fmla="*/ 3567779 w 4753603"/>
                <a:gd name="connsiteY1774" fmla="*/ 3452213 h 4331342"/>
                <a:gd name="connsiteX1775" fmla="*/ 3584810 w 4753603"/>
                <a:gd name="connsiteY1775" fmla="*/ 3467052 h 4331342"/>
                <a:gd name="connsiteX1776" fmla="*/ 3603622 w 4753603"/>
                <a:gd name="connsiteY1776" fmla="*/ 3459804 h 4331342"/>
                <a:gd name="connsiteX1777" fmla="*/ 3593573 w 4753603"/>
                <a:gd name="connsiteY1777" fmla="*/ 3392462 h 4331342"/>
                <a:gd name="connsiteX1778" fmla="*/ 3594049 w 4753603"/>
                <a:gd name="connsiteY1778" fmla="*/ 3365192 h 4331342"/>
                <a:gd name="connsiteX1779" fmla="*/ 3614433 w 4753603"/>
                <a:gd name="connsiteY1779" fmla="*/ 3324616 h 4331342"/>
                <a:gd name="connsiteX1780" fmla="*/ 3628387 w 4753603"/>
                <a:gd name="connsiteY1780" fmla="*/ 3311909 h 4331342"/>
                <a:gd name="connsiteX1781" fmla="*/ 3676041 w 4753603"/>
                <a:gd name="connsiteY1781" fmla="*/ 3324902 h 4331342"/>
                <a:gd name="connsiteX1782" fmla="*/ 3666668 w 4753603"/>
                <a:gd name="connsiteY1782" fmla="*/ 3404873 h 4331342"/>
                <a:gd name="connsiteX1783" fmla="*/ 3663429 w 4753603"/>
                <a:gd name="connsiteY1783" fmla="*/ 3441411 h 4331342"/>
                <a:gd name="connsiteX1784" fmla="*/ 3666668 w 4753603"/>
                <a:gd name="connsiteY1784" fmla="*/ 3442097 h 4331342"/>
                <a:gd name="connsiteX1785" fmla="*/ 3685861 w 4753603"/>
                <a:gd name="connsiteY1785" fmla="*/ 3445412 h 4331342"/>
                <a:gd name="connsiteX1786" fmla="*/ 3691052 w 4753603"/>
                <a:gd name="connsiteY1786" fmla="*/ 3445297 h 4331342"/>
                <a:gd name="connsiteX1787" fmla="*/ 3709940 w 4753603"/>
                <a:gd name="connsiteY1787" fmla="*/ 3454013 h 4331342"/>
                <a:gd name="connsiteX1788" fmla="*/ 3710483 w 4753603"/>
                <a:gd name="connsiteY1788" fmla="*/ 3459823 h 4331342"/>
                <a:gd name="connsiteX1789" fmla="*/ 3701215 w 4753603"/>
                <a:gd name="connsiteY1789" fmla="*/ 3500352 h 4331342"/>
                <a:gd name="connsiteX1790" fmla="*/ 3694138 w 4753603"/>
                <a:gd name="connsiteY1790" fmla="*/ 3528451 h 4331342"/>
                <a:gd name="connsiteX1791" fmla="*/ 3697596 w 4753603"/>
                <a:gd name="connsiteY1791" fmla="*/ 3531765 h 4331342"/>
                <a:gd name="connsiteX1792" fmla="*/ 3723399 w 4753603"/>
                <a:gd name="connsiteY1792" fmla="*/ 3577276 h 4331342"/>
                <a:gd name="connsiteX1793" fmla="*/ 3712188 w 4753603"/>
                <a:gd name="connsiteY1793" fmla="*/ 3596697 h 4331342"/>
                <a:gd name="connsiteX1794" fmla="*/ 3682079 w 4753603"/>
                <a:gd name="connsiteY1794" fmla="*/ 3614757 h 4331342"/>
                <a:gd name="connsiteX1795" fmla="*/ 3663506 w 4753603"/>
                <a:gd name="connsiteY1795" fmla="*/ 3627006 h 4331342"/>
                <a:gd name="connsiteX1796" fmla="*/ 3679546 w 4753603"/>
                <a:gd name="connsiteY1796" fmla="*/ 3663829 h 4331342"/>
                <a:gd name="connsiteX1797" fmla="*/ 3678850 w 4753603"/>
                <a:gd name="connsiteY1797" fmla="*/ 3682527 h 4331342"/>
                <a:gd name="connsiteX1798" fmla="*/ 3654142 w 4753603"/>
                <a:gd name="connsiteY1798" fmla="*/ 3725875 h 4331342"/>
                <a:gd name="connsiteX1799" fmla="*/ 3610070 w 4753603"/>
                <a:gd name="connsiteY1799" fmla="*/ 3743735 h 4331342"/>
                <a:gd name="connsiteX1800" fmla="*/ 3606803 w 4753603"/>
                <a:gd name="connsiteY1800" fmla="*/ 3741449 h 4331342"/>
                <a:gd name="connsiteX1801" fmla="*/ 3578362 w 4753603"/>
                <a:gd name="connsiteY1801" fmla="*/ 3731838 h 4331342"/>
                <a:gd name="connsiteX1802" fmla="*/ 3568722 w 4753603"/>
                <a:gd name="connsiteY1802" fmla="*/ 3738153 h 4331342"/>
                <a:gd name="connsiteX1803" fmla="*/ 3565884 w 4753603"/>
                <a:gd name="connsiteY1803" fmla="*/ 3763166 h 4331342"/>
                <a:gd name="connsiteX1804" fmla="*/ 3566379 w 4753603"/>
                <a:gd name="connsiteY1804" fmla="*/ 3765156 h 4331342"/>
                <a:gd name="connsiteX1805" fmla="*/ 3566522 w 4753603"/>
                <a:gd name="connsiteY1805" fmla="*/ 3799761 h 4331342"/>
                <a:gd name="connsiteX1806" fmla="*/ 3544862 w 4753603"/>
                <a:gd name="connsiteY1806" fmla="*/ 3820630 h 4331342"/>
                <a:gd name="connsiteX1807" fmla="*/ 3494323 w 4753603"/>
                <a:gd name="connsiteY1807" fmla="*/ 3837003 h 4331342"/>
                <a:gd name="connsiteX1808" fmla="*/ 3472482 w 4753603"/>
                <a:gd name="connsiteY1808" fmla="*/ 3839537 h 4331342"/>
                <a:gd name="connsiteX1809" fmla="*/ 3460414 w 4753603"/>
                <a:gd name="connsiteY1809" fmla="*/ 3836861 h 4331342"/>
                <a:gd name="connsiteX1810" fmla="*/ 3468881 w 4753603"/>
                <a:gd name="connsiteY1810" fmla="*/ 3827764 h 4331342"/>
                <a:gd name="connsiteX1811" fmla="*/ 3523869 w 4753603"/>
                <a:gd name="connsiteY1811" fmla="*/ 3809514 h 4331342"/>
                <a:gd name="connsiteX1812" fmla="*/ 3537709 w 4753603"/>
                <a:gd name="connsiteY1812" fmla="*/ 3804409 h 4331342"/>
                <a:gd name="connsiteX1813" fmla="*/ 3536471 w 4753603"/>
                <a:gd name="connsiteY1813" fmla="*/ 3800789 h 4331342"/>
                <a:gd name="connsiteX1814" fmla="*/ 3528022 w 4753603"/>
                <a:gd name="connsiteY1814" fmla="*/ 3767004 h 4331342"/>
                <a:gd name="connsiteX1815" fmla="*/ 3570541 w 4753603"/>
                <a:gd name="connsiteY1815" fmla="*/ 3703720 h 4331342"/>
                <a:gd name="connsiteX1816" fmla="*/ 3587963 w 4753603"/>
                <a:gd name="connsiteY1816" fmla="*/ 3694567 h 4331342"/>
                <a:gd name="connsiteX1817" fmla="*/ 3638198 w 4753603"/>
                <a:gd name="connsiteY1817" fmla="*/ 3688423 h 4331342"/>
                <a:gd name="connsiteX1818" fmla="*/ 3644208 w 4753603"/>
                <a:gd name="connsiteY1818" fmla="*/ 3681146 h 4331342"/>
                <a:gd name="connsiteX1819" fmla="*/ 3593649 w 4753603"/>
                <a:gd name="connsiteY1819" fmla="*/ 3667382 h 4331342"/>
                <a:gd name="connsiteX1820" fmla="*/ 3587439 w 4753603"/>
                <a:gd name="connsiteY1820" fmla="*/ 3655571 h 4331342"/>
                <a:gd name="connsiteX1821" fmla="*/ 3625987 w 4753603"/>
                <a:gd name="connsiteY1821" fmla="*/ 3610042 h 4331342"/>
                <a:gd name="connsiteX1822" fmla="*/ 3666296 w 4753603"/>
                <a:gd name="connsiteY1822" fmla="*/ 3577038 h 4331342"/>
                <a:gd name="connsiteX1823" fmla="*/ 3661362 w 4753603"/>
                <a:gd name="connsiteY1823" fmla="*/ 3572047 h 4331342"/>
                <a:gd name="connsiteX1824" fmla="*/ 3632835 w 4753603"/>
                <a:gd name="connsiteY1824" fmla="*/ 3576800 h 4331342"/>
                <a:gd name="connsiteX1825" fmla="*/ 3653638 w 4753603"/>
                <a:gd name="connsiteY1825" fmla="*/ 3543357 h 4331342"/>
                <a:gd name="connsiteX1826" fmla="*/ 3656819 w 4753603"/>
                <a:gd name="connsiteY1826" fmla="*/ 3536985 h 4331342"/>
                <a:gd name="connsiteX1827" fmla="*/ 3663210 w 4753603"/>
                <a:gd name="connsiteY1827" fmla="*/ 3528136 h 4331342"/>
                <a:gd name="connsiteX1828" fmla="*/ 3672269 w 4753603"/>
                <a:gd name="connsiteY1828" fmla="*/ 3500666 h 4331342"/>
                <a:gd name="connsiteX1829" fmla="*/ 3670602 w 4753603"/>
                <a:gd name="connsiteY1829" fmla="*/ 3489122 h 4331342"/>
                <a:gd name="connsiteX1830" fmla="*/ 3659381 w 4753603"/>
                <a:gd name="connsiteY1830" fmla="*/ 3491418 h 4331342"/>
                <a:gd name="connsiteX1831" fmla="*/ 3641208 w 4753603"/>
                <a:gd name="connsiteY1831" fmla="*/ 3480302 h 4331342"/>
                <a:gd name="connsiteX1832" fmla="*/ 3641112 w 4753603"/>
                <a:gd name="connsiteY1832" fmla="*/ 3397958 h 4331342"/>
                <a:gd name="connsiteX1833" fmla="*/ 3641274 w 4753603"/>
                <a:gd name="connsiteY1833" fmla="*/ 3385671 h 4331342"/>
                <a:gd name="connsiteX1834" fmla="*/ 3627273 w 4753603"/>
                <a:gd name="connsiteY1834" fmla="*/ 3377622 h 4331342"/>
                <a:gd name="connsiteX1835" fmla="*/ 3609270 w 4753603"/>
                <a:gd name="connsiteY1835" fmla="*/ 3399168 h 4331342"/>
                <a:gd name="connsiteX1836" fmla="*/ 3615804 w 4753603"/>
                <a:gd name="connsiteY1836" fmla="*/ 3469024 h 4331342"/>
                <a:gd name="connsiteX1837" fmla="*/ 3616424 w 4753603"/>
                <a:gd name="connsiteY1837" fmla="*/ 3472624 h 4331342"/>
                <a:gd name="connsiteX1838" fmla="*/ 3603860 w 4753603"/>
                <a:gd name="connsiteY1838" fmla="*/ 3581067 h 4331342"/>
                <a:gd name="connsiteX1839" fmla="*/ 3589925 w 4753603"/>
                <a:gd name="connsiteY1839" fmla="*/ 3597450 h 4331342"/>
                <a:gd name="connsiteX1840" fmla="*/ 3572513 w 4753603"/>
                <a:gd name="connsiteY1840" fmla="*/ 3542595 h 4331342"/>
                <a:gd name="connsiteX1841" fmla="*/ 3566617 w 4753603"/>
                <a:gd name="connsiteY1841" fmla="*/ 3538071 h 4331342"/>
                <a:gd name="connsiteX1842" fmla="*/ 3563979 w 4753603"/>
                <a:gd name="connsiteY1842" fmla="*/ 3547100 h 4331342"/>
                <a:gd name="connsiteX1843" fmla="*/ 3563769 w 4753603"/>
                <a:gd name="connsiteY1843" fmla="*/ 3547100 h 4331342"/>
                <a:gd name="connsiteX1844" fmla="*/ 3562807 w 4753603"/>
                <a:gd name="connsiteY1844" fmla="*/ 3637674 h 4331342"/>
                <a:gd name="connsiteX1845" fmla="*/ 3560245 w 4753603"/>
                <a:gd name="connsiteY1845" fmla="*/ 3651733 h 4331342"/>
                <a:gd name="connsiteX1846" fmla="*/ 3561016 w 4753603"/>
                <a:gd name="connsiteY1846" fmla="*/ 3652514 h 4331342"/>
                <a:gd name="connsiteX1847" fmla="*/ 3559997 w 4753603"/>
                <a:gd name="connsiteY1847" fmla="*/ 3654885 h 4331342"/>
                <a:gd name="connsiteX1848" fmla="*/ 3554035 w 4753603"/>
                <a:gd name="connsiteY1848" fmla="*/ 3679308 h 4331342"/>
                <a:gd name="connsiteX1849" fmla="*/ 3550549 w 4753603"/>
                <a:gd name="connsiteY1849" fmla="*/ 3685842 h 4331342"/>
                <a:gd name="connsiteX1850" fmla="*/ 3550034 w 4753603"/>
                <a:gd name="connsiteY1850" fmla="*/ 3688099 h 4331342"/>
                <a:gd name="connsiteX1851" fmla="*/ 3536147 w 4753603"/>
                <a:gd name="connsiteY1851" fmla="*/ 3710788 h 4331342"/>
                <a:gd name="connsiteX1852" fmla="*/ 3524955 w 4753603"/>
                <a:gd name="connsiteY1852" fmla="*/ 3707340 h 4331342"/>
                <a:gd name="connsiteX1853" fmla="*/ 3511220 w 4753603"/>
                <a:gd name="connsiteY1853" fmla="*/ 3685842 h 4331342"/>
                <a:gd name="connsiteX1854" fmla="*/ 3503828 w 4753603"/>
                <a:gd name="connsiteY1854" fmla="*/ 3681270 h 4331342"/>
                <a:gd name="connsiteX1855" fmla="*/ 3500295 w 4753603"/>
                <a:gd name="connsiteY1855" fmla="*/ 3688928 h 4331342"/>
                <a:gd name="connsiteX1856" fmla="*/ 3500695 w 4753603"/>
                <a:gd name="connsiteY1856" fmla="*/ 3719436 h 4331342"/>
                <a:gd name="connsiteX1857" fmla="*/ 3481750 w 4753603"/>
                <a:gd name="connsiteY1857" fmla="*/ 3796779 h 4331342"/>
                <a:gd name="connsiteX1858" fmla="*/ 3478835 w 4753603"/>
                <a:gd name="connsiteY1858" fmla="*/ 3799199 h 4331342"/>
                <a:gd name="connsiteX1859" fmla="*/ 3475578 w 4753603"/>
                <a:gd name="connsiteY1859" fmla="*/ 3799961 h 4331342"/>
                <a:gd name="connsiteX1860" fmla="*/ 3437982 w 4753603"/>
                <a:gd name="connsiteY1860" fmla="*/ 3818020 h 4331342"/>
                <a:gd name="connsiteX1861" fmla="*/ 3431486 w 4753603"/>
                <a:gd name="connsiteY1861" fmla="*/ 3813782 h 4331342"/>
                <a:gd name="connsiteX1862" fmla="*/ 3440516 w 4753603"/>
                <a:gd name="connsiteY1862" fmla="*/ 3779101 h 4331342"/>
                <a:gd name="connsiteX1863" fmla="*/ 3452432 w 4753603"/>
                <a:gd name="connsiteY1863" fmla="*/ 3771767 h 4331342"/>
                <a:gd name="connsiteX1864" fmla="*/ 3478330 w 4753603"/>
                <a:gd name="connsiteY1864" fmla="*/ 3741887 h 4331342"/>
                <a:gd name="connsiteX1865" fmla="*/ 3478835 w 4753603"/>
                <a:gd name="connsiteY1865" fmla="*/ 3663706 h 4331342"/>
                <a:gd name="connsiteX1866" fmla="*/ 3478492 w 4753603"/>
                <a:gd name="connsiteY1866" fmla="*/ 3654743 h 4331342"/>
                <a:gd name="connsiteX1867" fmla="*/ 3481750 w 4753603"/>
                <a:gd name="connsiteY1867" fmla="*/ 3640208 h 4331342"/>
                <a:gd name="connsiteX1868" fmla="*/ 3505181 w 4753603"/>
                <a:gd name="connsiteY1868" fmla="*/ 3642798 h 4331342"/>
                <a:gd name="connsiteX1869" fmla="*/ 3522402 w 4753603"/>
                <a:gd name="connsiteY1869" fmla="*/ 3657381 h 4331342"/>
                <a:gd name="connsiteX1870" fmla="*/ 3527327 w 4753603"/>
                <a:gd name="connsiteY1870" fmla="*/ 3631730 h 4331342"/>
                <a:gd name="connsiteX1871" fmla="*/ 3516192 w 4753603"/>
                <a:gd name="connsiteY1871" fmla="*/ 3538480 h 4331342"/>
                <a:gd name="connsiteX1872" fmla="*/ 3542891 w 4753603"/>
                <a:gd name="connsiteY1872" fmla="*/ 3462004 h 4331342"/>
                <a:gd name="connsiteX1873" fmla="*/ 3553559 w 4753603"/>
                <a:gd name="connsiteY1873" fmla="*/ 3453822 h 4331342"/>
                <a:gd name="connsiteX1874" fmla="*/ 3567779 w 4753603"/>
                <a:gd name="connsiteY1874" fmla="*/ 3452213 h 4331342"/>
                <a:gd name="connsiteX1875" fmla="*/ 3546529 w 4753603"/>
                <a:gd name="connsiteY1875" fmla="*/ 3910327 h 4331342"/>
                <a:gd name="connsiteX1876" fmla="*/ 3556407 w 4753603"/>
                <a:gd name="connsiteY1876" fmla="*/ 3919642 h 4331342"/>
                <a:gd name="connsiteX1877" fmla="*/ 3551520 w 4753603"/>
                <a:gd name="connsiteY1877" fmla="*/ 3929663 h 4331342"/>
                <a:gd name="connsiteX1878" fmla="*/ 3484474 w 4753603"/>
                <a:gd name="connsiteY1878" fmla="*/ 3921157 h 4331342"/>
                <a:gd name="connsiteX1879" fmla="*/ 3441173 w 4753603"/>
                <a:gd name="connsiteY1879" fmla="*/ 3910394 h 4331342"/>
                <a:gd name="connsiteX1880" fmla="*/ 3432600 w 4753603"/>
                <a:gd name="connsiteY1880" fmla="*/ 3906060 h 4331342"/>
                <a:gd name="connsiteX1881" fmla="*/ 3439516 w 4753603"/>
                <a:gd name="connsiteY1881" fmla="*/ 3898868 h 4331342"/>
                <a:gd name="connsiteX1882" fmla="*/ 3474425 w 4753603"/>
                <a:gd name="connsiteY1882" fmla="*/ 3893496 h 4331342"/>
                <a:gd name="connsiteX1883" fmla="*/ 3546529 w 4753603"/>
                <a:gd name="connsiteY1883" fmla="*/ 3910327 h 4331342"/>
                <a:gd name="connsiteX1884" fmla="*/ 3465519 w 4753603"/>
                <a:gd name="connsiteY1884" fmla="*/ 3474730 h 4331342"/>
                <a:gd name="connsiteX1885" fmla="*/ 3477216 w 4753603"/>
                <a:gd name="connsiteY1885" fmla="*/ 3455842 h 4331342"/>
                <a:gd name="connsiteX1886" fmla="*/ 3482073 w 4753603"/>
                <a:gd name="connsiteY1886" fmla="*/ 3484664 h 4331342"/>
                <a:gd name="connsiteX1887" fmla="*/ 3487007 w 4753603"/>
                <a:gd name="connsiteY1887" fmla="*/ 3489617 h 4331342"/>
                <a:gd name="connsiteX1888" fmla="*/ 3490646 w 4753603"/>
                <a:gd name="connsiteY1888" fmla="*/ 3483997 h 4331342"/>
                <a:gd name="connsiteX1889" fmla="*/ 3492732 w 4753603"/>
                <a:gd name="connsiteY1889" fmla="*/ 3441068 h 4331342"/>
                <a:gd name="connsiteX1890" fmla="*/ 3497590 w 4753603"/>
                <a:gd name="connsiteY1890" fmla="*/ 3429534 h 4331342"/>
                <a:gd name="connsiteX1891" fmla="*/ 3505915 w 4753603"/>
                <a:gd name="connsiteY1891" fmla="*/ 3436649 h 4331342"/>
                <a:gd name="connsiteX1892" fmla="*/ 3517383 w 4753603"/>
                <a:gd name="connsiteY1892" fmla="*/ 3435763 h 4331342"/>
                <a:gd name="connsiteX1893" fmla="*/ 3520774 w 4753603"/>
                <a:gd name="connsiteY1893" fmla="*/ 3416351 h 4331342"/>
                <a:gd name="connsiteX1894" fmla="*/ 3527279 w 4753603"/>
                <a:gd name="connsiteY1894" fmla="*/ 3397625 h 4331342"/>
                <a:gd name="connsiteX1895" fmla="*/ 3536166 w 4753603"/>
                <a:gd name="connsiteY1895" fmla="*/ 3392367 h 4331342"/>
                <a:gd name="connsiteX1896" fmla="*/ 3541966 w 4753603"/>
                <a:gd name="connsiteY1896" fmla="*/ 3400511 h 4331342"/>
                <a:gd name="connsiteX1897" fmla="*/ 3537614 w 4753603"/>
                <a:gd name="connsiteY1897" fmla="*/ 3434344 h 4331342"/>
                <a:gd name="connsiteX1898" fmla="*/ 3519440 w 4753603"/>
                <a:gd name="connsiteY1898" fmla="*/ 3464347 h 4331342"/>
                <a:gd name="connsiteX1899" fmla="*/ 3494704 w 4753603"/>
                <a:gd name="connsiteY1899" fmla="*/ 3548082 h 4331342"/>
                <a:gd name="connsiteX1900" fmla="*/ 3488046 w 4753603"/>
                <a:gd name="connsiteY1900" fmla="*/ 3572637 h 4331342"/>
                <a:gd name="connsiteX1901" fmla="*/ 3474920 w 4753603"/>
                <a:gd name="connsiteY1901" fmla="*/ 3551491 h 4331342"/>
                <a:gd name="connsiteX1902" fmla="*/ 3465519 w 4753603"/>
                <a:gd name="connsiteY1902" fmla="*/ 3474730 h 4331342"/>
                <a:gd name="connsiteX1903" fmla="*/ 3359487 w 4753603"/>
                <a:gd name="connsiteY1903" fmla="*/ 3614585 h 4331342"/>
                <a:gd name="connsiteX1904" fmla="*/ 3363535 w 4753603"/>
                <a:gd name="connsiteY1904" fmla="*/ 3568817 h 4331342"/>
                <a:gd name="connsiteX1905" fmla="*/ 3376108 w 4753603"/>
                <a:gd name="connsiteY1905" fmla="*/ 3589106 h 4331342"/>
                <a:gd name="connsiteX1906" fmla="*/ 3388319 w 4753603"/>
                <a:gd name="connsiteY1906" fmla="*/ 3536861 h 4331342"/>
                <a:gd name="connsiteX1907" fmla="*/ 3392729 w 4753603"/>
                <a:gd name="connsiteY1907" fmla="*/ 3558740 h 4331342"/>
                <a:gd name="connsiteX1908" fmla="*/ 3398653 w 4753603"/>
                <a:gd name="connsiteY1908" fmla="*/ 3570713 h 4331342"/>
                <a:gd name="connsiteX1909" fmla="*/ 3411093 w 4753603"/>
                <a:gd name="connsiteY1909" fmla="*/ 3557883 h 4331342"/>
                <a:gd name="connsiteX1910" fmla="*/ 3408912 w 4753603"/>
                <a:gd name="connsiteY1910" fmla="*/ 3539662 h 4331342"/>
                <a:gd name="connsiteX1911" fmla="*/ 3415113 w 4753603"/>
                <a:gd name="connsiteY1911" fmla="*/ 3527755 h 4331342"/>
                <a:gd name="connsiteX1912" fmla="*/ 3422056 w 4753603"/>
                <a:gd name="connsiteY1912" fmla="*/ 3537499 h 4331342"/>
                <a:gd name="connsiteX1913" fmla="*/ 3433315 w 4753603"/>
                <a:gd name="connsiteY1913" fmla="*/ 3553482 h 4331342"/>
                <a:gd name="connsiteX1914" fmla="*/ 3433543 w 4753603"/>
                <a:gd name="connsiteY1914" fmla="*/ 3516763 h 4331342"/>
                <a:gd name="connsiteX1915" fmla="*/ 3432620 w 4753603"/>
                <a:gd name="connsiteY1915" fmla="*/ 3504467 h 4331342"/>
                <a:gd name="connsiteX1916" fmla="*/ 3440678 w 4753603"/>
                <a:gd name="connsiteY1916" fmla="*/ 3493437 h 4331342"/>
                <a:gd name="connsiteX1917" fmla="*/ 3446631 w 4753603"/>
                <a:gd name="connsiteY1917" fmla="*/ 3502800 h 4331342"/>
                <a:gd name="connsiteX1918" fmla="*/ 3458528 w 4753603"/>
                <a:gd name="connsiteY1918" fmla="*/ 3572590 h 4331342"/>
                <a:gd name="connsiteX1919" fmla="*/ 3444326 w 4753603"/>
                <a:gd name="connsiteY1919" fmla="*/ 3589249 h 4331342"/>
                <a:gd name="connsiteX1920" fmla="*/ 3406016 w 4753603"/>
                <a:gd name="connsiteY1920" fmla="*/ 3633835 h 4331342"/>
                <a:gd name="connsiteX1921" fmla="*/ 3395882 w 4753603"/>
                <a:gd name="connsiteY1921" fmla="*/ 3662544 h 4331342"/>
                <a:gd name="connsiteX1922" fmla="*/ 3373965 w 4753603"/>
                <a:gd name="connsiteY1922" fmla="*/ 3676317 h 4331342"/>
                <a:gd name="connsiteX1923" fmla="*/ 3361658 w 4753603"/>
                <a:gd name="connsiteY1923" fmla="*/ 3657372 h 4331342"/>
                <a:gd name="connsiteX1924" fmla="*/ 3359487 w 4753603"/>
                <a:gd name="connsiteY1924" fmla="*/ 3614585 h 4331342"/>
                <a:gd name="connsiteX1925" fmla="*/ 3335074 w 4753603"/>
                <a:gd name="connsiteY1925" fmla="*/ 3865550 h 4331342"/>
                <a:gd name="connsiteX1926" fmla="*/ 3336998 w 4753603"/>
                <a:gd name="connsiteY1926" fmla="*/ 3821601 h 4331342"/>
                <a:gd name="connsiteX1927" fmla="*/ 3364735 w 4753603"/>
                <a:gd name="connsiteY1927" fmla="*/ 3769005 h 4331342"/>
                <a:gd name="connsiteX1928" fmla="*/ 3374593 w 4753603"/>
                <a:gd name="connsiteY1928" fmla="*/ 3761966 h 4331342"/>
                <a:gd name="connsiteX1929" fmla="*/ 3380661 w 4753603"/>
                <a:gd name="connsiteY1929" fmla="*/ 3715836 h 4331342"/>
                <a:gd name="connsiteX1930" fmla="*/ 3393319 w 4753603"/>
                <a:gd name="connsiteY1930" fmla="*/ 3697843 h 4331342"/>
                <a:gd name="connsiteX1931" fmla="*/ 3426485 w 4753603"/>
                <a:gd name="connsiteY1931" fmla="*/ 3648894 h 4331342"/>
                <a:gd name="connsiteX1932" fmla="*/ 3428057 w 4753603"/>
                <a:gd name="connsiteY1932" fmla="*/ 3642960 h 4331342"/>
                <a:gd name="connsiteX1933" fmla="*/ 3468053 w 4753603"/>
                <a:gd name="connsiteY1933" fmla="*/ 3608470 h 4331342"/>
                <a:gd name="connsiteX1934" fmla="*/ 3499009 w 4753603"/>
                <a:gd name="connsiteY1934" fmla="*/ 3614518 h 4331342"/>
                <a:gd name="connsiteX1935" fmla="*/ 3466367 w 4753603"/>
                <a:gd name="connsiteY1935" fmla="*/ 3621034 h 4331342"/>
                <a:gd name="connsiteX1936" fmla="*/ 3459404 w 4753603"/>
                <a:gd name="connsiteY1936" fmla="*/ 3636235 h 4331342"/>
                <a:gd name="connsiteX1937" fmla="*/ 3459404 w 4753603"/>
                <a:gd name="connsiteY1937" fmla="*/ 3727037 h 4331342"/>
                <a:gd name="connsiteX1938" fmla="*/ 3453175 w 4753603"/>
                <a:gd name="connsiteY1938" fmla="*/ 3738401 h 4331342"/>
                <a:gd name="connsiteX1939" fmla="*/ 3445183 w 4753603"/>
                <a:gd name="connsiteY1939" fmla="*/ 3741877 h 4331342"/>
                <a:gd name="connsiteX1940" fmla="*/ 3418570 w 4753603"/>
                <a:gd name="connsiteY1940" fmla="*/ 3778453 h 4331342"/>
                <a:gd name="connsiteX1941" fmla="*/ 3375432 w 4753603"/>
                <a:gd name="connsiteY1941" fmla="*/ 3848338 h 4331342"/>
                <a:gd name="connsiteX1942" fmla="*/ 3390500 w 4753603"/>
                <a:gd name="connsiteY1942" fmla="*/ 3797827 h 4331342"/>
                <a:gd name="connsiteX1943" fmla="*/ 3429410 w 4753603"/>
                <a:gd name="connsiteY1943" fmla="*/ 3738163 h 4331342"/>
                <a:gd name="connsiteX1944" fmla="*/ 3438030 w 4753603"/>
                <a:gd name="connsiteY1944" fmla="*/ 3726028 h 4331342"/>
                <a:gd name="connsiteX1945" fmla="*/ 3442926 w 4753603"/>
                <a:gd name="connsiteY1945" fmla="*/ 3681051 h 4331342"/>
                <a:gd name="connsiteX1946" fmla="*/ 3437620 w 4753603"/>
                <a:gd name="connsiteY1946" fmla="*/ 3678784 h 4331342"/>
                <a:gd name="connsiteX1947" fmla="*/ 3428333 w 4753603"/>
                <a:gd name="connsiteY1947" fmla="*/ 3682765 h 4331342"/>
                <a:gd name="connsiteX1948" fmla="*/ 3421990 w 4753603"/>
                <a:gd name="connsiteY1948" fmla="*/ 3686366 h 4331342"/>
                <a:gd name="connsiteX1949" fmla="*/ 3421561 w 4753603"/>
                <a:gd name="connsiteY1949" fmla="*/ 3688090 h 4331342"/>
                <a:gd name="connsiteX1950" fmla="*/ 3396987 w 4753603"/>
                <a:gd name="connsiteY1950" fmla="*/ 3711378 h 4331342"/>
                <a:gd name="connsiteX1951" fmla="*/ 3388338 w 4753603"/>
                <a:gd name="connsiteY1951" fmla="*/ 3733448 h 4331342"/>
                <a:gd name="connsiteX1952" fmla="*/ 3380623 w 4753603"/>
                <a:gd name="connsiteY1952" fmla="*/ 3771891 h 4331342"/>
                <a:gd name="connsiteX1953" fmla="*/ 3356115 w 4753603"/>
                <a:gd name="connsiteY1953" fmla="*/ 3806123 h 4331342"/>
                <a:gd name="connsiteX1954" fmla="*/ 3349390 w 4753603"/>
                <a:gd name="connsiteY1954" fmla="*/ 3856796 h 4331342"/>
                <a:gd name="connsiteX1955" fmla="*/ 3343104 w 4753603"/>
                <a:gd name="connsiteY1955" fmla="*/ 3870455 h 4331342"/>
                <a:gd name="connsiteX1956" fmla="*/ 3335074 w 4753603"/>
                <a:gd name="connsiteY1956" fmla="*/ 3865550 h 4331342"/>
                <a:gd name="connsiteX1957" fmla="*/ 3396949 w 4753603"/>
                <a:gd name="connsiteY1957" fmla="*/ 3887715 h 4331342"/>
                <a:gd name="connsiteX1958" fmla="*/ 3390976 w 4753603"/>
                <a:gd name="connsiteY1958" fmla="*/ 3895344 h 4331342"/>
                <a:gd name="connsiteX1959" fmla="*/ 3381594 w 4753603"/>
                <a:gd name="connsiteY1959" fmla="*/ 3887800 h 4331342"/>
                <a:gd name="connsiteX1960" fmla="*/ 3390976 w 4753603"/>
                <a:gd name="connsiteY1960" fmla="*/ 3880504 h 4331342"/>
                <a:gd name="connsiteX1961" fmla="*/ 3396949 w 4753603"/>
                <a:gd name="connsiteY1961" fmla="*/ 3887715 h 4331342"/>
                <a:gd name="connsiteX1962" fmla="*/ 1599819 w 4753603"/>
                <a:gd name="connsiteY1962" fmla="*/ 3622110 h 4331342"/>
                <a:gd name="connsiteX1963" fmla="*/ 1820504 w 4753603"/>
                <a:gd name="connsiteY1963" fmla="*/ 3573551 h 4331342"/>
                <a:gd name="connsiteX1964" fmla="*/ 1929813 w 4753603"/>
                <a:gd name="connsiteY1964" fmla="*/ 3557273 h 4331342"/>
                <a:gd name="connsiteX1965" fmla="*/ 2048723 w 4753603"/>
                <a:gd name="connsiteY1965" fmla="*/ 3542271 h 4331342"/>
                <a:gd name="connsiteX1966" fmla="*/ 2127409 w 4753603"/>
                <a:gd name="connsiteY1966" fmla="*/ 3535937 h 4331342"/>
                <a:gd name="connsiteX1967" fmla="*/ 2238023 w 4753603"/>
                <a:gd name="connsiteY1967" fmla="*/ 3531413 h 4331342"/>
                <a:gd name="connsiteX1968" fmla="*/ 2386422 w 4753603"/>
                <a:gd name="connsiteY1968" fmla="*/ 3529422 h 4331342"/>
                <a:gd name="connsiteX1969" fmla="*/ 2560711 w 4753603"/>
                <a:gd name="connsiteY1969" fmla="*/ 3535461 h 4331342"/>
                <a:gd name="connsiteX1970" fmla="*/ 2707110 w 4753603"/>
                <a:gd name="connsiteY1970" fmla="*/ 3547577 h 4331342"/>
                <a:gd name="connsiteX1971" fmla="*/ 2978887 w 4753603"/>
                <a:gd name="connsiteY1971" fmla="*/ 3595888 h 4331342"/>
                <a:gd name="connsiteX1972" fmla="*/ 3199857 w 4753603"/>
                <a:gd name="connsiteY1972" fmla="*/ 3654962 h 4331342"/>
                <a:gd name="connsiteX1973" fmla="*/ 3263541 w 4753603"/>
                <a:gd name="connsiteY1973" fmla="*/ 3682213 h 4331342"/>
                <a:gd name="connsiteX1974" fmla="*/ 3274324 w 4753603"/>
                <a:gd name="connsiteY1974" fmla="*/ 3693214 h 4331342"/>
                <a:gd name="connsiteX1975" fmla="*/ 3220707 w 4753603"/>
                <a:gd name="connsiteY1975" fmla="*/ 3688452 h 4331342"/>
                <a:gd name="connsiteX1976" fmla="*/ 3264665 w 4753603"/>
                <a:gd name="connsiteY1976" fmla="*/ 3720408 h 4331342"/>
                <a:gd name="connsiteX1977" fmla="*/ 3210335 w 4753603"/>
                <a:gd name="connsiteY1977" fmla="*/ 3710635 h 4331342"/>
                <a:gd name="connsiteX1978" fmla="*/ 3258779 w 4753603"/>
                <a:gd name="connsiteY1978" fmla="*/ 3747145 h 4331342"/>
                <a:gd name="connsiteX1979" fmla="*/ 3209268 w 4753603"/>
                <a:gd name="connsiteY1979" fmla="*/ 3739153 h 4331342"/>
                <a:gd name="connsiteX1980" fmla="*/ 3252568 w 4753603"/>
                <a:gd name="connsiteY1980" fmla="*/ 3776015 h 4331342"/>
                <a:gd name="connsiteX1981" fmla="*/ 3210068 w 4753603"/>
                <a:gd name="connsiteY1981" fmla="*/ 3769919 h 4331342"/>
                <a:gd name="connsiteX1982" fmla="*/ 3207744 w 4753603"/>
                <a:gd name="connsiteY1982" fmla="*/ 3772205 h 4331342"/>
                <a:gd name="connsiteX1983" fmla="*/ 3246673 w 4753603"/>
                <a:gd name="connsiteY1983" fmla="*/ 3805923 h 4331342"/>
                <a:gd name="connsiteX1984" fmla="*/ 3186656 w 4753603"/>
                <a:gd name="connsiteY1984" fmla="*/ 3794979 h 4331342"/>
                <a:gd name="connsiteX1985" fmla="*/ 2879770 w 4753603"/>
                <a:gd name="connsiteY1985" fmla="*/ 3717922 h 4331342"/>
                <a:gd name="connsiteX1986" fmla="*/ 2750849 w 4753603"/>
                <a:gd name="connsiteY1986" fmla="*/ 3697986 h 4331342"/>
                <a:gd name="connsiteX1987" fmla="*/ 2592010 w 4753603"/>
                <a:gd name="connsiteY1987" fmla="*/ 3685518 h 4331342"/>
                <a:gd name="connsiteX1988" fmla="*/ 2504666 w 4753603"/>
                <a:gd name="connsiteY1988" fmla="*/ 3683041 h 4331342"/>
                <a:gd name="connsiteX1989" fmla="*/ 2328205 w 4753603"/>
                <a:gd name="connsiteY1989" fmla="*/ 3680632 h 4331342"/>
                <a:gd name="connsiteX1990" fmla="*/ 2186931 w 4753603"/>
                <a:gd name="connsiteY1990" fmla="*/ 3686747 h 4331342"/>
                <a:gd name="connsiteX1991" fmla="*/ 2045341 w 4753603"/>
                <a:gd name="connsiteY1991" fmla="*/ 3699472 h 4331342"/>
                <a:gd name="connsiteX1992" fmla="*/ 1844088 w 4753603"/>
                <a:gd name="connsiteY1992" fmla="*/ 3729276 h 4331342"/>
                <a:gd name="connsiteX1993" fmla="*/ 1643015 w 4753603"/>
                <a:gd name="connsiteY1993" fmla="*/ 3769595 h 4331342"/>
                <a:gd name="connsiteX1994" fmla="*/ 1561710 w 4753603"/>
                <a:gd name="connsiteY1994" fmla="*/ 3783130 h 4331342"/>
                <a:gd name="connsiteX1995" fmla="*/ 1553851 w 4753603"/>
                <a:gd name="connsiteY1995" fmla="*/ 3782635 h 4331342"/>
                <a:gd name="connsiteX1996" fmla="*/ 1525229 w 4753603"/>
                <a:gd name="connsiteY1996" fmla="*/ 3773500 h 4331342"/>
                <a:gd name="connsiteX1997" fmla="*/ 1521333 w 4753603"/>
                <a:gd name="connsiteY1997" fmla="*/ 3772957 h 4331342"/>
                <a:gd name="connsiteX1998" fmla="*/ 1546327 w 4753603"/>
                <a:gd name="connsiteY1998" fmla="*/ 3747287 h 4331342"/>
                <a:gd name="connsiteX1999" fmla="*/ 1512484 w 4753603"/>
                <a:gd name="connsiteY1999" fmla="*/ 3752003 h 4331342"/>
                <a:gd name="connsiteX2000" fmla="*/ 1540593 w 4753603"/>
                <a:gd name="connsiteY2000" fmla="*/ 3722580 h 4331342"/>
                <a:gd name="connsiteX2001" fmla="*/ 1511951 w 4753603"/>
                <a:gd name="connsiteY2001" fmla="*/ 3717179 h 4331342"/>
                <a:gd name="connsiteX2002" fmla="*/ 1539297 w 4753603"/>
                <a:gd name="connsiteY2002" fmla="*/ 3683384 h 4331342"/>
                <a:gd name="connsiteX2003" fmla="*/ 1506607 w 4753603"/>
                <a:gd name="connsiteY2003" fmla="*/ 3686632 h 4331342"/>
                <a:gd name="connsiteX2004" fmla="*/ 1530639 w 4753603"/>
                <a:gd name="connsiteY2004" fmla="*/ 3655790 h 4331342"/>
                <a:gd name="connsiteX2005" fmla="*/ 1511579 w 4753603"/>
                <a:gd name="connsiteY2005" fmla="*/ 3656219 h 4331342"/>
                <a:gd name="connsiteX2006" fmla="*/ 1493215 w 4753603"/>
                <a:gd name="connsiteY2006" fmla="*/ 3657381 h 4331342"/>
                <a:gd name="connsiteX2007" fmla="*/ 1599819 w 4753603"/>
                <a:gd name="connsiteY2007" fmla="*/ 3622110 h 4331342"/>
                <a:gd name="connsiteX2008" fmla="*/ 3228318 w 4753603"/>
                <a:gd name="connsiteY2008" fmla="*/ 3863311 h 4331342"/>
                <a:gd name="connsiteX2009" fmla="*/ 3208973 w 4753603"/>
                <a:gd name="connsiteY2009" fmla="*/ 3864388 h 4331342"/>
                <a:gd name="connsiteX2010" fmla="*/ 3215583 w 4753603"/>
                <a:gd name="connsiteY2010" fmla="*/ 3870760 h 4331342"/>
                <a:gd name="connsiteX2011" fmla="*/ 3228766 w 4753603"/>
                <a:gd name="connsiteY2011" fmla="*/ 3887429 h 4331342"/>
                <a:gd name="connsiteX2012" fmla="*/ 3207725 w 4753603"/>
                <a:gd name="connsiteY2012" fmla="*/ 3891763 h 4331342"/>
                <a:gd name="connsiteX2013" fmla="*/ 3227156 w 4753603"/>
                <a:gd name="connsiteY2013" fmla="*/ 3912670 h 4331342"/>
                <a:gd name="connsiteX2014" fmla="*/ 3195514 w 4753603"/>
                <a:gd name="connsiteY2014" fmla="*/ 3918861 h 4331342"/>
                <a:gd name="connsiteX2015" fmla="*/ 3220679 w 4753603"/>
                <a:gd name="connsiteY2015" fmla="*/ 3940693 h 4331342"/>
                <a:gd name="connsiteX2016" fmla="*/ 3202486 w 4753603"/>
                <a:gd name="connsiteY2016" fmla="*/ 3941159 h 4331342"/>
                <a:gd name="connsiteX2017" fmla="*/ 3195752 w 4753603"/>
                <a:gd name="connsiteY2017" fmla="*/ 3942921 h 4331342"/>
                <a:gd name="connsiteX2018" fmla="*/ 3199190 w 4753603"/>
                <a:gd name="connsiteY2018" fmla="*/ 3948322 h 4331342"/>
                <a:gd name="connsiteX2019" fmla="*/ 3213592 w 4753603"/>
                <a:gd name="connsiteY2019" fmla="*/ 3960105 h 4331342"/>
                <a:gd name="connsiteX2020" fmla="*/ 3217126 w 4753603"/>
                <a:gd name="connsiteY2020" fmla="*/ 3967944 h 4331342"/>
                <a:gd name="connsiteX2021" fmla="*/ 3207468 w 4753603"/>
                <a:gd name="connsiteY2021" fmla="*/ 3969868 h 4331342"/>
                <a:gd name="connsiteX2022" fmla="*/ 3152632 w 4753603"/>
                <a:gd name="connsiteY2022" fmla="*/ 3951828 h 4331342"/>
                <a:gd name="connsiteX2023" fmla="*/ 2998556 w 4753603"/>
                <a:gd name="connsiteY2023" fmla="*/ 3898402 h 4331342"/>
                <a:gd name="connsiteX2024" fmla="*/ 2888990 w 4753603"/>
                <a:gd name="connsiteY2024" fmla="*/ 3873837 h 4331342"/>
                <a:gd name="connsiteX2025" fmla="*/ 2750563 w 4753603"/>
                <a:gd name="connsiteY2025" fmla="*/ 3852605 h 4331342"/>
                <a:gd name="connsiteX2026" fmla="*/ 2616651 w 4753603"/>
                <a:gd name="connsiteY2026" fmla="*/ 3841014 h 4331342"/>
                <a:gd name="connsiteX2027" fmla="*/ 2435362 w 4753603"/>
                <a:gd name="connsiteY2027" fmla="*/ 3834356 h 4331342"/>
                <a:gd name="connsiteX2028" fmla="*/ 2247900 w 4753603"/>
                <a:gd name="connsiteY2028" fmla="*/ 3835775 h 4331342"/>
                <a:gd name="connsiteX2029" fmla="*/ 2082851 w 4753603"/>
                <a:gd name="connsiteY2029" fmla="*/ 3845109 h 4331342"/>
                <a:gd name="connsiteX2030" fmla="*/ 1952835 w 4753603"/>
                <a:gd name="connsiteY2030" fmla="*/ 3858178 h 4331342"/>
                <a:gd name="connsiteX2031" fmla="*/ 1763801 w 4753603"/>
                <a:gd name="connsiteY2031" fmla="*/ 3892220 h 4331342"/>
                <a:gd name="connsiteX2032" fmla="*/ 1637900 w 4753603"/>
                <a:gd name="connsiteY2032" fmla="*/ 3914404 h 4331342"/>
                <a:gd name="connsiteX2033" fmla="*/ 1557280 w 4753603"/>
                <a:gd name="connsiteY2033" fmla="*/ 3929758 h 4331342"/>
                <a:gd name="connsiteX2034" fmla="*/ 1549137 w 4753603"/>
                <a:gd name="connsiteY2034" fmla="*/ 3927796 h 4331342"/>
                <a:gd name="connsiteX2035" fmla="*/ 1571035 w 4753603"/>
                <a:gd name="connsiteY2035" fmla="*/ 3909736 h 4331342"/>
                <a:gd name="connsiteX2036" fmla="*/ 1539631 w 4753603"/>
                <a:gd name="connsiteY2036" fmla="*/ 3904545 h 4331342"/>
                <a:gd name="connsiteX2037" fmla="*/ 1563081 w 4753603"/>
                <a:gd name="connsiteY2037" fmla="*/ 3879456 h 4331342"/>
                <a:gd name="connsiteX2038" fmla="*/ 1543479 w 4753603"/>
                <a:gd name="connsiteY2038" fmla="*/ 3879895 h 4331342"/>
                <a:gd name="connsiteX2039" fmla="*/ 1549137 w 4753603"/>
                <a:gd name="connsiteY2039" fmla="*/ 3872751 h 4331342"/>
                <a:gd name="connsiteX2040" fmla="*/ 1547994 w 4753603"/>
                <a:gd name="connsiteY2040" fmla="*/ 3856682 h 4331342"/>
                <a:gd name="connsiteX2041" fmla="*/ 1545555 w 4753603"/>
                <a:gd name="connsiteY2041" fmla="*/ 3844166 h 4331342"/>
                <a:gd name="connsiteX2042" fmla="*/ 1559328 w 4753603"/>
                <a:gd name="connsiteY2042" fmla="*/ 3827526 h 4331342"/>
                <a:gd name="connsiteX2043" fmla="*/ 1532553 w 4753603"/>
                <a:gd name="connsiteY2043" fmla="*/ 3825173 h 4331342"/>
                <a:gd name="connsiteX2044" fmla="*/ 1555814 w 4753603"/>
                <a:gd name="connsiteY2044" fmla="*/ 3807733 h 4331342"/>
                <a:gd name="connsiteX2045" fmla="*/ 1733903 w 4753603"/>
                <a:gd name="connsiteY2045" fmla="*/ 3763166 h 4331342"/>
                <a:gd name="connsiteX2046" fmla="*/ 1913906 w 4753603"/>
                <a:gd name="connsiteY2046" fmla="*/ 3734743 h 4331342"/>
                <a:gd name="connsiteX2047" fmla="*/ 2008632 w 4753603"/>
                <a:gd name="connsiteY2047" fmla="*/ 3724770 h 4331342"/>
                <a:gd name="connsiteX2048" fmla="*/ 2217049 w 4753603"/>
                <a:gd name="connsiteY2048" fmla="*/ 3710016 h 4331342"/>
                <a:gd name="connsiteX2049" fmla="*/ 2520649 w 4753603"/>
                <a:gd name="connsiteY2049" fmla="*/ 3704663 h 4331342"/>
                <a:gd name="connsiteX2050" fmla="*/ 2669067 w 4753603"/>
                <a:gd name="connsiteY2050" fmla="*/ 3710188 h 4331342"/>
                <a:gd name="connsiteX2051" fmla="*/ 2771423 w 4753603"/>
                <a:gd name="connsiteY2051" fmla="*/ 3719960 h 4331342"/>
                <a:gd name="connsiteX2052" fmla="*/ 2983630 w 4753603"/>
                <a:gd name="connsiteY2052" fmla="*/ 3760394 h 4331342"/>
                <a:gd name="connsiteX2053" fmla="*/ 3204553 w 4753603"/>
                <a:gd name="connsiteY2053" fmla="*/ 3824993 h 4331342"/>
                <a:gd name="connsiteX2054" fmla="*/ 3226137 w 4753603"/>
                <a:gd name="connsiteY2054" fmla="*/ 3837289 h 4331342"/>
                <a:gd name="connsiteX2055" fmla="*/ 3229594 w 4753603"/>
                <a:gd name="connsiteY2055" fmla="*/ 3841871 h 4331342"/>
                <a:gd name="connsiteX2056" fmla="*/ 3228318 w 4753603"/>
                <a:gd name="connsiteY2056" fmla="*/ 3863311 h 4331342"/>
                <a:gd name="connsiteX2057" fmla="*/ 1408052 w 4753603"/>
                <a:gd name="connsiteY2057" fmla="*/ 3684022 h 4331342"/>
                <a:gd name="connsiteX2058" fmla="*/ 1410138 w 4753603"/>
                <a:gd name="connsiteY2058" fmla="*/ 3727237 h 4331342"/>
                <a:gd name="connsiteX2059" fmla="*/ 1412434 w 4753603"/>
                <a:gd name="connsiteY2059" fmla="*/ 3762699 h 4331342"/>
                <a:gd name="connsiteX2060" fmla="*/ 1412500 w 4753603"/>
                <a:gd name="connsiteY2060" fmla="*/ 3763052 h 4331342"/>
                <a:gd name="connsiteX2061" fmla="*/ 1435179 w 4753603"/>
                <a:gd name="connsiteY2061" fmla="*/ 3767033 h 4331342"/>
                <a:gd name="connsiteX2062" fmla="*/ 1447381 w 4753603"/>
                <a:gd name="connsiteY2062" fmla="*/ 3777129 h 4331342"/>
                <a:gd name="connsiteX2063" fmla="*/ 1439399 w 4753603"/>
                <a:gd name="connsiteY2063" fmla="*/ 3826107 h 4331342"/>
                <a:gd name="connsiteX2064" fmla="*/ 1439513 w 4753603"/>
                <a:gd name="connsiteY2064" fmla="*/ 3826107 h 4331342"/>
                <a:gd name="connsiteX2065" fmla="*/ 1431579 w 4753603"/>
                <a:gd name="connsiteY2065" fmla="*/ 3828688 h 4331342"/>
                <a:gd name="connsiteX2066" fmla="*/ 1424159 w 4753603"/>
                <a:gd name="connsiteY2066" fmla="*/ 3807905 h 4331342"/>
                <a:gd name="connsiteX2067" fmla="*/ 1411110 w 4753603"/>
                <a:gd name="connsiteY2067" fmla="*/ 3789083 h 4331342"/>
                <a:gd name="connsiteX2068" fmla="*/ 1405376 w 4753603"/>
                <a:gd name="connsiteY2068" fmla="*/ 3793551 h 4331342"/>
                <a:gd name="connsiteX2069" fmla="*/ 1388993 w 4753603"/>
                <a:gd name="connsiteY2069" fmla="*/ 3789407 h 4331342"/>
                <a:gd name="connsiteX2070" fmla="*/ 1384040 w 4753603"/>
                <a:gd name="connsiteY2070" fmla="*/ 3738182 h 4331342"/>
                <a:gd name="connsiteX2071" fmla="*/ 1385773 w 4753603"/>
                <a:gd name="connsiteY2071" fmla="*/ 3718532 h 4331342"/>
                <a:gd name="connsiteX2072" fmla="*/ 1376734 w 4753603"/>
                <a:gd name="connsiteY2072" fmla="*/ 3706397 h 4331342"/>
                <a:gd name="connsiteX2073" fmla="*/ 1366971 w 4753603"/>
                <a:gd name="connsiteY2073" fmla="*/ 3720236 h 4331342"/>
                <a:gd name="connsiteX2074" fmla="*/ 1359160 w 4753603"/>
                <a:gd name="connsiteY2074" fmla="*/ 3760251 h 4331342"/>
                <a:gd name="connsiteX2075" fmla="*/ 1347616 w 4753603"/>
                <a:gd name="connsiteY2075" fmla="*/ 3752050 h 4331342"/>
                <a:gd name="connsiteX2076" fmla="*/ 1342473 w 4753603"/>
                <a:gd name="connsiteY2076" fmla="*/ 3710235 h 4331342"/>
                <a:gd name="connsiteX2077" fmla="*/ 1361342 w 4753603"/>
                <a:gd name="connsiteY2077" fmla="*/ 3653343 h 4331342"/>
                <a:gd name="connsiteX2078" fmla="*/ 1398289 w 4753603"/>
                <a:gd name="connsiteY2078" fmla="*/ 3668049 h 4331342"/>
                <a:gd name="connsiteX2079" fmla="*/ 1408052 w 4753603"/>
                <a:gd name="connsiteY2079" fmla="*/ 3684022 h 4331342"/>
                <a:gd name="connsiteX2080" fmla="*/ 1337348 w 4753603"/>
                <a:gd name="connsiteY2080" fmla="*/ 3433201 h 4331342"/>
                <a:gd name="connsiteX2081" fmla="*/ 1339272 w 4753603"/>
                <a:gd name="connsiteY2081" fmla="*/ 3457899 h 4331342"/>
                <a:gd name="connsiteX2082" fmla="*/ 1335072 w 4753603"/>
                <a:gd name="connsiteY2082" fmla="*/ 3471034 h 4331342"/>
                <a:gd name="connsiteX2083" fmla="*/ 1338539 w 4753603"/>
                <a:gd name="connsiteY2083" fmla="*/ 3481159 h 4331342"/>
                <a:gd name="connsiteX2084" fmla="*/ 1345921 w 4753603"/>
                <a:gd name="connsiteY2084" fmla="*/ 3473225 h 4331342"/>
                <a:gd name="connsiteX2085" fmla="*/ 1354169 w 4753603"/>
                <a:gd name="connsiteY2085" fmla="*/ 3455480 h 4331342"/>
                <a:gd name="connsiteX2086" fmla="*/ 1363475 w 4753603"/>
                <a:gd name="connsiteY2086" fmla="*/ 3516306 h 4331342"/>
                <a:gd name="connsiteX2087" fmla="*/ 1375134 w 4753603"/>
                <a:gd name="connsiteY2087" fmla="*/ 3492484 h 4331342"/>
                <a:gd name="connsiteX2088" fmla="*/ 1383973 w 4753603"/>
                <a:gd name="connsiteY2088" fmla="*/ 3533994 h 4331342"/>
                <a:gd name="connsiteX2089" fmla="*/ 1385011 w 4753603"/>
                <a:gd name="connsiteY2089" fmla="*/ 3616795 h 4331342"/>
                <a:gd name="connsiteX2090" fmla="*/ 1374324 w 4753603"/>
                <a:gd name="connsiteY2090" fmla="*/ 3623177 h 4331342"/>
                <a:gd name="connsiteX2091" fmla="*/ 1344949 w 4753603"/>
                <a:gd name="connsiteY2091" fmla="*/ 3635778 h 4331342"/>
                <a:gd name="connsiteX2092" fmla="*/ 1337920 w 4753603"/>
                <a:gd name="connsiteY2092" fmla="*/ 3656124 h 4331342"/>
                <a:gd name="connsiteX2093" fmla="*/ 1332414 w 4753603"/>
                <a:gd name="connsiteY2093" fmla="*/ 3676288 h 4331342"/>
                <a:gd name="connsiteX2094" fmla="*/ 1328499 w 4753603"/>
                <a:gd name="connsiteY2094" fmla="*/ 3651542 h 4331342"/>
                <a:gd name="connsiteX2095" fmla="*/ 1312602 w 4753603"/>
                <a:gd name="connsiteY2095" fmla="*/ 3592430 h 4331342"/>
                <a:gd name="connsiteX2096" fmla="*/ 1309221 w 4753603"/>
                <a:gd name="connsiteY2096" fmla="*/ 3546139 h 4331342"/>
                <a:gd name="connsiteX2097" fmla="*/ 1328795 w 4753603"/>
                <a:gd name="connsiteY2097" fmla="*/ 3454803 h 4331342"/>
                <a:gd name="connsiteX2098" fmla="*/ 1337348 w 4753603"/>
                <a:gd name="connsiteY2098" fmla="*/ 3433201 h 4331342"/>
                <a:gd name="connsiteX2099" fmla="*/ 1231783 w 4753603"/>
                <a:gd name="connsiteY2099" fmla="*/ 3328407 h 4331342"/>
                <a:gd name="connsiteX2100" fmla="*/ 1238469 w 4753603"/>
                <a:gd name="connsiteY2100" fmla="*/ 3321349 h 4331342"/>
                <a:gd name="connsiteX2101" fmla="*/ 1244013 w 4753603"/>
                <a:gd name="connsiteY2101" fmla="*/ 3331274 h 4331342"/>
                <a:gd name="connsiteX2102" fmla="*/ 1240688 w 4753603"/>
                <a:gd name="connsiteY2102" fmla="*/ 3347676 h 4331342"/>
                <a:gd name="connsiteX2103" fmla="*/ 1243917 w 4753603"/>
                <a:gd name="connsiteY2103" fmla="*/ 3367964 h 4331342"/>
                <a:gd name="connsiteX2104" fmla="*/ 1252747 w 4753603"/>
                <a:gd name="connsiteY2104" fmla="*/ 3353819 h 4331342"/>
                <a:gd name="connsiteX2105" fmla="*/ 1260872 w 4753603"/>
                <a:gd name="connsiteY2105" fmla="*/ 3345923 h 4331342"/>
                <a:gd name="connsiteX2106" fmla="*/ 1266549 w 4753603"/>
                <a:gd name="connsiteY2106" fmla="*/ 3355982 h 4331342"/>
                <a:gd name="connsiteX2107" fmla="*/ 1266873 w 4753603"/>
                <a:gd name="connsiteY2107" fmla="*/ 3390700 h 4331342"/>
                <a:gd name="connsiteX2108" fmla="*/ 1277169 w 4753603"/>
                <a:gd name="connsiteY2108" fmla="*/ 3380299 h 4331342"/>
                <a:gd name="connsiteX2109" fmla="*/ 1287790 w 4753603"/>
                <a:gd name="connsiteY2109" fmla="*/ 3371460 h 4331342"/>
                <a:gd name="connsiteX2110" fmla="*/ 1292019 w 4753603"/>
                <a:gd name="connsiteY2110" fmla="*/ 3384261 h 4331342"/>
                <a:gd name="connsiteX2111" fmla="*/ 1292257 w 4753603"/>
                <a:gd name="connsiteY2111" fmla="*/ 3410426 h 4331342"/>
                <a:gd name="connsiteX2112" fmla="*/ 1294762 w 4753603"/>
                <a:gd name="connsiteY2112" fmla="*/ 3417208 h 4331342"/>
                <a:gd name="connsiteX2113" fmla="*/ 1301734 w 4753603"/>
                <a:gd name="connsiteY2113" fmla="*/ 3413227 h 4331342"/>
                <a:gd name="connsiteX2114" fmla="*/ 1314841 w 4753603"/>
                <a:gd name="connsiteY2114" fmla="*/ 3416351 h 4331342"/>
                <a:gd name="connsiteX2115" fmla="*/ 1310811 w 4753603"/>
                <a:gd name="connsiteY2115" fmla="*/ 3461014 h 4331342"/>
                <a:gd name="connsiteX2116" fmla="*/ 1298915 w 4753603"/>
                <a:gd name="connsiteY2116" fmla="*/ 3524374 h 4331342"/>
                <a:gd name="connsiteX2117" fmla="*/ 1274359 w 4753603"/>
                <a:gd name="connsiteY2117" fmla="*/ 3554692 h 4331342"/>
                <a:gd name="connsiteX2118" fmla="*/ 1281160 w 4753603"/>
                <a:gd name="connsiteY2118" fmla="*/ 3510858 h 4331342"/>
                <a:gd name="connsiteX2119" fmla="*/ 1280541 w 4753603"/>
                <a:gd name="connsiteY2119" fmla="*/ 3478740 h 4331342"/>
                <a:gd name="connsiteX2120" fmla="*/ 1252223 w 4753603"/>
                <a:gd name="connsiteY2120" fmla="*/ 3402673 h 4331342"/>
                <a:gd name="connsiteX2121" fmla="*/ 1235012 w 4753603"/>
                <a:gd name="connsiteY2121" fmla="*/ 3384547 h 4331342"/>
                <a:gd name="connsiteX2122" fmla="*/ 1221496 w 4753603"/>
                <a:gd name="connsiteY2122" fmla="*/ 3363449 h 4331342"/>
                <a:gd name="connsiteX2123" fmla="*/ 1231783 w 4753603"/>
                <a:gd name="connsiteY2123" fmla="*/ 3328407 h 4331342"/>
                <a:gd name="connsiteX2124" fmla="*/ 1165746 w 4753603"/>
                <a:gd name="connsiteY2124" fmla="*/ 3218136 h 4331342"/>
                <a:gd name="connsiteX2125" fmla="*/ 1175147 w 4753603"/>
                <a:gd name="connsiteY2125" fmla="*/ 3243234 h 4331342"/>
                <a:gd name="connsiteX2126" fmla="*/ 1178166 w 4753603"/>
                <a:gd name="connsiteY2126" fmla="*/ 3249302 h 4331342"/>
                <a:gd name="connsiteX2127" fmla="*/ 1194321 w 4753603"/>
                <a:gd name="connsiteY2127" fmla="*/ 3274914 h 4331342"/>
                <a:gd name="connsiteX2128" fmla="*/ 1204084 w 4753603"/>
                <a:gd name="connsiteY2128" fmla="*/ 3283944 h 4331342"/>
                <a:gd name="connsiteX2129" fmla="*/ 1212475 w 4753603"/>
                <a:gd name="connsiteY2129" fmla="*/ 3293612 h 4331342"/>
                <a:gd name="connsiteX2130" fmla="*/ 1208980 w 4753603"/>
                <a:gd name="connsiteY2130" fmla="*/ 3299965 h 4331342"/>
                <a:gd name="connsiteX2131" fmla="*/ 1197788 w 4753603"/>
                <a:gd name="connsiteY2131" fmla="*/ 3294583 h 4331342"/>
                <a:gd name="connsiteX2132" fmla="*/ 1163536 w 4753603"/>
                <a:gd name="connsiteY2132" fmla="*/ 3253578 h 4331342"/>
                <a:gd name="connsiteX2133" fmla="*/ 1165746 w 4753603"/>
                <a:gd name="connsiteY2133" fmla="*/ 3218136 h 4331342"/>
                <a:gd name="connsiteX2134" fmla="*/ 1153659 w 4753603"/>
                <a:gd name="connsiteY2134" fmla="*/ 3271590 h 4331342"/>
                <a:gd name="connsiteX2135" fmla="*/ 1169346 w 4753603"/>
                <a:gd name="connsiteY2135" fmla="*/ 3298584 h 4331342"/>
                <a:gd name="connsiteX2136" fmla="*/ 1187625 w 4753603"/>
                <a:gd name="connsiteY2136" fmla="*/ 3332959 h 4331342"/>
                <a:gd name="connsiteX2137" fmla="*/ 1188177 w 4753603"/>
                <a:gd name="connsiteY2137" fmla="*/ 3336160 h 4331342"/>
                <a:gd name="connsiteX2138" fmla="*/ 1196169 w 4753603"/>
                <a:gd name="connsiteY2138" fmla="*/ 3377336 h 4331342"/>
                <a:gd name="connsiteX2139" fmla="*/ 1217152 w 4753603"/>
                <a:gd name="connsiteY2139" fmla="*/ 3397958 h 4331342"/>
                <a:gd name="connsiteX2140" fmla="*/ 1233345 w 4753603"/>
                <a:gd name="connsiteY2140" fmla="*/ 3412751 h 4331342"/>
                <a:gd name="connsiteX2141" fmla="*/ 1251290 w 4753603"/>
                <a:gd name="connsiteY2141" fmla="*/ 3468472 h 4331342"/>
                <a:gd name="connsiteX2142" fmla="*/ 1256290 w 4753603"/>
                <a:gd name="connsiteY2142" fmla="*/ 3530108 h 4331342"/>
                <a:gd name="connsiteX2143" fmla="*/ 1251109 w 4753603"/>
                <a:gd name="connsiteY2143" fmla="*/ 3542453 h 4331342"/>
                <a:gd name="connsiteX2144" fmla="*/ 1244241 w 4753603"/>
                <a:gd name="connsiteY2144" fmla="*/ 3572752 h 4331342"/>
                <a:gd name="connsiteX2145" fmla="*/ 1288923 w 4753603"/>
                <a:gd name="connsiteY2145" fmla="*/ 3585058 h 4331342"/>
                <a:gd name="connsiteX2146" fmla="*/ 1304430 w 4753603"/>
                <a:gd name="connsiteY2146" fmla="*/ 3628739 h 4331342"/>
                <a:gd name="connsiteX2147" fmla="*/ 1307230 w 4753603"/>
                <a:gd name="connsiteY2147" fmla="*/ 3642465 h 4331342"/>
                <a:gd name="connsiteX2148" fmla="*/ 1307230 w 4753603"/>
                <a:gd name="connsiteY2148" fmla="*/ 3700939 h 4331342"/>
                <a:gd name="connsiteX2149" fmla="*/ 1328890 w 4753603"/>
                <a:gd name="connsiteY2149" fmla="*/ 3759013 h 4331342"/>
                <a:gd name="connsiteX2150" fmla="*/ 1331243 w 4753603"/>
                <a:gd name="connsiteY2150" fmla="*/ 3769567 h 4331342"/>
                <a:gd name="connsiteX2151" fmla="*/ 1336148 w 4753603"/>
                <a:gd name="connsiteY2151" fmla="*/ 3774453 h 4331342"/>
                <a:gd name="connsiteX2152" fmla="*/ 1340291 w 4753603"/>
                <a:gd name="connsiteY2152" fmla="*/ 3790283 h 4331342"/>
                <a:gd name="connsiteX2153" fmla="*/ 1324013 w 4753603"/>
                <a:gd name="connsiteY2153" fmla="*/ 3788340 h 4331342"/>
                <a:gd name="connsiteX2154" fmla="*/ 1270987 w 4753603"/>
                <a:gd name="connsiteY2154" fmla="*/ 3705987 h 4331342"/>
                <a:gd name="connsiteX2155" fmla="*/ 1276036 w 4753603"/>
                <a:gd name="connsiteY2155" fmla="*/ 3637655 h 4331342"/>
                <a:gd name="connsiteX2156" fmla="*/ 1271359 w 4753603"/>
                <a:gd name="connsiteY2156" fmla="*/ 3627063 h 4331342"/>
                <a:gd name="connsiteX2157" fmla="*/ 1257462 w 4753603"/>
                <a:gd name="connsiteY2157" fmla="*/ 3647399 h 4331342"/>
                <a:gd name="connsiteX2158" fmla="*/ 1243498 w 4753603"/>
                <a:gd name="connsiteY2158" fmla="*/ 3726285 h 4331342"/>
                <a:gd name="connsiteX2159" fmla="*/ 1231906 w 4753603"/>
                <a:gd name="connsiteY2159" fmla="*/ 3715427 h 4331342"/>
                <a:gd name="connsiteX2160" fmla="*/ 1178147 w 4753603"/>
                <a:gd name="connsiteY2160" fmla="*/ 3617509 h 4331342"/>
                <a:gd name="connsiteX2161" fmla="*/ 1194854 w 4753603"/>
                <a:gd name="connsiteY2161" fmla="*/ 3495856 h 4331342"/>
                <a:gd name="connsiteX2162" fmla="*/ 1197216 w 4753603"/>
                <a:gd name="connsiteY2162" fmla="*/ 3465824 h 4331342"/>
                <a:gd name="connsiteX2163" fmla="*/ 1191530 w 4753603"/>
                <a:gd name="connsiteY2163" fmla="*/ 3462271 h 4331342"/>
                <a:gd name="connsiteX2164" fmla="*/ 1175737 w 4753603"/>
                <a:gd name="connsiteY2164" fmla="*/ 3490093 h 4331342"/>
                <a:gd name="connsiteX2165" fmla="*/ 1169022 w 4753603"/>
                <a:gd name="connsiteY2165" fmla="*/ 3512239 h 4331342"/>
                <a:gd name="connsiteX2166" fmla="*/ 1168698 w 4753603"/>
                <a:gd name="connsiteY2166" fmla="*/ 3513963 h 4331342"/>
                <a:gd name="connsiteX2167" fmla="*/ 1165231 w 4753603"/>
                <a:gd name="connsiteY2167" fmla="*/ 3531413 h 4331342"/>
                <a:gd name="connsiteX2168" fmla="*/ 1159431 w 4753603"/>
                <a:gd name="connsiteY2168" fmla="*/ 3538623 h 4331342"/>
                <a:gd name="connsiteX2169" fmla="*/ 1153963 w 4753603"/>
                <a:gd name="connsiteY2169" fmla="*/ 3530508 h 4331342"/>
                <a:gd name="connsiteX2170" fmla="*/ 1150220 w 4753603"/>
                <a:gd name="connsiteY2170" fmla="*/ 3366907 h 4331342"/>
                <a:gd name="connsiteX2171" fmla="*/ 1148401 w 4753603"/>
                <a:gd name="connsiteY2171" fmla="*/ 3350333 h 4331342"/>
                <a:gd name="connsiteX2172" fmla="*/ 1136656 w 4753603"/>
                <a:gd name="connsiteY2172" fmla="*/ 3333550 h 4331342"/>
                <a:gd name="connsiteX2173" fmla="*/ 1127408 w 4753603"/>
                <a:gd name="connsiteY2173" fmla="*/ 3351257 h 4331342"/>
                <a:gd name="connsiteX2174" fmla="*/ 1128551 w 4753603"/>
                <a:gd name="connsiteY2174" fmla="*/ 3490836 h 4331342"/>
                <a:gd name="connsiteX2175" fmla="*/ 1127255 w 4753603"/>
                <a:gd name="connsiteY2175" fmla="*/ 3493551 h 4331342"/>
                <a:gd name="connsiteX2176" fmla="*/ 1125074 w 4753603"/>
                <a:gd name="connsiteY2176" fmla="*/ 3492989 h 4331342"/>
                <a:gd name="connsiteX2177" fmla="*/ 1102766 w 4753603"/>
                <a:gd name="connsiteY2177" fmla="*/ 3465490 h 4331342"/>
                <a:gd name="connsiteX2178" fmla="*/ 1071953 w 4753603"/>
                <a:gd name="connsiteY2178" fmla="*/ 3459804 h 4331342"/>
                <a:gd name="connsiteX2179" fmla="*/ 1071667 w 4753603"/>
                <a:gd name="connsiteY2179" fmla="*/ 3464824 h 4331342"/>
                <a:gd name="connsiteX2180" fmla="*/ 1078402 w 4753603"/>
                <a:gd name="connsiteY2180" fmla="*/ 3474520 h 4331342"/>
                <a:gd name="connsiteX2181" fmla="*/ 1078316 w 4753603"/>
                <a:gd name="connsiteY2181" fmla="*/ 3474520 h 4331342"/>
                <a:gd name="connsiteX2182" fmla="*/ 1082964 w 4753603"/>
                <a:gd name="connsiteY2182" fmla="*/ 3481769 h 4331342"/>
                <a:gd name="connsiteX2183" fmla="*/ 1083440 w 4753603"/>
                <a:gd name="connsiteY2183" fmla="*/ 3482369 h 4331342"/>
                <a:gd name="connsiteX2184" fmla="*/ 1125731 w 4753603"/>
                <a:gd name="connsiteY2184" fmla="*/ 3548386 h 4331342"/>
                <a:gd name="connsiteX2185" fmla="*/ 1137999 w 4753603"/>
                <a:gd name="connsiteY2185" fmla="*/ 3569903 h 4331342"/>
                <a:gd name="connsiteX2186" fmla="*/ 1168689 w 4753603"/>
                <a:gd name="connsiteY2186" fmla="*/ 3640693 h 4331342"/>
                <a:gd name="connsiteX2187" fmla="*/ 1169556 w 4753603"/>
                <a:gd name="connsiteY2187" fmla="*/ 3643932 h 4331342"/>
                <a:gd name="connsiteX2188" fmla="*/ 1172813 w 4753603"/>
                <a:gd name="connsiteY2188" fmla="*/ 3653533 h 4331342"/>
                <a:gd name="connsiteX2189" fmla="*/ 1173985 w 4753603"/>
                <a:gd name="connsiteY2189" fmla="*/ 3670430 h 4331342"/>
                <a:gd name="connsiteX2190" fmla="*/ 1156773 w 4753603"/>
                <a:gd name="connsiteY2190" fmla="*/ 3666192 h 4331342"/>
                <a:gd name="connsiteX2191" fmla="*/ 1125588 w 4753603"/>
                <a:gd name="connsiteY2191" fmla="*/ 3663544 h 4331342"/>
                <a:gd name="connsiteX2192" fmla="*/ 1128074 w 4753603"/>
                <a:gd name="connsiteY2192" fmla="*/ 3675031 h 4331342"/>
                <a:gd name="connsiteX2193" fmla="*/ 1156888 w 4753603"/>
                <a:gd name="connsiteY2193" fmla="*/ 3690061 h 4331342"/>
                <a:gd name="connsiteX2194" fmla="*/ 1169451 w 4753603"/>
                <a:gd name="connsiteY2194" fmla="*/ 3694262 h 4331342"/>
                <a:gd name="connsiteX2195" fmla="*/ 1182205 w 4753603"/>
                <a:gd name="connsiteY2195" fmla="*/ 3702539 h 4331342"/>
                <a:gd name="connsiteX2196" fmla="*/ 1197836 w 4753603"/>
                <a:gd name="connsiteY2196" fmla="*/ 3714979 h 4331342"/>
                <a:gd name="connsiteX2197" fmla="*/ 1204474 w 4753603"/>
                <a:gd name="connsiteY2197" fmla="*/ 3721446 h 4331342"/>
                <a:gd name="connsiteX2198" fmla="*/ 1206894 w 4753603"/>
                <a:gd name="connsiteY2198" fmla="*/ 3723837 h 4331342"/>
                <a:gd name="connsiteX2199" fmla="*/ 1230354 w 4753603"/>
                <a:gd name="connsiteY2199" fmla="*/ 3746878 h 4331342"/>
                <a:gd name="connsiteX2200" fmla="*/ 1231402 w 4753603"/>
                <a:gd name="connsiteY2200" fmla="*/ 3747926 h 4331342"/>
                <a:gd name="connsiteX2201" fmla="*/ 1228506 w 4753603"/>
                <a:gd name="connsiteY2201" fmla="*/ 3763928 h 4331342"/>
                <a:gd name="connsiteX2202" fmla="*/ 1233002 w 4753603"/>
                <a:gd name="connsiteY2202" fmla="*/ 3785407 h 4331342"/>
                <a:gd name="connsiteX2203" fmla="*/ 1277626 w 4753603"/>
                <a:gd name="connsiteY2203" fmla="*/ 3795646 h 4331342"/>
                <a:gd name="connsiteX2204" fmla="*/ 1297372 w 4753603"/>
                <a:gd name="connsiteY2204" fmla="*/ 3809229 h 4331342"/>
                <a:gd name="connsiteX2205" fmla="*/ 1177033 w 4753603"/>
                <a:gd name="connsiteY2205" fmla="*/ 3784835 h 4331342"/>
                <a:gd name="connsiteX2206" fmla="*/ 1181853 w 4753603"/>
                <a:gd name="connsiteY2206" fmla="*/ 3769147 h 4331342"/>
                <a:gd name="connsiteX2207" fmla="*/ 1162374 w 4753603"/>
                <a:gd name="connsiteY2207" fmla="*/ 3730647 h 4331342"/>
                <a:gd name="connsiteX2208" fmla="*/ 1160850 w 4753603"/>
                <a:gd name="connsiteY2208" fmla="*/ 3730428 h 4331342"/>
                <a:gd name="connsiteX2209" fmla="*/ 1074496 w 4753603"/>
                <a:gd name="connsiteY2209" fmla="*/ 3657991 h 4331342"/>
                <a:gd name="connsiteX2210" fmla="*/ 1059885 w 4753603"/>
                <a:gd name="connsiteY2210" fmla="*/ 3629520 h 4331342"/>
                <a:gd name="connsiteX2211" fmla="*/ 1073144 w 4753603"/>
                <a:gd name="connsiteY2211" fmla="*/ 3604117 h 4331342"/>
                <a:gd name="connsiteX2212" fmla="*/ 1083955 w 4753603"/>
                <a:gd name="connsiteY2212" fmla="*/ 3578257 h 4331342"/>
                <a:gd name="connsiteX2213" fmla="*/ 1039178 w 4753603"/>
                <a:gd name="connsiteY2213" fmla="*/ 3472339 h 4331342"/>
                <a:gd name="connsiteX2214" fmla="*/ 1037215 w 4753603"/>
                <a:gd name="connsiteY2214" fmla="*/ 3412436 h 4331342"/>
                <a:gd name="connsiteX2215" fmla="*/ 1039606 w 4753603"/>
                <a:gd name="connsiteY2215" fmla="*/ 3406111 h 4331342"/>
                <a:gd name="connsiteX2216" fmla="*/ 1039940 w 4753603"/>
                <a:gd name="connsiteY2216" fmla="*/ 3406111 h 4331342"/>
                <a:gd name="connsiteX2217" fmla="*/ 1093403 w 4753603"/>
                <a:gd name="connsiteY2217" fmla="*/ 3400492 h 4331342"/>
                <a:gd name="connsiteX2218" fmla="*/ 1090746 w 4753603"/>
                <a:gd name="connsiteY2218" fmla="*/ 3350714 h 4331342"/>
                <a:gd name="connsiteX2219" fmla="*/ 1077820 w 4753603"/>
                <a:gd name="connsiteY2219" fmla="*/ 3298374 h 4331342"/>
                <a:gd name="connsiteX2220" fmla="*/ 1109310 w 4753603"/>
                <a:gd name="connsiteY2220" fmla="*/ 3252835 h 4331342"/>
                <a:gd name="connsiteX2221" fmla="*/ 1153659 w 4753603"/>
                <a:gd name="connsiteY2221" fmla="*/ 3271590 h 4331342"/>
                <a:gd name="connsiteX2222" fmla="*/ 1336377 w 4753603"/>
                <a:gd name="connsiteY2222" fmla="*/ 3872189 h 4331342"/>
                <a:gd name="connsiteX2223" fmla="*/ 1216495 w 4753603"/>
                <a:gd name="connsiteY2223" fmla="*/ 3906479 h 4331342"/>
                <a:gd name="connsiteX2224" fmla="*/ 1226191 w 4753603"/>
                <a:gd name="connsiteY2224" fmla="*/ 3888581 h 4331342"/>
                <a:gd name="connsiteX2225" fmla="*/ 1336377 w 4753603"/>
                <a:gd name="connsiteY2225" fmla="*/ 3872189 h 4331342"/>
                <a:gd name="connsiteX2226" fmla="*/ 1026081 w 4753603"/>
                <a:gd name="connsiteY2226" fmla="*/ 3665477 h 4331342"/>
                <a:gd name="connsiteX2227" fmla="*/ 1007593 w 4753603"/>
                <a:gd name="connsiteY2227" fmla="*/ 3650199 h 4331342"/>
                <a:gd name="connsiteX2228" fmla="*/ 1004707 w 4753603"/>
                <a:gd name="connsiteY2228" fmla="*/ 3607594 h 4331342"/>
                <a:gd name="connsiteX2229" fmla="*/ 1034282 w 4753603"/>
                <a:gd name="connsiteY2229" fmla="*/ 3616290 h 4331342"/>
                <a:gd name="connsiteX2230" fmla="*/ 1026081 w 4753603"/>
                <a:gd name="connsiteY2230" fmla="*/ 3665477 h 4331342"/>
                <a:gd name="connsiteX2231" fmla="*/ 1125436 w 4753603"/>
                <a:gd name="connsiteY2231" fmla="*/ 3172835 h 4331342"/>
                <a:gd name="connsiteX2232" fmla="*/ 1114663 w 4753603"/>
                <a:gd name="connsiteY2232" fmla="*/ 3218136 h 4331342"/>
                <a:gd name="connsiteX2233" fmla="*/ 1097347 w 4753603"/>
                <a:gd name="connsiteY2233" fmla="*/ 3216069 h 4331342"/>
                <a:gd name="connsiteX2234" fmla="*/ 1085698 w 4753603"/>
                <a:gd name="connsiteY2234" fmla="*/ 3203515 h 4331342"/>
                <a:gd name="connsiteX2235" fmla="*/ 1068295 w 4753603"/>
                <a:gd name="connsiteY2235" fmla="*/ 3172177 h 4331342"/>
                <a:gd name="connsiteX2236" fmla="*/ 1065457 w 4753603"/>
                <a:gd name="connsiteY2236" fmla="*/ 3145555 h 4331342"/>
                <a:gd name="connsiteX2237" fmla="*/ 1055437 w 4753603"/>
                <a:gd name="connsiteY2237" fmla="*/ 3121324 h 4331342"/>
                <a:gd name="connsiteX2238" fmla="*/ 1125436 w 4753603"/>
                <a:gd name="connsiteY2238" fmla="*/ 3172835 h 4331342"/>
                <a:gd name="connsiteX2239" fmla="*/ 1002411 w 4753603"/>
                <a:gd name="connsiteY2239" fmla="*/ 3087948 h 4331342"/>
                <a:gd name="connsiteX2240" fmla="*/ 1018565 w 4753603"/>
                <a:gd name="connsiteY2240" fmla="*/ 3088977 h 4331342"/>
                <a:gd name="connsiteX2241" fmla="*/ 1036730 w 4753603"/>
                <a:gd name="connsiteY2241" fmla="*/ 3135621 h 4331342"/>
                <a:gd name="connsiteX2242" fmla="*/ 1040559 w 4753603"/>
                <a:gd name="connsiteY2242" fmla="*/ 3147813 h 4331342"/>
                <a:gd name="connsiteX2243" fmla="*/ 1044854 w 4753603"/>
                <a:gd name="connsiteY2243" fmla="*/ 3178864 h 4331342"/>
                <a:gd name="connsiteX2244" fmla="*/ 1043969 w 4753603"/>
                <a:gd name="connsiteY2244" fmla="*/ 3215240 h 4331342"/>
                <a:gd name="connsiteX2245" fmla="*/ 1065076 w 4753603"/>
                <a:gd name="connsiteY2245" fmla="*/ 3218726 h 4331342"/>
                <a:gd name="connsiteX2246" fmla="*/ 1080840 w 4753603"/>
                <a:gd name="connsiteY2246" fmla="*/ 3236700 h 4331342"/>
                <a:gd name="connsiteX2247" fmla="*/ 1068705 w 4753603"/>
                <a:gd name="connsiteY2247" fmla="*/ 3261770 h 4331342"/>
                <a:gd name="connsiteX2248" fmla="*/ 1060475 w 4753603"/>
                <a:gd name="connsiteY2248" fmla="*/ 3319167 h 4331342"/>
                <a:gd name="connsiteX2249" fmla="*/ 1062847 w 4753603"/>
                <a:gd name="connsiteY2249" fmla="*/ 3337103 h 4331342"/>
                <a:gd name="connsiteX2250" fmla="*/ 1068286 w 4753603"/>
                <a:gd name="connsiteY2250" fmla="*/ 3354981 h 4331342"/>
                <a:gd name="connsiteX2251" fmla="*/ 1068762 w 4753603"/>
                <a:gd name="connsiteY2251" fmla="*/ 3359572 h 4331342"/>
                <a:gd name="connsiteX2252" fmla="*/ 1065543 w 4753603"/>
                <a:gd name="connsiteY2252" fmla="*/ 3380223 h 4331342"/>
                <a:gd name="connsiteX2253" fmla="*/ 1046826 w 4753603"/>
                <a:gd name="connsiteY2253" fmla="*/ 3379203 h 4331342"/>
                <a:gd name="connsiteX2254" fmla="*/ 1033767 w 4753603"/>
                <a:gd name="connsiteY2254" fmla="*/ 3362801 h 4331342"/>
                <a:gd name="connsiteX2255" fmla="*/ 1037768 w 4753603"/>
                <a:gd name="connsiteY2255" fmla="*/ 3283306 h 4331342"/>
                <a:gd name="connsiteX2256" fmla="*/ 1036796 w 4753603"/>
                <a:gd name="connsiteY2256" fmla="*/ 3267418 h 4331342"/>
                <a:gd name="connsiteX2257" fmla="*/ 1021852 w 4753603"/>
                <a:gd name="connsiteY2257" fmla="*/ 3271209 h 4331342"/>
                <a:gd name="connsiteX2258" fmla="*/ 1015908 w 4753603"/>
                <a:gd name="connsiteY2258" fmla="*/ 3283306 h 4331342"/>
                <a:gd name="connsiteX2259" fmla="*/ 1011660 w 4753603"/>
                <a:gd name="connsiteY2259" fmla="*/ 3286239 h 4331342"/>
                <a:gd name="connsiteX2260" fmla="*/ 1008659 w 4753603"/>
                <a:gd name="connsiteY2260" fmla="*/ 3280743 h 4331342"/>
                <a:gd name="connsiteX2261" fmla="*/ 1008659 w 4753603"/>
                <a:gd name="connsiteY2261" fmla="*/ 3280620 h 4331342"/>
                <a:gd name="connsiteX2262" fmla="*/ 997106 w 4753603"/>
                <a:gd name="connsiteY2262" fmla="*/ 3243596 h 4331342"/>
                <a:gd name="connsiteX2263" fmla="*/ 996915 w 4753603"/>
                <a:gd name="connsiteY2263" fmla="*/ 3236786 h 4331342"/>
                <a:gd name="connsiteX2264" fmla="*/ 1000982 w 4753603"/>
                <a:gd name="connsiteY2264" fmla="*/ 3164376 h 4331342"/>
                <a:gd name="connsiteX2265" fmla="*/ 1003154 w 4753603"/>
                <a:gd name="connsiteY2265" fmla="*/ 3148013 h 4331342"/>
                <a:gd name="connsiteX2266" fmla="*/ 992896 w 4753603"/>
                <a:gd name="connsiteY2266" fmla="*/ 3132773 h 4331342"/>
                <a:gd name="connsiteX2267" fmla="*/ 987123 w 4753603"/>
                <a:gd name="connsiteY2267" fmla="*/ 3150765 h 4331342"/>
                <a:gd name="connsiteX2268" fmla="*/ 974417 w 4753603"/>
                <a:gd name="connsiteY2268" fmla="*/ 3183931 h 4331342"/>
                <a:gd name="connsiteX2269" fmla="*/ 959720 w 4753603"/>
                <a:gd name="connsiteY2269" fmla="*/ 3151308 h 4331342"/>
                <a:gd name="connsiteX2270" fmla="*/ 939630 w 4753603"/>
                <a:gd name="connsiteY2270" fmla="*/ 3095111 h 4331342"/>
                <a:gd name="connsiteX2271" fmla="*/ 927121 w 4753603"/>
                <a:gd name="connsiteY2271" fmla="*/ 3100473 h 4331342"/>
                <a:gd name="connsiteX2272" fmla="*/ 939113 w 4753603"/>
                <a:gd name="connsiteY2272" fmla="*/ 3151604 h 4331342"/>
                <a:gd name="connsiteX2273" fmla="*/ 943427 w 4753603"/>
                <a:gd name="connsiteY2273" fmla="*/ 3166053 h 4331342"/>
                <a:gd name="connsiteX2274" fmla="*/ 943345 w 4753603"/>
                <a:gd name="connsiteY2274" fmla="*/ 3165967 h 4331342"/>
                <a:gd name="connsiteX2275" fmla="*/ 960987 w 4753603"/>
                <a:gd name="connsiteY2275" fmla="*/ 3217135 h 4331342"/>
                <a:gd name="connsiteX2276" fmla="*/ 942766 w 4753603"/>
                <a:gd name="connsiteY2276" fmla="*/ 3221927 h 4331342"/>
                <a:gd name="connsiteX2277" fmla="*/ 905466 w 4753603"/>
                <a:gd name="connsiteY2277" fmla="*/ 3216050 h 4331342"/>
                <a:gd name="connsiteX2278" fmla="*/ 915189 w 4753603"/>
                <a:gd name="connsiteY2278" fmla="*/ 3234252 h 4331342"/>
                <a:gd name="connsiteX2279" fmla="*/ 965197 w 4753603"/>
                <a:gd name="connsiteY2279" fmla="*/ 3263218 h 4331342"/>
                <a:gd name="connsiteX2280" fmla="*/ 990343 w 4753603"/>
                <a:gd name="connsiteY2280" fmla="*/ 3289135 h 4331342"/>
                <a:gd name="connsiteX2281" fmla="*/ 1005697 w 4753603"/>
                <a:gd name="connsiteY2281" fmla="*/ 3332350 h 4331342"/>
                <a:gd name="connsiteX2282" fmla="*/ 994886 w 4753603"/>
                <a:gd name="connsiteY2282" fmla="*/ 3341665 h 4331342"/>
                <a:gd name="connsiteX2283" fmla="*/ 971550 w 4753603"/>
                <a:gd name="connsiteY2283" fmla="*/ 3342542 h 4331342"/>
                <a:gd name="connsiteX2284" fmla="*/ 987028 w 4753603"/>
                <a:gd name="connsiteY2284" fmla="*/ 3364125 h 4331342"/>
                <a:gd name="connsiteX2285" fmla="*/ 1015241 w 4753603"/>
                <a:gd name="connsiteY2285" fmla="*/ 3414122 h 4331342"/>
                <a:gd name="connsiteX2286" fmla="*/ 990181 w 4753603"/>
                <a:gd name="connsiteY2286" fmla="*/ 3419437 h 4331342"/>
                <a:gd name="connsiteX2287" fmla="*/ 971721 w 4753603"/>
                <a:gd name="connsiteY2287" fmla="*/ 3393967 h 4331342"/>
                <a:gd name="connsiteX2288" fmla="*/ 957310 w 4753603"/>
                <a:gd name="connsiteY2288" fmla="*/ 3360649 h 4331342"/>
                <a:gd name="connsiteX2289" fmla="*/ 945915 w 4753603"/>
                <a:gd name="connsiteY2289" fmla="*/ 3311719 h 4331342"/>
                <a:gd name="connsiteX2290" fmla="*/ 930618 w 4753603"/>
                <a:gd name="connsiteY2290" fmla="*/ 3284820 h 4331342"/>
                <a:gd name="connsiteX2291" fmla="*/ 908365 w 4753603"/>
                <a:gd name="connsiteY2291" fmla="*/ 3274695 h 4331342"/>
                <a:gd name="connsiteX2292" fmla="*/ 864984 w 4753603"/>
                <a:gd name="connsiteY2292" fmla="*/ 3227708 h 4331342"/>
                <a:gd name="connsiteX2293" fmla="*/ 852104 w 4753603"/>
                <a:gd name="connsiteY2293" fmla="*/ 3190989 h 4331342"/>
                <a:gd name="connsiteX2294" fmla="*/ 863395 w 4753603"/>
                <a:gd name="connsiteY2294" fmla="*/ 3166253 h 4331342"/>
                <a:gd name="connsiteX2295" fmla="*/ 878352 w 4753603"/>
                <a:gd name="connsiteY2295" fmla="*/ 3128505 h 4331342"/>
                <a:gd name="connsiteX2296" fmla="*/ 854509 w 4753603"/>
                <a:gd name="connsiteY2296" fmla="*/ 3080337 h 4331342"/>
                <a:gd name="connsiteX2297" fmla="*/ 858596 w 4753603"/>
                <a:gd name="connsiteY2297" fmla="*/ 3051753 h 4331342"/>
                <a:gd name="connsiteX2298" fmla="*/ 867245 w 4753603"/>
                <a:gd name="connsiteY2298" fmla="*/ 3033484 h 4331342"/>
                <a:gd name="connsiteX2299" fmla="*/ 867381 w 4753603"/>
                <a:gd name="connsiteY2299" fmla="*/ 3033484 h 4331342"/>
                <a:gd name="connsiteX2300" fmla="*/ 883079 w 4753603"/>
                <a:gd name="connsiteY2300" fmla="*/ 3015063 h 4331342"/>
                <a:gd name="connsiteX2301" fmla="*/ 886547 w 4753603"/>
                <a:gd name="connsiteY2301" fmla="*/ 3011605 h 4331342"/>
                <a:gd name="connsiteX2302" fmla="*/ 929339 w 4753603"/>
                <a:gd name="connsiteY2302" fmla="*/ 3015672 h 4331342"/>
                <a:gd name="connsiteX2303" fmla="*/ 958968 w 4753603"/>
                <a:gd name="connsiteY2303" fmla="*/ 3070527 h 4331342"/>
                <a:gd name="connsiteX2304" fmla="*/ 967216 w 4753603"/>
                <a:gd name="connsiteY2304" fmla="*/ 3086357 h 4331342"/>
                <a:gd name="connsiteX2305" fmla="*/ 1002411 w 4753603"/>
                <a:gd name="connsiteY2305" fmla="*/ 3087948 h 4331342"/>
                <a:gd name="connsiteX2306" fmla="*/ 874831 w 4753603"/>
                <a:gd name="connsiteY2306" fmla="*/ 3280296 h 4331342"/>
                <a:gd name="connsiteX2307" fmla="*/ 904887 w 4753603"/>
                <a:gd name="connsiteY2307" fmla="*/ 3293593 h 4331342"/>
                <a:gd name="connsiteX2308" fmla="*/ 914537 w 4753603"/>
                <a:gd name="connsiteY2308" fmla="*/ 3309604 h 4331342"/>
                <a:gd name="connsiteX2309" fmla="*/ 908830 w 4753603"/>
                <a:gd name="connsiteY2309" fmla="*/ 3332845 h 4331342"/>
                <a:gd name="connsiteX2310" fmla="*/ 888734 w 4753603"/>
                <a:gd name="connsiteY2310" fmla="*/ 3342866 h 4331342"/>
                <a:gd name="connsiteX2311" fmla="*/ 870374 w 4753603"/>
                <a:gd name="connsiteY2311" fmla="*/ 3318453 h 4331342"/>
                <a:gd name="connsiteX2312" fmla="*/ 824989 w 4753603"/>
                <a:gd name="connsiteY2312" fmla="*/ 3279667 h 4331342"/>
                <a:gd name="connsiteX2313" fmla="*/ 819458 w 4753603"/>
                <a:gd name="connsiteY2313" fmla="*/ 3276095 h 4331342"/>
                <a:gd name="connsiteX2314" fmla="*/ 874831 w 4753603"/>
                <a:gd name="connsiteY2314" fmla="*/ 3280296 h 4331342"/>
                <a:gd name="connsiteX2315" fmla="*/ 803107 w 4753603"/>
                <a:gd name="connsiteY2315" fmla="*/ 3248520 h 4331342"/>
                <a:gd name="connsiteX2316" fmla="*/ 827683 w 4753603"/>
                <a:gd name="connsiteY2316" fmla="*/ 3203296 h 4331342"/>
                <a:gd name="connsiteX2317" fmla="*/ 851670 w 4753603"/>
                <a:gd name="connsiteY2317" fmla="*/ 3236986 h 4331342"/>
                <a:gd name="connsiteX2318" fmla="*/ 846552 w 4753603"/>
                <a:gd name="connsiteY2318" fmla="*/ 3246511 h 4331342"/>
                <a:gd name="connsiteX2319" fmla="*/ 803107 w 4753603"/>
                <a:gd name="connsiteY2319" fmla="*/ 3248520 h 4331342"/>
                <a:gd name="connsiteX2320" fmla="*/ 954519 w 4753603"/>
                <a:gd name="connsiteY2320" fmla="*/ 2842584 h 4331342"/>
                <a:gd name="connsiteX2321" fmla="*/ 946112 w 4753603"/>
                <a:gd name="connsiteY2321" fmla="*/ 2864206 h 4331342"/>
                <a:gd name="connsiteX2322" fmla="*/ 939670 w 4753603"/>
                <a:gd name="connsiteY2322" fmla="*/ 2872502 h 4331342"/>
                <a:gd name="connsiteX2323" fmla="*/ 932632 w 4753603"/>
                <a:gd name="connsiteY2323" fmla="*/ 2893581 h 4331342"/>
                <a:gd name="connsiteX2324" fmla="*/ 949590 w 4753603"/>
                <a:gd name="connsiteY2324" fmla="*/ 2882884 h 4331342"/>
                <a:gd name="connsiteX2325" fmla="*/ 960615 w 4753603"/>
                <a:gd name="connsiteY2325" fmla="*/ 2879941 h 4331342"/>
                <a:gd name="connsiteX2326" fmla="*/ 959625 w 4753603"/>
                <a:gd name="connsiteY2326" fmla="*/ 2892362 h 4331342"/>
                <a:gd name="connsiteX2327" fmla="*/ 942807 w 4753603"/>
                <a:gd name="connsiteY2327" fmla="*/ 2918136 h 4331342"/>
                <a:gd name="connsiteX2328" fmla="*/ 944047 w 4753603"/>
                <a:gd name="connsiteY2328" fmla="*/ 2927995 h 4331342"/>
                <a:gd name="connsiteX2329" fmla="*/ 952862 w 4753603"/>
                <a:gd name="connsiteY2329" fmla="*/ 2923804 h 4331342"/>
                <a:gd name="connsiteX2330" fmla="*/ 968531 w 4753603"/>
                <a:gd name="connsiteY2330" fmla="*/ 2904954 h 4331342"/>
                <a:gd name="connsiteX2331" fmla="*/ 974617 w 4753603"/>
                <a:gd name="connsiteY2331" fmla="*/ 2901039 h 4331342"/>
                <a:gd name="connsiteX2332" fmla="*/ 979018 w 4753603"/>
                <a:gd name="connsiteY2332" fmla="*/ 2908154 h 4331342"/>
                <a:gd name="connsiteX2333" fmla="*/ 969597 w 4753603"/>
                <a:gd name="connsiteY2333" fmla="*/ 2930195 h 4331342"/>
                <a:gd name="connsiteX2334" fmla="*/ 950208 w 4753603"/>
                <a:gd name="connsiteY2334" fmla="*/ 2968124 h 4331342"/>
                <a:gd name="connsiteX2335" fmla="*/ 989781 w 4753603"/>
                <a:gd name="connsiteY2335" fmla="*/ 2936129 h 4331342"/>
                <a:gd name="connsiteX2336" fmla="*/ 956377 w 4753603"/>
                <a:gd name="connsiteY2336" fmla="*/ 2991469 h 4331342"/>
                <a:gd name="connsiteX2337" fmla="*/ 920070 w 4753603"/>
                <a:gd name="connsiteY2337" fmla="*/ 2984487 h 4331342"/>
                <a:gd name="connsiteX2338" fmla="*/ 879776 w 4753603"/>
                <a:gd name="connsiteY2338" fmla="*/ 2991907 h 4331342"/>
                <a:gd name="connsiteX2339" fmla="*/ 836868 w 4753603"/>
                <a:gd name="connsiteY2339" fmla="*/ 3036160 h 4331342"/>
                <a:gd name="connsiteX2340" fmla="*/ 830459 w 4753603"/>
                <a:gd name="connsiteY2340" fmla="*/ 3087596 h 4331342"/>
                <a:gd name="connsiteX2341" fmla="*/ 848305 w 4753603"/>
                <a:gd name="connsiteY2341" fmla="*/ 3119904 h 4331342"/>
                <a:gd name="connsiteX2342" fmla="*/ 845095 w 4753603"/>
                <a:gd name="connsiteY2342" fmla="*/ 3145384 h 4331342"/>
                <a:gd name="connsiteX2343" fmla="*/ 783384 w 4753603"/>
                <a:gd name="connsiteY2343" fmla="*/ 3224965 h 4331342"/>
                <a:gd name="connsiteX2344" fmla="*/ 749210 w 4753603"/>
                <a:gd name="connsiteY2344" fmla="*/ 3271209 h 4331342"/>
                <a:gd name="connsiteX2345" fmla="*/ 723810 w 4753603"/>
                <a:gd name="connsiteY2345" fmla="*/ 3275524 h 4331342"/>
                <a:gd name="connsiteX2346" fmla="*/ 672541 w 4753603"/>
                <a:gd name="connsiteY2346" fmla="*/ 3241224 h 4331342"/>
                <a:gd name="connsiteX2347" fmla="*/ 664945 w 4753603"/>
                <a:gd name="connsiteY2347" fmla="*/ 3218888 h 4331342"/>
                <a:gd name="connsiteX2348" fmla="*/ 717162 w 4753603"/>
                <a:gd name="connsiteY2348" fmla="*/ 3132373 h 4331342"/>
                <a:gd name="connsiteX2349" fmla="*/ 851298 w 4753603"/>
                <a:gd name="connsiteY2349" fmla="*/ 2965895 h 4331342"/>
                <a:gd name="connsiteX2350" fmla="*/ 939391 w 4753603"/>
                <a:gd name="connsiteY2350" fmla="*/ 2854566 h 4331342"/>
                <a:gd name="connsiteX2351" fmla="*/ 954519 w 4753603"/>
                <a:gd name="connsiteY2351" fmla="*/ 2842584 h 4331342"/>
                <a:gd name="connsiteX2352" fmla="*/ 795366 w 4753603"/>
                <a:gd name="connsiteY2352" fmla="*/ 2368344 h 4331342"/>
                <a:gd name="connsiteX2353" fmla="*/ 783157 w 4753603"/>
                <a:gd name="connsiteY2353" fmla="*/ 2365115 h 4331342"/>
                <a:gd name="connsiteX2354" fmla="*/ 778327 w 4753603"/>
                <a:gd name="connsiteY2354" fmla="*/ 2301564 h 4331342"/>
                <a:gd name="connsiteX2355" fmla="*/ 790175 w 4753603"/>
                <a:gd name="connsiteY2355" fmla="*/ 2275589 h 4331342"/>
                <a:gd name="connsiteX2356" fmla="*/ 795366 w 4753603"/>
                <a:gd name="connsiteY2356" fmla="*/ 2368344 h 4331342"/>
                <a:gd name="connsiteX2357" fmla="*/ 627581 w 4753603"/>
                <a:gd name="connsiteY2357" fmla="*/ 2578694 h 4331342"/>
                <a:gd name="connsiteX2358" fmla="*/ 634373 w 4753603"/>
                <a:gd name="connsiteY2358" fmla="*/ 2598315 h 4331342"/>
                <a:gd name="connsiteX2359" fmla="*/ 606857 w 4753603"/>
                <a:gd name="connsiteY2359" fmla="*/ 2651389 h 4331342"/>
                <a:gd name="connsiteX2360" fmla="*/ 592768 w 4753603"/>
                <a:gd name="connsiteY2360" fmla="*/ 2684050 h 4331342"/>
                <a:gd name="connsiteX2361" fmla="*/ 588599 w 4753603"/>
                <a:gd name="connsiteY2361" fmla="*/ 2659713 h 4331342"/>
                <a:gd name="connsiteX2362" fmla="*/ 617912 w 4753603"/>
                <a:gd name="connsiteY2362" fmla="*/ 2586961 h 4331342"/>
                <a:gd name="connsiteX2363" fmla="*/ 627581 w 4753603"/>
                <a:gd name="connsiteY2363" fmla="*/ 2578694 h 4331342"/>
                <a:gd name="connsiteX2364" fmla="*/ 622968 w 4753603"/>
                <a:gd name="connsiteY2364" fmla="*/ 2532402 h 4331342"/>
                <a:gd name="connsiteX2365" fmla="*/ 629316 w 4753603"/>
                <a:gd name="connsiteY2365" fmla="*/ 2528040 h 4331342"/>
                <a:gd name="connsiteX2366" fmla="*/ 647771 w 4753603"/>
                <a:gd name="connsiteY2366" fmla="*/ 2548014 h 4331342"/>
                <a:gd name="connsiteX2367" fmla="*/ 641073 w 4753603"/>
                <a:gd name="connsiteY2367" fmla="*/ 2552586 h 4331342"/>
                <a:gd name="connsiteX2368" fmla="*/ 622968 w 4753603"/>
                <a:gd name="connsiteY2368" fmla="*/ 2532402 h 4331342"/>
                <a:gd name="connsiteX2369" fmla="*/ 624764 w 4753603"/>
                <a:gd name="connsiteY2369" fmla="*/ 2666819 h 4331342"/>
                <a:gd name="connsiteX2370" fmla="*/ 700967 w 4753603"/>
                <a:gd name="connsiteY2370" fmla="*/ 2601725 h 4331342"/>
                <a:gd name="connsiteX2371" fmla="*/ 624764 w 4753603"/>
                <a:gd name="connsiteY2371" fmla="*/ 2666819 h 4331342"/>
                <a:gd name="connsiteX2372" fmla="*/ 684712 w 4753603"/>
                <a:gd name="connsiteY2372" fmla="*/ 2643397 h 4331342"/>
                <a:gd name="connsiteX2373" fmla="*/ 614640 w 4753603"/>
                <a:gd name="connsiteY2373" fmla="*/ 2759888 h 4331342"/>
                <a:gd name="connsiteX2374" fmla="*/ 684712 w 4753603"/>
                <a:gd name="connsiteY2374" fmla="*/ 2643397 h 4331342"/>
                <a:gd name="connsiteX2375" fmla="*/ 698047 w 4753603"/>
                <a:gd name="connsiteY2375" fmla="*/ 2543489 h 4331342"/>
                <a:gd name="connsiteX2376" fmla="*/ 698047 w 4753603"/>
                <a:gd name="connsiteY2376" fmla="*/ 2543461 h 4331342"/>
                <a:gd name="connsiteX2377" fmla="*/ 686641 w 4753603"/>
                <a:gd name="connsiteY2377" fmla="*/ 2551881 h 4331342"/>
                <a:gd name="connsiteX2378" fmla="*/ 679829 w 4753603"/>
                <a:gd name="connsiteY2378" fmla="*/ 2551319 h 4331342"/>
                <a:gd name="connsiteX2379" fmla="*/ 682687 w 4753603"/>
                <a:gd name="connsiteY2379" fmla="*/ 2543489 h 4331342"/>
                <a:gd name="connsiteX2380" fmla="*/ 697500 w 4753603"/>
                <a:gd name="connsiteY2380" fmla="*/ 2518344 h 4331342"/>
                <a:gd name="connsiteX2381" fmla="*/ 713074 w 4753603"/>
                <a:gd name="connsiteY2381" fmla="*/ 2510619 h 4331342"/>
                <a:gd name="connsiteX2382" fmla="*/ 704416 w 4753603"/>
                <a:gd name="connsiteY2382" fmla="*/ 2537212 h 4331342"/>
                <a:gd name="connsiteX2383" fmla="*/ 698047 w 4753603"/>
                <a:gd name="connsiteY2383" fmla="*/ 2543489 h 4331342"/>
                <a:gd name="connsiteX2384" fmla="*/ 691131 w 4753603"/>
                <a:gd name="connsiteY2384" fmla="*/ 2499560 h 4331342"/>
                <a:gd name="connsiteX2385" fmla="*/ 670209 w 4753603"/>
                <a:gd name="connsiteY2385" fmla="*/ 2521687 h 4331342"/>
                <a:gd name="connsiteX2386" fmla="*/ 657474 w 4753603"/>
                <a:gd name="connsiteY2386" fmla="*/ 2522535 h 4331342"/>
                <a:gd name="connsiteX2387" fmla="*/ 657566 w 4753603"/>
                <a:gd name="connsiteY2387" fmla="*/ 2511685 h 4331342"/>
                <a:gd name="connsiteX2388" fmla="*/ 690108 w 4753603"/>
                <a:gd name="connsiteY2388" fmla="*/ 2461050 h 4331342"/>
                <a:gd name="connsiteX2389" fmla="*/ 712910 w 4753603"/>
                <a:gd name="connsiteY2389" fmla="*/ 2460498 h 4331342"/>
                <a:gd name="connsiteX2390" fmla="*/ 733696 w 4753603"/>
                <a:gd name="connsiteY2390" fmla="*/ 2490721 h 4331342"/>
                <a:gd name="connsiteX2391" fmla="*/ 735854 w 4753603"/>
                <a:gd name="connsiteY2391" fmla="*/ 2509542 h 4331342"/>
                <a:gd name="connsiteX2392" fmla="*/ 729279 w 4753603"/>
                <a:gd name="connsiteY2392" fmla="*/ 2503923 h 4331342"/>
                <a:gd name="connsiteX2393" fmla="*/ 691131 w 4753603"/>
                <a:gd name="connsiteY2393" fmla="*/ 2499560 h 4331342"/>
                <a:gd name="connsiteX2394" fmla="*/ 728360 w 4753603"/>
                <a:gd name="connsiteY2394" fmla="*/ 2445572 h 4331342"/>
                <a:gd name="connsiteX2395" fmla="*/ 723116 w 4753603"/>
                <a:gd name="connsiteY2395" fmla="*/ 2417693 h 4331342"/>
                <a:gd name="connsiteX2396" fmla="*/ 732231 w 4753603"/>
                <a:gd name="connsiteY2396" fmla="*/ 2376049 h 4331342"/>
                <a:gd name="connsiteX2397" fmla="*/ 738919 w 4753603"/>
                <a:gd name="connsiteY2397" fmla="*/ 2358876 h 4331342"/>
                <a:gd name="connsiteX2398" fmla="*/ 756197 w 4753603"/>
                <a:gd name="connsiteY2398" fmla="*/ 2362086 h 4331342"/>
                <a:gd name="connsiteX2399" fmla="*/ 782651 w 4753603"/>
                <a:gd name="connsiteY2399" fmla="*/ 2410673 h 4331342"/>
                <a:gd name="connsiteX2400" fmla="*/ 761832 w 4753603"/>
                <a:gd name="connsiteY2400" fmla="*/ 2462498 h 4331342"/>
                <a:gd name="connsiteX2401" fmla="*/ 750304 w 4753603"/>
                <a:gd name="connsiteY2401" fmla="*/ 2468613 h 4331342"/>
                <a:gd name="connsiteX2402" fmla="*/ 728360 w 4753603"/>
                <a:gd name="connsiteY2402" fmla="*/ 2445572 h 4331342"/>
                <a:gd name="connsiteX2403" fmla="*/ 915684 w 4753603"/>
                <a:gd name="connsiteY2403" fmla="*/ 1605486 h 4331342"/>
                <a:gd name="connsiteX2404" fmla="*/ 917212 w 4753603"/>
                <a:gd name="connsiteY2404" fmla="*/ 1608849 h 4331342"/>
                <a:gd name="connsiteX2405" fmla="*/ 935315 w 4753603"/>
                <a:gd name="connsiteY2405" fmla="*/ 1653016 h 4331342"/>
                <a:gd name="connsiteX2406" fmla="*/ 917170 w 4753603"/>
                <a:gd name="connsiteY2406" fmla="*/ 1679629 h 4331342"/>
                <a:gd name="connsiteX2407" fmla="*/ 866770 w 4753603"/>
                <a:gd name="connsiteY2407" fmla="*/ 1709080 h 4331342"/>
                <a:gd name="connsiteX2408" fmla="*/ 864024 w 4753603"/>
                <a:gd name="connsiteY2408" fmla="*/ 1741151 h 4331342"/>
                <a:gd name="connsiteX2409" fmla="*/ 854755 w 4753603"/>
                <a:gd name="connsiteY2409" fmla="*/ 1771945 h 4331342"/>
                <a:gd name="connsiteX2410" fmla="*/ 848223 w 4753603"/>
                <a:gd name="connsiteY2410" fmla="*/ 1784404 h 4331342"/>
                <a:gd name="connsiteX2411" fmla="*/ 829087 w 4753603"/>
                <a:gd name="connsiteY2411" fmla="*/ 1800406 h 4331342"/>
                <a:gd name="connsiteX2412" fmla="*/ 823204 w 4753603"/>
                <a:gd name="connsiteY2412" fmla="*/ 1802844 h 4331342"/>
                <a:gd name="connsiteX2413" fmla="*/ 809341 w 4753603"/>
                <a:gd name="connsiteY2413" fmla="*/ 1813512 h 4331342"/>
                <a:gd name="connsiteX2414" fmla="*/ 808113 w 4753603"/>
                <a:gd name="connsiteY2414" fmla="*/ 1813512 h 4331342"/>
                <a:gd name="connsiteX2415" fmla="*/ 804460 w 4753603"/>
                <a:gd name="connsiteY2415" fmla="*/ 1815456 h 4331342"/>
                <a:gd name="connsiteX2416" fmla="*/ 779121 w 4753603"/>
                <a:gd name="connsiteY2416" fmla="*/ 1827762 h 4331342"/>
                <a:gd name="connsiteX2417" fmla="*/ 766487 w 4753603"/>
                <a:gd name="connsiteY2417" fmla="*/ 1864909 h 4331342"/>
                <a:gd name="connsiteX2418" fmla="*/ 765929 w 4753603"/>
                <a:gd name="connsiteY2418" fmla="*/ 1867700 h 4331342"/>
                <a:gd name="connsiteX2419" fmla="*/ 750809 w 4753603"/>
                <a:gd name="connsiteY2419" fmla="*/ 1883445 h 4331342"/>
                <a:gd name="connsiteX2420" fmla="*/ 750809 w 4753603"/>
                <a:gd name="connsiteY2420" fmla="*/ 1883350 h 4331342"/>
                <a:gd name="connsiteX2421" fmla="*/ 747764 w 4753603"/>
                <a:gd name="connsiteY2421" fmla="*/ 1886426 h 4331342"/>
                <a:gd name="connsiteX2422" fmla="*/ 742180 w 4753603"/>
                <a:gd name="connsiteY2422" fmla="*/ 1890465 h 4331342"/>
                <a:gd name="connsiteX2423" fmla="*/ 742480 w 4753603"/>
                <a:gd name="connsiteY2423" fmla="*/ 1890846 h 4331342"/>
                <a:gd name="connsiteX2424" fmla="*/ 716780 w 4753603"/>
                <a:gd name="connsiteY2424" fmla="*/ 1926546 h 4331342"/>
                <a:gd name="connsiteX2425" fmla="*/ 705508 w 4753603"/>
                <a:gd name="connsiteY2425" fmla="*/ 1932518 h 4331342"/>
                <a:gd name="connsiteX2426" fmla="*/ 666039 w 4753603"/>
                <a:gd name="connsiteY2426" fmla="*/ 1936213 h 4331342"/>
                <a:gd name="connsiteX2427" fmla="*/ 640999 w 4753603"/>
                <a:gd name="connsiteY2427" fmla="*/ 1968589 h 4331342"/>
                <a:gd name="connsiteX2428" fmla="*/ 615919 w 4753603"/>
                <a:gd name="connsiteY2428" fmla="*/ 2000098 h 4331342"/>
                <a:gd name="connsiteX2429" fmla="*/ 603584 w 4753603"/>
                <a:gd name="connsiteY2429" fmla="*/ 2006822 h 4331342"/>
                <a:gd name="connsiteX2430" fmla="*/ 559501 w 4753603"/>
                <a:gd name="connsiteY2430" fmla="*/ 2041808 h 4331342"/>
                <a:gd name="connsiteX2431" fmla="*/ 564890 w 4753603"/>
                <a:gd name="connsiteY2431" fmla="*/ 2025196 h 4331342"/>
                <a:gd name="connsiteX2432" fmla="*/ 605752 w 4753603"/>
                <a:gd name="connsiteY2432" fmla="*/ 1981457 h 4331342"/>
                <a:gd name="connsiteX2433" fmla="*/ 603017 w 4753603"/>
                <a:gd name="connsiteY2433" fmla="*/ 1966836 h 4331342"/>
                <a:gd name="connsiteX2434" fmla="*/ 594306 w 4753603"/>
                <a:gd name="connsiteY2434" fmla="*/ 1952644 h 4331342"/>
                <a:gd name="connsiteX2435" fmla="*/ 646512 w 4753603"/>
                <a:gd name="connsiteY2435" fmla="*/ 1891360 h 4331342"/>
                <a:gd name="connsiteX2436" fmla="*/ 677156 w 4753603"/>
                <a:gd name="connsiteY2436" fmla="*/ 1889350 h 4331342"/>
                <a:gd name="connsiteX2437" fmla="*/ 737939 w 4753603"/>
                <a:gd name="connsiteY2437" fmla="*/ 1862128 h 4331342"/>
                <a:gd name="connsiteX2438" fmla="*/ 728515 w 4753603"/>
                <a:gd name="connsiteY2438" fmla="*/ 1861014 h 4331342"/>
                <a:gd name="connsiteX2439" fmla="*/ 727028 w 4753603"/>
                <a:gd name="connsiteY2439" fmla="*/ 1861166 h 4331342"/>
                <a:gd name="connsiteX2440" fmla="*/ 725904 w 4753603"/>
                <a:gd name="connsiteY2440" fmla="*/ 1860756 h 4331342"/>
                <a:gd name="connsiteX2441" fmla="*/ 669435 w 4753603"/>
                <a:gd name="connsiteY2441" fmla="*/ 1864176 h 4331342"/>
                <a:gd name="connsiteX2442" fmla="*/ 662345 w 4753603"/>
                <a:gd name="connsiteY2442" fmla="*/ 1856680 h 4331342"/>
                <a:gd name="connsiteX2443" fmla="*/ 747073 w 4753603"/>
                <a:gd name="connsiteY2443" fmla="*/ 1778127 h 4331342"/>
                <a:gd name="connsiteX2444" fmla="*/ 784220 w 4753603"/>
                <a:gd name="connsiteY2444" fmla="*/ 1781889 h 4331342"/>
                <a:gd name="connsiteX2445" fmla="*/ 803510 w 4753603"/>
                <a:gd name="connsiteY2445" fmla="*/ 1784947 h 4331342"/>
                <a:gd name="connsiteX2446" fmla="*/ 820870 w 4753603"/>
                <a:gd name="connsiteY2446" fmla="*/ 1778784 h 4331342"/>
                <a:gd name="connsiteX2447" fmla="*/ 830791 w 4753603"/>
                <a:gd name="connsiteY2447" fmla="*/ 1773345 h 4331342"/>
                <a:gd name="connsiteX2448" fmla="*/ 763215 w 4753603"/>
                <a:gd name="connsiteY2448" fmla="*/ 1754638 h 4331342"/>
                <a:gd name="connsiteX2449" fmla="*/ 805007 w 4753603"/>
                <a:gd name="connsiteY2449" fmla="*/ 1716538 h 4331342"/>
                <a:gd name="connsiteX2450" fmla="*/ 843702 w 4753603"/>
                <a:gd name="connsiteY2450" fmla="*/ 1678762 h 4331342"/>
                <a:gd name="connsiteX2451" fmla="*/ 846211 w 4753603"/>
                <a:gd name="connsiteY2451" fmla="*/ 1657988 h 4331342"/>
                <a:gd name="connsiteX2452" fmla="*/ 770719 w 4753603"/>
                <a:gd name="connsiteY2452" fmla="*/ 1716824 h 4331342"/>
                <a:gd name="connsiteX2453" fmla="*/ 760656 w 4753603"/>
                <a:gd name="connsiteY2453" fmla="*/ 1723082 h 4331342"/>
                <a:gd name="connsiteX2454" fmla="*/ 741789 w 4753603"/>
                <a:gd name="connsiteY2454" fmla="*/ 1737065 h 4331342"/>
                <a:gd name="connsiteX2455" fmla="*/ 741665 w 4753603"/>
                <a:gd name="connsiteY2455" fmla="*/ 1704623 h 4331342"/>
                <a:gd name="connsiteX2456" fmla="*/ 732840 w 4753603"/>
                <a:gd name="connsiteY2456" fmla="*/ 1686649 h 4331342"/>
                <a:gd name="connsiteX2457" fmla="*/ 722158 w 4753603"/>
                <a:gd name="connsiteY2457" fmla="*/ 1695593 h 4331342"/>
                <a:gd name="connsiteX2458" fmla="*/ 697324 w 4753603"/>
                <a:gd name="connsiteY2458" fmla="*/ 1778394 h 4331342"/>
                <a:gd name="connsiteX2459" fmla="*/ 691255 w 4753603"/>
                <a:gd name="connsiteY2459" fmla="*/ 1784404 h 4331342"/>
                <a:gd name="connsiteX2460" fmla="*/ 684968 w 4753603"/>
                <a:gd name="connsiteY2460" fmla="*/ 1791072 h 4331342"/>
                <a:gd name="connsiteX2461" fmla="*/ 673275 w 4753603"/>
                <a:gd name="connsiteY2461" fmla="*/ 1806483 h 4331342"/>
                <a:gd name="connsiteX2462" fmla="*/ 645738 w 4753603"/>
                <a:gd name="connsiteY2462" fmla="*/ 1841697 h 4331342"/>
                <a:gd name="connsiteX2463" fmla="*/ 626117 w 4753603"/>
                <a:gd name="connsiteY2463" fmla="*/ 1855661 h 4331342"/>
                <a:gd name="connsiteX2464" fmla="*/ 621782 w 4753603"/>
                <a:gd name="connsiteY2464" fmla="*/ 1804930 h 4331342"/>
                <a:gd name="connsiteX2465" fmla="*/ 614267 w 4753603"/>
                <a:gd name="connsiteY2465" fmla="*/ 1788395 h 4331342"/>
                <a:gd name="connsiteX2466" fmla="*/ 602614 w 4753603"/>
                <a:gd name="connsiteY2466" fmla="*/ 1790214 h 4331342"/>
                <a:gd name="connsiteX2467" fmla="*/ 603328 w 4753603"/>
                <a:gd name="connsiteY2467" fmla="*/ 1858051 h 4331342"/>
                <a:gd name="connsiteX2468" fmla="*/ 593903 w 4753603"/>
                <a:gd name="connsiteY2468" fmla="*/ 1895818 h 4331342"/>
                <a:gd name="connsiteX2469" fmla="*/ 572290 w 4753603"/>
                <a:gd name="connsiteY2469" fmla="*/ 1938719 h 4331342"/>
                <a:gd name="connsiteX2470" fmla="*/ 543719 w 4753603"/>
                <a:gd name="connsiteY2470" fmla="*/ 2004365 h 4331342"/>
                <a:gd name="connsiteX2471" fmla="*/ 543401 w 4753603"/>
                <a:gd name="connsiteY2471" fmla="*/ 2006184 h 4331342"/>
                <a:gd name="connsiteX2472" fmla="*/ 540800 w 4753603"/>
                <a:gd name="connsiteY2472" fmla="*/ 2010004 h 4331342"/>
                <a:gd name="connsiteX2473" fmla="*/ 537269 w 4753603"/>
                <a:gd name="connsiteY2473" fmla="*/ 2016071 h 4331342"/>
                <a:gd name="connsiteX2474" fmla="*/ 529797 w 4753603"/>
                <a:gd name="connsiteY2474" fmla="*/ 2033140 h 4331342"/>
                <a:gd name="connsiteX2475" fmla="*/ 524678 w 4753603"/>
                <a:gd name="connsiteY2475" fmla="*/ 2019462 h 4331342"/>
                <a:gd name="connsiteX2476" fmla="*/ 524450 w 4753603"/>
                <a:gd name="connsiteY2476" fmla="*/ 2019224 h 4331342"/>
                <a:gd name="connsiteX2477" fmla="*/ 524450 w 4753603"/>
                <a:gd name="connsiteY2477" fmla="*/ 1941919 h 4331342"/>
                <a:gd name="connsiteX2478" fmla="*/ 525484 w 4753603"/>
                <a:gd name="connsiteY2478" fmla="*/ 1938509 h 4331342"/>
                <a:gd name="connsiteX2479" fmla="*/ 553382 w 4753603"/>
                <a:gd name="connsiteY2479" fmla="*/ 1930308 h 4331342"/>
                <a:gd name="connsiteX2480" fmla="*/ 561556 w 4753603"/>
                <a:gd name="connsiteY2480" fmla="*/ 1905486 h 4331342"/>
                <a:gd name="connsiteX2481" fmla="*/ 565735 w 4753603"/>
                <a:gd name="connsiteY2481" fmla="*/ 1817980 h 4331342"/>
                <a:gd name="connsiteX2482" fmla="*/ 620027 w 4753603"/>
                <a:gd name="connsiteY2482" fmla="*/ 1753381 h 4331342"/>
                <a:gd name="connsiteX2483" fmla="*/ 649700 w 4753603"/>
                <a:gd name="connsiteY2483" fmla="*/ 1747457 h 4331342"/>
                <a:gd name="connsiteX2484" fmla="*/ 684689 w 4753603"/>
                <a:gd name="connsiteY2484" fmla="*/ 1713176 h 4331342"/>
                <a:gd name="connsiteX2485" fmla="*/ 707831 w 4753603"/>
                <a:gd name="connsiteY2485" fmla="*/ 1667218 h 4331342"/>
                <a:gd name="connsiteX2486" fmla="*/ 760244 w 4753603"/>
                <a:gd name="connsiteY2486" fmla="*/ 1636024 h 4331342"/>
                <a:gd name="connsiteX2487" fmla="*/ 779100 w 4753603"/>
                <a:gd name="connsiteY2487" fmla="*/ 1642301 h 4331342"/>
                <a:gd name="connsiteX2488" fmla="*/ 786717 w 4753603"/>
                <a:gd name="connsiteY2488" fmla="*/ 1660131 h 4331342"/>
                <a:gd name="connsiteX2489" fmla="*/ 828653 w 4753603"/>
                <a:gd name="connsiteY2489" fmla="*/ 1636566 h 4331342"/>
                <a:gd name="connsiteX2490" fmla="*/ 856882 w 4753603"/>
                <a:gd name="connsiteY2490" fmla="*/ 1593714 h 4331342"/>
                <a:gd name="connsiteX2491" fmla="*/ 872322 w 4753603"/>
                <a:gd name="connsiteY2491" fmla="*/ 1580721 h 4331342"/>
                <a:gd name="connsiteX2492" fmla="*/ 897054 w 4753603"/>
                <a:gd name="connsiteY2492" fmla="*/ 1581579 h 4331342"/>
                <a:gd name="connsiteX2493" fmla="*/ 915684 w 4753603"/>
                <a:gd name="connsiteY2493" fmla="*/ 1605486 h 4331342"/>
                <a:gd name="connsiteX2494" fmla="*/ 749406 w 4753603"/>
                <a:gd name="connsiteY2494" fmla="*/ 1954101 h 4331342"/>
                <a:gd name="connsiteX2495" fmla="*/ 710700 w 4753603"/>
                <a:gd name="connsiteY2495" fmla="*/ 1990782 h 4331342"/>
                <a:gd name="connsiteX2496" fmla="*/ 697902 w 4753603"/>
                <a:gd name="connsiteY2496" fmla="*/ 1988239 h 4331342"/>
                <a:gd name="connsiteX2497" fmla="*/ 697014 w 4753603"/>
                <a:gd name="connsiteY2497" fmla="*/ 1975961 h 4331342"/>
                <a:gd name="connsiteX2498" fmla="*/ 727328 w 4753603"/>
                <a:gd name="connsiteY2498" fmla="*/ 1954349 h 4331342"/>
                <a:gd name="connsiteX2499" fmla="*/ 749406 w 4753603"/>
                <a:gd name="connsiteY2499" fmla="*/ 1954101 h 4331342"/>
                <a:gd name="connsiteX2500" fmla="*/ 511693 w 4753603"/>
                <a:gd name="connsiteY2500" fmla="*/ 1913887 h 4331342"/>
                <a:gd name="connsiteX2501" fmla="*/ 505945 w 4753603"/>
                <a:gd name="connsiteY2501" fmla="*/ 1924145 h 4331342"/>
                <a:gd name="connsiteX2502" fmla="*/ 505862 w 4753603"/>
                <a:gd name="connsiteY2502" fmla="*/ 1925965 h 4331342"/>
                <a:gd name="connsiteX2503" fmla="*/ 502920 w 4753603"/>
                <a:gd name="connsiteY2503" fmla="*/ 1936166 h 4331342"/>
                <a:gd name="connsiteX2504" fmla="*/ 502456 w 4753603"/>
                <a:gd name="connsiteY2504" fmla="*/ 1938509 h 4331342"/>
                <a:gd name="connsiteX2505" fmla="*/ 506007 w 4753603"/>
                <a:gd name="connsiteY2505" fmla="*/ 2028777 h 4331342"/>
                <a:gd name="connsiteX2506" fmla="*/ 503870 w 4753603"/>
                <a:gd name="connsiteY2506" fmla="*/ 2045208 h 4331342"/>
                <a:gd name="connsiteX2507" fmla="*/ 502456 w 4753603"/>
                <a:gd name="connsiteY2507" fmla="*/ 2049990 h 4331342"/>
                <a:gd name="connsiteX2508" fmla="*/ 496006 w 4753603"/>
                <a:gd name="connsiteY2508" fmla="*/ 2067439 h 4331342"/>
                <a:gd name="connsiteX2509" fmla="*/ 488150 w 4753603"/>
                <a:gd name="connsiteY2509" fmla="*/ 2073097 h 4331342"/>
                <a:gd name="connsiteX2510" fmla="*/ 484641 w 4753603"/>
                <a:gd name="connsiteY2510" fmla="*/ 2062277 h 4331342"/>
                <a:gd name="connsiteX2511" fmla="*/ 478634 w 4753603"/>
                <a:gd name="connsiteY2511" fmla="*/ 2029873 h 4331342"/>
                <a:gd name="connsiteX2512" fmla="*/ 473400 w 4753603"/>
                <a:gd name="connsiteY2512" fmla="*/ 1950806 h 4331342"/>
                <a:gd name="connsiteX2513" fmla="*/ 486901 w 4753603"/>
                <a:gd name="connsiteY2513" fmla="*/ 1922774 h 4331342"/>
                <a:gd name="connsiteX2514" fmla="*/ 489214 w 4753603"/>
                <a:gd name="connsiteY2514" fmla="*/ 1899352 h 4331342"/>
                <a:gd name="connsiteX2515" fmla="*/ 473732 w 4753603"/>
                <a:gd name="connsiteY2515" fmla="*/ 1875101 h 4331342"/>
                <a:gd name="connsiteX2516" fmla="*/ 469272 w 4753603"/>
                <a:gd name="connsiteY2516" fmla="*/ 1814894 h 4331342"/>
                <a:gd name="connsiteX2517" fmla="*/ 477663 w 4753603"/>
                <a:gd name="connsiteY2517" fmla="*/ 1762954 h 4331342"/>
                <a:gd name="connsiteX2518" fmla="*/ 480646 w 4753603"/>
                <a:gd name="connsiteY2518" fmla="*/ 1753381 h 4331342"/>
                <a:gd name="connsiteX2519" fmla="*/ 488161 w 4753603"/>
                <a:gd name="connsiteY2519" fmla="*/ 1742637 h 4331342"/>
                <a:gd name="connsiteX2520" fmla="*/ 505583 w 4753603"/>
                <a:gd name="connsiteY2520" fmla="*/ 1730597 h 4331342"/>
                <a:gd name="connsiteX2521" fmla="*/ 499773 w 4753603"/>
                <a:gd name="connsiteY2521" fmla="*/ 1693497 h 4331342"/>
                <a:gd name="connsiteX2522" fmla="*/ 490246 w 4753603"/>
                <a:gd name="connsiteY2522" fmla="*/ 1674771 h 4331342"/>
                <a:gd name="connsiteX2523" fmla="*/ 494725 w 4753603"/>
                <a:gd name="connsiteY2523" fmla="*/ 1639033 h 4331342"/>
                <a:gd name="connsiteX2524" fmla="*/ 540830 w 4753603"/>
                <a:gd name="connsiteY2524" fmla="*/ 1572635 h 4331342"/>
                <a:gd name="connsiteX2525" fmla="*/ 556736 w 4753603"/>
                <a:gd name="connsiteY2525" fmla="*/ 1567463 h 4331342"/>
                <a:gd name="connsiteX2526" fmla="*/ 593161 w 4753603"/>
                <a:gd name="connsiteY2526" fmla="*/ 1573054 h 4331342"/>
                <a:gd name="connsiteX2527" fmla="*/ 602047 w 4753603"/>
                <a:gd name="connsiteY2527" fmla="*/ 1526839 h 4331342"/>
                <a:gd name="connsiteX2528" fmla="*/ 638833 w 4753603"/>
                <a:gd name="connsiteY2528" fmla="*/ 1443219 h 4331342"/>
                <a:gd name="connsiteX2529" fmla="*/ 669560 w 4753603"/>
                <a:gd name="connsiteY2529" fmla="*/ 1423692 h 4331342"/>
                <a:gd name="connsiteX2530" fmla="*/ 674926 w 4753603"/>
                <a:gd name="connsiteY2530" fmla="*/ 1425674 h 4331342"/>
                <a:gd name="connsiteX2531" fmla="*/ 697220 w 4753603"/>
                <a:gd name="connsiteY2531" fmla="*/ 1457458 h 4331342"/>
                <a:gd name="connsiteX2532" fmla="*/ 697078 w 4753603"/>
                <a:gd name="connsiteY2532" fmla="*/ 1457220 h 4331342"/>
                <a:gd name="connsiteX2533" fmla="*/ 700338 w 4753603"/>
                <a:gd name="connsiteY2533" fmla="*/ 1494911 h 4331342"/>
                <a:gd name="connsiteX2534" fmla="*/ 699533 w 4753603"/>
                <a:gd name="connsiteY2534" fmla="*/ 1500483 h 4331342"/>
                <a:gd name="connsiteX2535" fmla="*/ 690399 w 4753603"/>
                <a:gd name="connsiteY2535" fmla="*/ 1553051 h 4331342"/>
                <a:gd name="connsiteX2536" fmla="*/ 687859 w 4753603"/>
                <a:gd name="connsiteY2536" fmla="*/ 1556433 h 4331342"/>
                <a:gd name="connsiteX2537" fmla="*/ 687054 w 4753603"/>
                <a:gd name="connsiteY2537" fmla="*/ 1565729 h 4331342"/>
                <a:gd name="connsiteX2538" fmla="*/ 687054 w 4753603"/>
                <a:gd name="connsiteY2538" fmla="*/ 1570777 h 4331342"/>
                <a:gd name="connsiteX2539" fmla="*/ 688323 w 4753603"/>
                <a:gd name="connsiteY2539" fmla="*/ 1605486 h 4331342"/>
                <a:gd name="connsiteX2540" fmla="*/ 690740 w 4753603"/>
                <a:gd name="connsiteY2540" fmla="*/ 1605944 h 4331342"/>
                <a:gd name="connsiteX2541" fmla="*/ 694156 w 4753603"/>
                <a:gd name="connsiteY2541" fmla="*/ 1608306 h 4331342"/>
                <a:gd name="connsiteX2542" fmla="*/ 707191 w 4753603"/>
                <a:gd name="connsiteY2542" fmla="*/ 1611840 h 4331342"/>
                <a:gd name="connsiteX2543" fmla="*/ 721559 w 4753603"/>
                <a:gd name="connsiteY2543" fmla="*/ 1620612 h 4331342"/>
                <a:gd name="connsiteX2544" fmla="*/ 703672 w 4753603"/>
                <a:gd name="connsiteY2544" fmla="*/ 1642653 h 4331342"/>
                <a:gd name="connsiteX2545" fmla="*/ 693226 w 4753603"/>
                <a:gd name="connsiteY2545" fmla="*/ 1651664 h 4331342"/>
                <a:gd name="connsiteX2546" fmla="*/ 664254 w 4753603"/>
                <a:gd name="connsiteY2546" fmla="*/ 1708576 h 4331342"/>
                <a:gd name="connsiteX2547" fmla="*/ 644705 w 4753603"/>
                <a:gd name="connsiteY2547" fmla="*/ 1725530 h 4331342"/>
                <a:gd name="connsiteX2548" fmla="*/ 604938 w 4753603"/>
                <a:gd name="connsiteY2548" fmla="*/ 1731626 h 4331342"/>
                <a:gd name="connsiteX2549" fmla="*/ 632650 w 4753603"/>
                <a:gd name="connsiteY2549" fmla="*/ 1696822 h 4331342"/>
                <a:gd name="connsiteX2550" fmla="*/ 676175 w 4753603"/>
                <a:gd name="connsiteY2550" fmla="*/ 1649863 h 4331342"/>
                <a:gd name="connsiteX2551" fmla="*/ 677682 w 4753603"/>
                <a:gd name="connsiteY2551" fmla="*/ 1639691 h 4331342"/>
                <a:gd name="connsiteX2552" fmla="*/ 647162 w 4753603"/>
                <a:gd name="connsiteY2552" fmla="*/ 1654931 h 4331342"/>
                <a:gd name="connsiteX2553" fmla="*/ 647100 w 4753603"/>
                <a:gd name="connsiteY2553" fmla="*/ 1655026 h 4331342"/>
                <a:gd name="connsiteX2554" fmla="*/ 640752 w 4753603"/>
                <a:gd name="connsiteY2554" fmla="*/ 1664494 h 4331342"/>
                <a:gd name="connsiteX2555" fmla="*/ 618530 w 4753603"/>
                <a:gd name="connsiteY2555" fmla="*/ 1683334 h 4331342"/>
                <a:gd name="connsiteX2556" fmla="*/ 635685 w 4753603"/>
                <a:gd name="connsiteY2556" fmla="*/ 1615545 h 4331342"/>
                <a:gd name="connsiteX2557" fmla="*/ 677806 w 4753603"/>
                <a:gd name="connsiteY2557" fmla="*/ 1549746 h 4331342"/>
                <a:gd name="connsiteX2558" fmla="*/ 681356 w 4753603"/>
                <a:gd name="connsiteY2558" fmla="*/ 1546165 h 4331342"/>
                <a:gd name="connsiteX2559" fmla="*/ 681687 w 4753603"/>
                <a:gd name="connsiteY2559" fmla="*/ 1544165 h 4331342"/>
                <a:gd name="connsiteX2560" fmla="*/ 684402 w 4753603"/>
                <a:gd name="connsiteY2560" fmla="*/ 1534859 h 4331342"/>
                <a:gd name="connsiteX2561" fmla="*/ 681211 w 4753603"/>
                <a:gd name="connsiteY2561" fmla="*/ 1533973 h 4331342"/>
                <a:gd name="connsiteX2562" fmla="*/ 662603 w 4753603"/>
                <a:gd name="connsiteY2562" fmla="*/ 1531811 h 4331342"/>
                <a:gd name="connsiteX2563" fmla="*/ 636613 w 4753603"/>
                <a:gd name="connsiteY2563" fmla="*/ 1552480 h 4331342"/>
                <a:gd name="connsiteX2564" fmla="*/ 627581 w 4753603"/>
                <a:gd name="connsiteY2564" fmla="*/ 1580788 h 4331342"/>
                <a:gd name="connsiteX2565" fmla="*/ 624909 w 4753603"/>
                <a:gd name="connsiteY2565" fmla="*/ 1587494 h 4331342"/>
                <a:gd name="connsiteX2566" fmla="*/ 624269 w 4753603"/>
                <a:gd name="connsiteY2566" fmla="*/ 1589684 h 4331342"/>
                <a:gd name="connsiteX2567" fmla="*/ 615815 w 4753603"/>
                <a:gd name="connsiteY2567" fmla="*/ 1612097 h 4331342"/>
                <a:gd name="connsiteX2568" fmla="*/ 615104 w 4753603"/>
                <a:gd name="connsiteY2568" fmla="*/ 1614926 h 4331342"/>
                <a:gd name="connsiteX2569" fmla="*/ 607425 w 4753603"/>
                <a:gd name="connsiteY2569" fmla="*/ 1633833 h 4331342"/>
                <a:gd name="connsiteX2570" fmla="*/ 607425 w 4753603"/>
                <a:gd name="connsiteY2570" fmla="*/ 1635214 h 4331342"/>
                <a:gd name="connsiteX2571" fmla="*/ 597103 w 4753603"/>
                <a:gd name="connsiteY2571" fmla="*/ 1655131 h 4331342"/>
                <a:gd name="connsiteX2572" fmla="*/ 592128 w 4753603"/>
                <a:gd name="connsiteY2572" fmla="*/ 1663256 h 4331342"/>
                <a:gd name="connsiteX2573" fmla="*/ 584892 w 4753603"/>
                <a:gd name="connsiteY2573" fmla="*/ 1654883 h 4331342"/>
                <a:gd name="connsiteX2574" fmla="*/ 579381 w 4753603"/>
                <a:gd name="connsiteY2574" fmla="*/ 1642510 h 4331342"/>
                <a:gd name="connsiteX2575" fmla="*/ 555580 w 4753603"/>
                <a:gd name="connsiteY2575" fmla="*/ 1612173 h 4331342"/>
                <a:gd name="connsiteX2576" fmla="*/ 547569 w 4753603"/>
                <a:gd name="connsiteY2576" fmla="*/ 1622679 h 4331342"/>
                <a:gd name="connsiteX2577" fmla="*/ 562496 w 4753603"/>
                <a:gd name="connsiteY2577" fmla="*/ 1654931 h 4331342"/>
                <a:gd name="connsiteX2578" fmla="*/ 565756 w 4753603"/>
                <a:gd name="connsiteY2578" fmla="*/ 1658369 h 4331342"/>
                <a:gd name="connsiteX2579" fmla="*/ 575872 w 4753603"/>
                <a:gd name="connsiteY2579" fmla="*/ 1741961 h 4331342"/>
                <a:gd name="connsiteX2580" fmla="*/ 576347 w 4753603"/>
                <a:gd name="connsiteY2580" fmla="*/ 1742285 h 4331342"/>
                <a:gd name="connsiteX2581" fmla="*/ 546621 w 4753603"/>
                <a:gd name="connsiteY2581" fmla="*/ 1819351 h 4331342"/>
                <a:gd name="connsiteX2582" fmla="*/ 546301 w 4753603"/>
                <a:gd name="connsiteY2582" fmla="*/ 1820751 h 4331342"/>
                <a:gd name="connsiteX2583" fmla="*/ 540707 w 4753603"/>
                <a:gd name="connsiteY2583" fmla="*/ 1835830 h 4331342"/>
                <a:gd name="connsiteX2584" fmla="*/ 530644 w 4753603"/>
                <a:gd name="connsiteY2584" fmla="*/ 1834277 h 4331342"/>
                <a:gd name="connsiteX2585" fmla="*/ 518227 w 4753603"/>
                <a:gd name="connsiteY2585" fmla="*/ 1793958 h 4331342"/>
                <a:gd name="connsiteX2586" fmla="*/ 503157 w 4753603"/>
                <a:gd name="connsiteY2586" fmla="*/ 1787557 h 4331342"/>
                <a:gd name="connsiteX2587" fmla="*/ 499453 w 4753603"/>
                <a:gd name="connsiteY2587" fmla="*/ 1804321 h 4331342"/>
                <a:gd name="connsiteX2588" fmla="*/ 509248 w 4753603"/>
                <a:gd name="connsiteY2588" fmla="*/ 1840135 h 4331342"/>
                <a:gd name="connsiteX2589" fmla="*/ 509248 w 4753603"/>
                <a:gd name="connsiteY2589" fmla="*/ 1839992 h 4331342"/>
                <a:gd name="connsiteX2590" fmla="*/ 521570 w 4753603"/>
                <a:gd name="connsiteY2590" fmla="*/ 1896313 h 4331342"/>
                <a:gd name="connsiteX2591" fmla="*/ 512539 w 4753603"/>
                <a:gd name="connsiteY2591" fmla="*/ 1911039 h 4331342"/>
                <a:gd name="connsiteX2592" fmla="*/ 511693 w 4753603"/>
                <a:gd name="connsiteY2592" fmla="*/ 1913887 h 4331342"/>
                <a:gd name="connsiteX2593" fmla="*/ 509742 w 4753603"/>
                <a:gd name="connsiteY2593" fmla="*/ 2120913 h 4331342"/>
                <a:gd name="connsiteX2594" fmla="*/ 504385 w 4753603"/>
                <a:gd name="connsiteY2594" fmla="*/ 2132105 h 4331342"/>
                <a:gd name="connsiteX2595" fmla="*/ 493580 w 4753603"/>
                <a:gd name="connsiteY2595" fmla="*/ 2118408 h 4331342"/>
                <a:gd name="connsiteX2596" fmla="*/ 512292 w 4753603"/>
                <a:gd name="connsiteY2596" fmla="*/ 2091147 h 4331342"/>
                <a:gd name="connsiteX2597" fmla="*/ 509742 w 4753603"/>
                <a:gd name="connsiteY2597" fmla="*/ 2120913 h 4331342"/>
                <a:gd name="connsiteX2598" fmla="*/ 461809 w 4753603"/>
                <a:gd name="connsiteY2598" fmla="*/ 1911515 h 4331342"/>
                <a:gd name="connsiteX2599" fmla="*/ 454018 w 4753603"/>
                <a:gd name="connsiteY2599" fmla="*/ 1977924 h 4331342"/>
                <a:gd name="connsiteX2600" fmla="*/ 455370 w 4753603"/>
                <a:gd name="connsiteY2600" fmla="*/ 2008251 h 4331342"/>
                <a:gd name="connsiteX2601" fmla="*/ 388859 w 4753603"/>
                <a:gd name="connsiteY2601" fmla="*/ 1928203 h 4331342"/>
                <a:gd name="connsiteX2602" fmla="*/ 394474 w 4753603"/>
                <a:gd name="connsiteY2602" fmla="*/ 1911791 h 4331342"/>
                <a:gd name="connsiteX2603" fmla="*/ 441735 w 4753603"/>
                <a:gd name="connsiteY2603" fmla="*/ 1889350 h 4331342"/>
                <a:gd name="connsiteX2604" fmla="*/ 464164 w 4753603"/>
                <a:gd name="connsiteY2604" fmla="*/ 1898799 h 4331342"/>
                <a:gd name="connsiteX2605" fmla="*/ 461809 w 4753603"/>
                <a:gd name="connsiteY2605" fmla="*/ 1911515 h 4331342"/>
                <a:gd name="connsiteX2606" fmla="*/ 462986 w 4753603"/>
                <a:gd name="connsiteY2606" fmla="*/ 2051657 h 4331342"/>
                <a:gd name="connsiteX2607" fmla="*/ 428813 w 4753603"/>
                <a:gd name="connsiteY2607" fmla="*/ 2025367 h 4331342"/>
                <a:gd name="connsiteX2608" fmla="*/ 462986 w 4753603"/>
                <a:gd name="connsiteY2608" fmla="*/ 2051657 h 4331342"/>
                <a:gd name="connsiteX2609" fmla="*/ 354086 w 4753603"/>
                <a:gd name="connsiteY2609" fmla="*/ 1902933 h 4331342"/>
                <a:gd name="connsiteX2610" fmla="*/ 336313 w 4753603"/>
                <a:gd name="connsiteY2610" fmla="*/ 1893170 h 4331342"/>
                <a:gd name="connsiteX2611" fmla="*/ 308764 w 4753603"/>
                <a:gd name="connsiteY2611" fmla="*/ 1838239 h 4331342"/>
                <a:gd name="connsiteX2612" fmla="*/ 307237 w 4753603"/>
                <a:gd name="connsiteY2612" fmla="*/ 1835544 h 4331342"/>
                <a:gd name="connsiteX2613" fmla="*/ 293168 w 4753603"/>
                <a:gd name="connsiteY2613" fmla="*/ 1814513 h 4331342"/>
                <a:gd name="connsiteX2614" fmla="*/ 314059 w 4753603"/>
                <a:gd name="connsiteY2614" fmla="*/ 1799977 h 4331342"/>
                <a:gd name="connsiteX2615" fmla="*/ 452469 w 4753603"/>
                <a:gd name="connsiteY2615" fmla="*/ 1725273 h 4331342"/>
                <a:gd name="connsiteX2616" fmla="*/ 466775 w 4753603"/>
                <a:gd name="connsiteY2616" fmla="*/ 1720101 h 4331342"/>
                <a:gd name="connsiteX2617" fmla="*/ 479190 w 4753603"/>
                <a:gd name="connsiteY2617" fmla="*/ 1718843 h 4331342"/>
                <a:gd name="connsiteX2618" fmla="*/ 473958 w 4753603"/>
                <a:gd name="connsiteY2618" fmla="*/ 1732921 h 4331342"/>
                <a:gd name="connsiteX2619" fmla="*/ 457918 w 4753603"/>
                <a:gd name="connsiteY2619" fmla="*/ 1764230 h 4331342"/>
                <a:gd name="connsiteX2620" fmla="*/ 442468 w 4753603"/>
                <a:gd name="connsiteY2620" fmla="*/ 1849717 h 4331342"/>
                <a:gd name="connsiteX2621" fmla="*/ 419089 w 4753603"/>
                <a:gd name="connsiteY2621" fmla="*/ 1878635 h 4331342"/>
                <a:gd name="connsiteX2622" fmla="*/ 354086 w 4753603"/>
                <a:gd name="connsiteY2622" fmla="*/ 1902933 h 4331342"/>
                <a:gd name="connsiteX2623" fmla="*/ 591117 w 4753603"/>
                <a:gd name="connsiteY2623" fmla="*/ 1451267 h 4331342"/>
                <a:gd name="connsiteX2624" fmla="*/ 596566 w 4753603"/>
                <a:gd name="connsiteY2624" fmla="*/ 1445066 h 4331342"/>
                <a:gd name="connsiteX2625" fmla="*/ 598218 w 4753603"/>
                <a:gd name="connsiteY2625" fmla="*/ 1443809 h 4331342"/>
                <a:gd name="connsiteX2626" fmla="*/ 596886 w 4753603"/>
                <a:gd name="connsiteY2626" fmla="*/ 1445447 h 4331342"/>
                <a:gd name="connsiteX2627" fmla="*/ 592768 w 4753603"/>
                <a:gd name="connsiteY2627" fmla="*/ 1452724 h 4331342"/>
                <a:gd name="connsiteX2628" fmla="*/ 591117 w 4753603"/>
                <a:gd name="connsiteY2628" fmla="*/ 1451267 h 4331342"/>
                <a:gd name="connsiteX2629" fmla="*/ 826291 w 4753603"/>
                <a:gd name="connsiteY2629" fmla="*/ 1474727 h 4331342"/>
                <a:gd name="connsiteX2630" fmla="*/ 838893 w 4753603"/>
                <a:gd name="connsiteY2630" fmla="*/ 1477947 h 4331342"/>
                <a:gd name="connsiteX2631" fmla="*/ 868040 w 4753603"/>
                <a:gd name="connsiteY2631" fmla="*/ 1468260 h 4331342"/>
                <a:gd name="connsiteX2632" fmla="*/ 874821 w 4753603"/>
                <a:gd name="connsiteY2632" fmla="*/ 1468898 h 4331342"/>
                <a:gd name="connsiteX2633" fmla="*/ 872260 w 4753603"/>
                <a:gd name="connsiteY2633" fmla="*/ 1476718 h 4331342"/>
                <a:gd name="connsiteX2634" fmla="*/ 854871 w 4753603"/>
                <a:gd name="connsiteY2634" fmla="*/ 1488567 h 4331342"/>
                <a:gd name="connsiteX2635" fmla="*/ 833009 w 4753603"/>
                <a:gd name="connsiteY2635" fmla="*/ 1504940 h 4331342"/>
                <a:gd name="connsiteX2636" fmla="*/ 827673 w 4753603"/>
                <a:gd name="connsiteY2636" fmla="*/ 1516856 h 4331342"/>
                <a:gd name="connsiteX2637" fmla="*/ 842773 w 4753603"/>
                <a:gd name="connsiteY2637" fmla="*/ 1514942 h 4331342"/>
                <a:gd name="connsiteX2638" fmla="*/ 869381 w 4753603"/>
                <a:gd name="connsiteY2638" fmla="*/ 1506741 h 4331342"/>
                <a:gd name="connsiteX2639" fmla="*/ 869495 w 4753603"/>
                <a:gd name="connsiteY2639" fmla="*/ 1506693 h 4331342"/>
                <a:gd name="connsiteX2640" fmla="*/ 869701 w 4753603"/>
                <a:gd name="connsiteY2640" fmla="*/ 1506569 h 4331342"/>
                <a:gd name="connsiteX2641" fmla="*/ 871507 w 4753603"/>
                <a:gd name="connsiteY2641" fmla="*/ 1501445 h 4331342"/>
                <a:gd name="connsiteX2642" fmla="*/ 874769 w 4753603"/>
                <a:gd name="connsiteY2642" fmla="*/ 1503340 h 4331342"/>
                <a:gd name="connsiteX2643" fmla="*/ 869701 w 4753603"/>
                <a:gd name="connsiteY2643" fmla="*/ 1506569 h 4331342"/>
                <a:gd name="connsiteX2644" fmla="*/ 869857 w 4753603"/>
                <a:gd name="connsiteY2644" fmla="*/ 1506846 h 4331342"/>
                <a:gd name="connsiteX2645" fmla="*/ 869392 w 4753603"/>
                <a:gd name="connsiteY2645" fmla="*/ 1506741 h 4331342"/>
                <a:gd name="connsiteX2646" fmla="*/ 842948 w 4753603"/>
                <a:gd name="connsiteY2646" fmla="*/ 1530544 h 4331342"/>
                <a:gd name="connsiteX2647" fmla="*/ 834568 w 4753603"/>
                <a:gd name="connsiteY2647" fmla="*/ 1537183 h 4331342"/>
                <a:gd name="connsiteX2648" fmla="*/ 830232 w 4753603"/>
                <a:gd name="connsiteY2648" fmla="*/ 1548708 h 4331342"/>
                <a:gd name="connsiteX2649" fmla="*/ 842969 w 4753603"/>
                <a:gd name="connsiteY2649" fmla="*/ 1547546 h 4331342"/>
                <a:gd name="connsiteX2650" fmla="*/ 870786 w 4753603"/>
                <a:gd name="connsiteY2650" fmla="*/ 1537278 h 4331342"/>
                <a:gd name="connsiteX2651" fmla="*/ 828756 w 4753603"/>
                <a:gd name="connsiteY2651" fmla="*/ 1562110 h 4331342"/>
                <a:gd name="connsiteX2652" fmla="*/ 760367 w 4753603"/>
                <a:gd name="connsiteY2652" fmla="*/ 1599771 h 4331342"/>
                <a:gd name="connsiteX2653" fmla="*/ 739259 w 4753603"/>
                <a:gd name="connsiteY2653" fmla="*/ 1599733 h 4331342"/>
                <a:gd name="connsiteX2654" fmla="*/ 718576 w 4753603"/>
                <a:gd name="connsiteY2654" fmla="*/ 1587446 h 4331342"/>
                <a:gd name="connsiteX2655" fmla="*/ 706530 w 4753603"/>
                <a:gd name="connsiteY2655" fmla="*/ 1572406 h 4331342"/>
                <a:gd name="connsiteX2656" fmla="*/ 748765 w 4753603"/>
                <a:gd name="connsiteY2656" fmla="*/ 1484481 h 4331342"/>
                <a:gd name="connsiteX2657" fmla="*/ 825434 w 4753603"/>
                <a:gd name="connsiteY2657" fmla="*/ 1438732 h 4331342"/>
                <a:gd name="connsiteX2658" fmla="*/ 867844 w 4753603"/>
                <a:gd name="connsiteY2658" fmla="*/ 1425121 h 4331342"/>
                <a:gd name="connsiteX2659" fmla="*/ 883821 w 4753603"/>
                <a:gd name="connsiteY2659" fmla="*/ 1429598 h 4331342"/>
                <a:gd name="connsiteX2660" fmla="*/ 873696 w 4753603"/>
                <a:gd name="connsiteY2660" fmla="*/ 1440799 h 4331342"/>
                <a:gd name="connsiteX2661" fmla="*/ 831523 w 4753603"/>
                <a:gd name="connsiteY2661" fmla="*/ 1462735 h 4331342"/>
                <a:gd name="connsiteX2662" fmla="*/ 826291 w 4753603"/>
                <a:gd name="connsiteY2662" fmla="*/ 1474727 h 4331342"/>
                <a:gd name="connsiteX2663" fmla="*/ 831533 w 4753603"/>
                <a:gd name="connsiteY2663" fmla="*/ 1584741 h 4331342"/>
                <a:gd name="connsiteX2664" fmla="*/ 798278 w 4753603"/>
                <a:gd name="connsiteY2664" fmla="*/ 1639995 h 4331342"/>
                <a:gd name="connsiteX2665" fmla="*/ 794923 w 4753603"/>
                <a:gd name="connsiteY2665" fmla="*/ 1614145 h 4331342"/>
                <a:gd name="connsiteX2666" fmla="*/ 820066 w 4753603"/>
                <a:gd name="connsiteY2666" fmla="*/ 1587056 h 4331342"/>
                <a:gd name="connsiteX2667" fmla="*/ 831533 w 4753603"/>
                <a:gd name="connsiteY2667" fmla="*/ 1584741 h 4331342"/>
                <a:gd name="connsiteX2668" fmla="*/ 532151 w 4753603"/>
                <a:gd name="connsiteY2668" fmla="*/ 2217420 h 4331342"/>
                <a:gd name="connsiteX2669" fmla="*/ 536950 w 4753603"/>
                <a:gd name="connsiteY2669" fmla="*/ 2214124 h 4331342"/>
                <a:gd name="connsiteX2670" fmla="*/ 568162 w 4753603"/>
                <a:gd name="connsiteY2670" fmla="*/ 2238127 h 4331342"/>
                <a:gd name="connsiteX2671" fmla="*/ 566489 w 4753603"/>
                <a:gd name="connsiteY2671" fmla="*/ 2259016 h 4331342"/>
                <a:gd name="connsiteX2672" fmla="*/ 542648 w 4753603"/>
                <a:gd name="connsiteY2672" fmla="*/ 2282743 h 4331342"/>
                <a:gd name="connsiteX2673" fmla="*/ 517835 w 4753603"/>
                <a:gd name="connsiteY2673" fmla="*/ 2262426 h 4331342"/>
                <a:gd name="connsiteX2674" fmla="*/ 517752 w 4753603"/>
                <a:gd name="connsiteY2674" fmla="*/ 2247376 h 4331342"/>
                <a:gd name="connsiteX2675" fmla="*/ 532151 w 4753603"/>
                <a:gd name="connsiteY2675" fmla="*/ 2217420 h 4331342"/>
                <a:gd name="connsiteX2676" fmla="*/ 528477 w 4753603"/>
                <a:gd name="connsiteY2676" fmla="*/ 2155851 h 4331342"/>
                <a:gd name="connsiteX2677" fmla="*/ 556199 w 4753603"/>
                <a:gd name="connsiteY2677" fmla="*/ 2102996 h 4331342"/>
                <a:gd name="connsiteX2678" fmla="*/ 528477 w 4753603"/>
                <a:gd name="connsiteY2678" fmla="*/ 2155851 h 4331342"/>
                <a:gd name="connsiteX2679" fmla="*/ 564911 w 4753603"/>
                <a:gd name="connsiteY2679" fmla="*/ 2193684 h 4331342"/>
                <a:gd name="connsiteX2680" fmla="*/ 561082 w 4753603"/>
                <a:gd name="connsiteY2680" fmla="*/ 2200113 h 4331342"/>
                <a:gd name="connsiteX2681" fmla="*/ 547209 w 4753603"/>
                <a:gd name="connsiteY2681" fmla="*/ 2183464 h 4331342"/>
                <a:gd name="connsiteX2682" fmla="*/ 583994 w 4753603"/>
                <a:gd name="connsiteY2682" fmla="*/ 2126133 h 4331342"/>
                <a:gd name="connsiteX2683" fmla="*/ 599416 w 4753603"/>
                <a:gd name="connsiteY2683" fmla="*/ 2131438 h 4331342"/>
                <a:gd name="connsiteX2684" fmla="*/ 601738 w 4753603"/>
                <a:gd name="connsiteY2684" fmla="*/ 2142868 h 4331342"/>
                <a:gd name="connsiteX2685" fmla="*/ 585738 w 4753603"/>
                <a:gd name="connsiteY2685" fmla="*/ 2161289 h 4331342"/>
                <a:gd name="connsiteX2686" fmla="*/ 564911 w 4753603"/>
                <a:gd name="connsiteY2686" fmla="*/ 2193684 h 4331342"/>
                <a:gd name="connsiteX2687" fmla="*/ 588774 w 4753603"/>
                <a:gd name="connsiteY2687" fmla="*/ 2086785 h 4331342"/>
                <a:gd name="connsiteX2688" fmla="*/ 568399 w 4753603"/>
                <a:gd name="connsiteY2688" fmla="*/ 2085242 h 4331342"/>
                <a:gd name="connsiteX2689" fmla="*/ 568399 w 4753603"/>
                <a:gd name="connsiteY2689" fmla="*/ 2069335 h 4331342"/>
                <a:gd name="connsiteX2690" fmla="*/ 644323 w 4753603"/>
                <a:gd name="connsiteY2690" fmla="*/ 2011737 h 4331342"/>
                <a:gd name="connsiteX2691" fmla="*/ 588774 w 4753603"/>
                <a:gd name="connsiteY2691" fmla="*/ 2086785 h 4331342"/>
                <a:gd name="connsiteX2692" fmla="*/ 686807 w 4753603"/>
                <a:gd name="connsiteY2692" fmla="*/ 2037998 h 4331342"/>
                <a:gd name="connsiteX2693" fmla="*/ 681687 w 4753603"/>
                <a:gd name="connsiteY2693" fmla="*/ 2063668 h 4331342"/>
                <a:gd name="connsiteX2694" fmla="*/ 674564 w 4753603"/>
                <a:gd name="connsiteY2694" fmla="*/ 2088718 h 4331342"/>
                <a:gd name="connsiteX2695" fmla="*/ 649733 w 4753603"/>
                <a:gd name="connsiteY2695" fmla="*/ 2089937 h 4331342"/>
                <a:gd name="connsiteX2696" fmla="*/ 629048 w 4753603"/>
                <a:gd name="connsiteY2696" fmla="*/ 2100767 h 4331342"/>
                <a:gd name="connsiteX2697" fmla="*/ 607858 w 4753603"/>
                <a:gd name="connsiteY2697" fmla="*/ 2110740 h 4331342"/>
                <a:gd name="connsiteX2698" fmla="*/ 686807 w 4753603"/>
                <a:gd name="connsiteY2698" fmla="*/ 2037998 h 4331342"/>
                <a:gd name="connsiteX2699" fmla="*/ 667238 w 4753603"/>
                <a:gd name="connsiteY2699" fmla="*/ 1978495 h 4331342"/>
                <a:gd name="connsiteX2700" fmla="*/ 661312 w 4753603"/>
                <a:gd name="connsiteY2700" fmla="*/ 1957921 h 4331342"/>
                <a:gd name="connsiteX2701" fmla="*/ 685125 w 4753603"/>
                <a:gd name="connsiteY2701" fmla="*/ 1953778 h 4331342"/>
                <a:gd name="connsiteX2702" fmla="*/ 667238 w 4753603"/>
                <a:gd name="connsiteY2702" fmla="*/ 1978495 h 4331342"/>
                <a:gd name="connsiteX2703" fmla="*/ 675948 w 4753603"/>
                <a:gd name="connsiteY2703" fmla="*/ 2018814 h 4331342"/>
                <a:gd name="connsiteX2704" fmla="*/ 663089 w 4753603"/>
                <a:gd name="connsiteY2704" fmla="*/ 2006013 h 4331342"/>
                <a:gd name="connsiteX2705" fmla="*/ 671613 w 4753603"/>
                <a:gd name="connsiteY2705" fmla="*/ 1994545 h 4331342"/>
                <a:gd name="connsiteX2706" fmla="*/ 685010 w 4753603"/>
                <a:gd name="connsiteY2706" fmla="*/ 2009223 h 4331342"/>
                <a:gd name="connsiteX2707" fmla="*/ 675948 w 4753603"/>
                <a:gd name="connsiteY2707" fmla="*/ 2018814 h 4331342"/>
                <a:gd name="connsiteX2708" fmla="*/ 909872 w 4753603"/>
                <a:gd name="connsiteY2708" fmla="*/ 1254385 h 4331342"/>
                <a:gd name="connsiteX2709" fmla="*/ 903844 w 4753603"/>
                <a:gd name="connsiteY2709" fmla="*/ 1259634 h 4331342"/>
                <a:gd name="connsiteX2710" fmla="*/ 888724 w 4753603"/>
                <a:gd name="connsiteY2710" fmla="*/ 1267016 h 4331342"/>
                <a:gd name="connsiteX2711" fmla="*/ 904082 w 4753603"/>
                <a:gd name="connsiteY2711" fmla="*/ 1260015 h 4331342"/>
                <a:gd name="connsiteX2712" fmla="*/ 920575 w 4753603"/>
                <a:gd name="connsiteY2712" fmla="*/ 1274626 h 4331342"/>
                <a:gd name="connsiteX2713" fmla="*/ 902648 w 4753603"/>
                <a:gd name="connsiteY2713" fmla="*/ 1290742 h 4331342"/>
                <a:gd name="connsiteX2714" fmla="*/ 875193 w 4753603"/>
                <a:gd name="connsiteY2714" fmla="*/ 1294724 h 4331342"/>
                <a:gd name="connsiteX2715" fmla="*/ 868102 w 4753603"/>
                <a:gd name="connsiteY2715" fmla="*/ 1306335 h 4331342"/>
                <a:gd name="connsiteX2716" fmla="*/ 882086 w 4753603"/>
                <a:gd name="connsiteY2716" fmla="*/ 1307021 h 4331342"/>
                <a:gd name="connsiteX2717" fmla="*/ 903524 w 4753603"/>
                <a:gd name="connsiteY2717" fmla="*/ 1301353 h 4331342"/>
                <a:gd name="connsiteX2718" fmla="*/ 913175 w 4753603"/>
                <a:gd name="connsiteY2718" fmla="*/ 1307754 h 4331342"/>
                <a:gd name="connsiteX2719" fmla="*/ 907292 w 4753603"/>
                <a:gd name="connsiteY2719" fmla="*/ 1316164 h 4331342"/>
                <a:gd name="connsiteX2720" fmla="*/ 872509 w 4753603"/>
                <a:gd name="connsiteY2720" fmla="*/ 1327852 h 4331342"/>
                <a:gd name="connsiteX2721" fmla="*/ 863209 w 4753603"/>
                <a:gd name="connsiteY2721" fmla="*/ 1328776 h 4331342"/>
                <a:gd name="connsiteX2722" fmla="*/ 850267 w 4753603"/>
                <a:gd name="connsiteY2722" fmla="*/ 1342025 h 4331342"/>
                <a:gd name="connsiteX2723" fmla="*/ 866121 w 4753603"/>
                <a:gd name="connsiteY2723" fmla="*/ 1344549 h 4331342"/>
                <a:gd name="connsiteX2724" fmla="*/ 880932 w 4753603"/>
                <a:gd name="connsiteY2724" fmla="*/ 1345073 h 4331342"/>
                <a:gd name="connsiteX2725" fmla="*/ 832244 w 4753603"/>
                <a:gd name="connsiteY2725" fmla="*/ 1377182 h 4331342"/>
                <a:gd name="connsiteX2726" fmla="*/ 855942 w 4753603"/>
                <a:gd name="connsiteY2726" fmla="*/ 1374143 h 4331342"/>
                <a:gd name="connsiteX2727" fmla="*/ 870806 w 4753603"/>
                <a:gd name="connsiteY2727" fmla="*/ 1366114 h 4331342"/>
                <a:gd name="connsiteX2728" fmla="*/ 886784 w 4753603"/>
                <a:gd name="connsiteY2728" fmla="*/ 1371238 h 4331342"/>
                <a:gd name="connsiteX2729" fmla="*/ 877101 w 4753603"/>
                <a:gd name="connsiteY2729" fmla="*/ 1381239 h 4331342"/>
                <a:gd name="connsiteX2730" fmla="*/ 843176 w 4753603"/>
                <a:gd name="connsiteY2730" fmla="*/ 1395860 h 4331342"/>
                <a:gd name="connsiteX2731" fmla="*/ 840151 w 4753603"/>
                <a:gd name="connsiteY2731" fmla="*/ 1398661 h 4331342"/>
                <a:gd name="connsiteX2732" fmla="*/ 869867 w 4753603"/>
                <a:gd name="connsiteY2732" fmla="*/ 1397594 h 4331342"/>
                <a:gd name="connsiteX2733" fmla="*/ 828365 w 4753603"/>
                <a:gd name="connsiteY2733" fmla="*/ 1418882 h 4331342"/>
                <a:gd name="connsiteX2734" fmla="*/ 745814 w 4753603"/>
                <a:gd name="connsiteY2734" fmla="*/ 1459954 h 4331342"/>
                <a:gd name="connsiteX2735" fmla="*/ 717543 w 4753603"/>
                <a:gd name="connsiteY2735" fmla="*/ 1452391 h 4331342"/>
                <a:gd name="connsiteX2736" fmla="*/ 690512 w 4753603"/>
                <a:gd name="connsiteY2736" fmla="*/ 1414948 h 4331342"/>
                <a:gd name="connsiteX2737" fmla="*/ 670396 w 4753603"/>
                <a:gd name="connsiteY2737" fmla="*/ 1412567 h 4331342"/>
                <a:gd name="connsiteX2738" fmla="*/ 657917 w 4753603"/>
                <a:gd name="connsiteY2738" fmla="*/ 1411348 h 4331342"/>
                <a:gd name="connsiteX2739" fmla="*/ 635334 w 4753603"/>
                <a:gd name="connsiteY2739" fmla="*/ 1416920 h 4331342"/>
                <a:gd name="connsiteX2740" fmla="*/ 609963 w 4753603"/>
                <a:gd name="connsiteY2740" fmla="*/ 1436713 h 4331342"/>
                <a:gd name="connsiteX2741" fmla="*/ 604286 w 4753603"/>
                <a:gd name="connsiteY2741" fmla="*/ 1440323 h 4331342"/>
                <a:gd name="connsiteX2742" fmla="*/ 603605 w 4753603"/>
                <a:gd name="connsiteY2742" fmla="*/ 1439113 h 4331342"/>
                <a:gd name="connsiteX2743" fmla="*/ 608528 w 4753603"/>
                <a:gd name="connsiteY2743" fmla="*/ 1434913 h 4331342"/>
                <a:gd name="connsiteX2744" fmla="*/ 636078 w 4753603"/>
                <a:gd name="connsiteY2744" fmla="*/ 1397118 h 4331342"/>
                <a:gd name="connsiteX2745" fmla="*/ 718193 w 4753603"/>
                <a:gd name="connsiteY2745" fmla="*/ 1314898 h 4331342"/>
                <a:gd name="connsiteX2746" fmla="*/ 796730 w 4753603"/>
                <a:gd name="connsiteY2746" fmla="*/ 1272016 h 4331342"/>
                <a:gd name="connsiteX2747" fmla="*/ 887102 w 4753603"/>
                <a:gd name="connsiteY2747" fmla="*/ 1241803 h 4331342"/>
                <a:gd name="connsiteX2748" fmla="*/ 908872 w 4753603"/>
                <a:gd name="connsiteY2748" fmla="*/ 1240774 h 4331342"/>
                <a:gd name="connsiteX2749" fmla="*/ 923105 w 4753603"/>
                <a:gd name="connsiteY2749" fmla="*/ 1245613 h 4331342"/>
                <a:gd name="connsiteX2750" fmla="*/ 909872 w 4753603"/>
                <a:gd name="connsiteY2750" fmla="*/ 1254385 h 4331342"/>
                <a:gd name="connsiteX2751" fmla="*/ 978456 w 4753603"/>
                <a:gd name="connsiteY2751" fmla="*/ 1016699 h 4331342"/>
                <a:gd name="connsiteX2752" fmla="*/ 995401 w 4753603"/>
                <a:gd name="connsiteY2752" fmla="*/ 1026700 h 4331342"/>
                <a:gd name="connsiteX2753" fmla="*/ 1012479 w 4753603"/>
                <a:gd name="connsiteY2753" fmla="*/ 1050322 h 4331342"/>
                <a:gd name="connsiteX2754" fmla="*/ 938566 w 4753603"/>
                <a:gd name="connsiteY2754" fmla="*/ 1017241 h 4331342"/>
                <a:gd name="connsiteX2755" fmla="*/ 959834 w 4753603"/>
                <a:gd name="connsiteY2755" fmla="*/ 1034710 h 4331342"/>
                <a:gd name="connsiteX2756" fmla="*/ 972617 w 4753603"/>
                <a:gd name="connsiteY2756" fmla="*/ 1042492 h 4331342"/>
                <a:gd name="connsiteX2757" fmla="*/ 977732 w 4753603"/>
                <a:gd name="connsiteY2757" fmla="*/ 1057799 h 4331342"/>
                <a:gd name="connsiteX2758" fmla="*/ 959834 w 4753603"/>
                <a:gd name="connsiteY2758" fmla="*/ 1054370 h 4331342"/>
                <a:gd name="connsiteX2759" fmla="*/ 924518 w 4753603"/>
                <a:gd name="connsiteY2759" fmla="*/ 1038768 h 4331342"/>
                <a:gd name="connsiteX2760" fmla="*/ 943128 w 4753603"/>
                <a:gd name="connsiteY2760" fmla="*/ 1068334 h 4331342"/>
                <a:gd name="connsiteX2761" fmla="*/ 925612 w 4753603"/>
                <a:gd name="connsiteY2761" fmla="*/ 1067238 h 4331342"/>
                <a:gd name="connsiteX2762" fmla="*/ 899046 w 4753603"/>
                <a:gd name="connsiteY2762" fmla="*/ 1073925 h 4331342"/>
                <a:gd name="connsiteX2763" fmla="*/ 887114 w 4753603"/>
                <a:gd name="connsiteY2763" fmla="*/ 1076049 h 4331342"/>
                <a:gd name="connsiteX2764" fmla="*/ 835156 w 4753603"/>
                <a:gd name="connsiteY2764" fmla="*/ 1052065 h 4331342"/>
                <a:gd name="connsiteX2765" fmla="*/ 835331 w 4753603"/>
                <a:gd name="connsiteY2765" fmla="*/ 1040711 h 4331342"/>
                <a:gd name="connsiteX2766" fmla="*/ 905847 w 4753603"/>
                <a:gd name="connsiteY2766" fmla="*/ 1006983 h 4331342"/>
                <a:gd name="connsiteX2767" fmla="*/ 951488 w 4753603"/>
                <a:gd name="connsiteY2767" fmla="*/ 991381 h 4331342"/>
                <a:gd name="connsiteX2768" fmla="*/ 1001316 w 4753603"/>
                <a:gd name="connsiteY2768" fmla="*/ 1006669 h 4331342"/>
                <a:gd name="connsiteX2769" fmla="*/ 1032653 w 4753603"/>
                <a:gd name="connsiteY2769" fmla="*/ 1033663 h 4331342"/>
                <a:gd name="connsiteX2770" fmla="*/ 999144 w 4753603"/>
                <a:gd name="connsiteY2770" fmla="*/ 1009212 h 4331342"/>
                <a:gd name="connsiteX2771" fmla="*/ 983599 w 4753603"/>
                <a:gd name="connsiteY2771" fmla="*/ 1003506 h 4331342"/>
                <a:gd name="connsiteX2772" fmla="*/ 967483 w 4753603"/>
                <a:gd name="connsiteY2772" fmla="*/ 1003297 h 4331342"/>
                <a:gd name="connsiteX2773" fmla="*/ 978456 w 4753603"/>
                <a:gd name="connsiteY2773" fmla="*/ 1016699 h 4331342"/>
                <a:gd name="connsiteX2774" fmla="*/ 756115 w 4753603"/>
                <a:gd name="connsiteY2774" fmla="*/ 1096985 h 4331342"/>
                <a:gd name="connsiteX2775" fmla="*/ 819932 w 4753603"/>
                <a:gd name="connsiteY2775" fmla="*/ 1065628 h 4331342"/>
                <a:gd name="connsiteX2776" fmla="*/ 851092 w 4753603"/>
                <a:gd name="connsiteY2776" fmla="*/ 1081116 h 4331342"/>
                <a:gd name="connsiteX2777" fmla="*/ 823906 w 4753603"/>
                <a:gd name="connsiteY2777" fmla="*/ 1096985 h 4331342"/>
                <a:gd name="connsiteX2778" fmla="*/ 764980 w 4753603"/>
                <a:gd name="connsiteY2778" fmla="*/ 1111158 h 4331342"/>
                <a:gd name="connsiteX2779" fmla="*/ 754091 w 4753603"/>
                <a:gd name="connsiteY2779" fmla="*/ 1106834 h 4331342"/>
                <a:gd name="connsiteX2780" fmla="*/ 756115 w 4753603"/>
                <a:gd name="connsiteY2780" fmla="*/ 1096985 h 4331342"/>
                <a:gd name="connsiteX2781" fmla="*/ 744462 w 4753603"/>
                <a:gd name="connsiteY2781" fmla="*/ 1068172 h 4331342"/>
                <a:gd name="connsiteX2782" fmla="*/ 733159 w 4753603"/>
                <a:gd name="connsiteY2782" fmla="*/ 1049312 h 4331342"/>
                <a:gd name="connsiteX2783" fmla="*/ 748053 w 4753603"/>
                <a:gd name="connsiteY2783" fmla="*/ 1041073 h 4331342"/>
                <a:gd name="connsiteX2784" fmla="*/ 756548 w 4753603"/>
                <a:gd name="connsiteY2784" fmla="*/ 1053856 h 4331342"/>
                <a:gd name="connsiteX2785" fmla="*/ 744462 w 4753603"/>
                <a:gd name="connsiteY2785" fmla="*/ 1068172 h 4331342"/>
                <a:gd name="connsiteX2786" fmla="*/ 871684 w 4753603"/>
                <a:gd name="connsiteY2786" fmla="*/ 780666 h 4331342"/>
                <a:gd name="connsiteX2787" fmla="*/ 879776 w 4753603"/>
                <a:gd name="connsiteY2787" fmla="*/ 765880 h 4331342"/>
                <a:gd name="connsiteX2788" fmla="*/ 900759 w 4753603"/>
                <a:gd name="connsiteY2788" fmla="*/ 776065 h 4331342"/>
                <a:gd name="connsiteX2789" fmla="*/ 883285 w 4753603"/>
                <a:gd name="connsiteY2789" fmla="*/ 871519 h 4331342"/>
                <a:gd name="connsiteX2790" fmla="*/ 858605 w 4753603"/>
                <a:gd name="connsiteY2790" fmla="*/ 881343 h 4331342"/>
                <a:gd name="connsiteX2791" fmla="*/ 845571 w 4753603"/>
                <a:gd name="connsiteY2791" fmla="*/ 877773 h 4331342"/>
                <a:gd name="connsiteX2792" fmla="*/ 849452 w 4753603"/>
                <a:gd name="connsiteY2792" fmla="*/ 866784 h 4331342"/>
                <a:gd name="connsiteX2793" fmla="*/ 871384 w 4753603"/>
                <a:gd name="connsiteY2793" fmla="*/ 805368 h 4331342"/>
                <a:gd name="connsiteX2794" fmla="*/ 871684 w 4753603"/>
                <a:gd name="connsiteY2794" fmla="*/ 780666 h 4331342"/>
                <a:gd name="connsiteX2795" fmla="*/ 980523 w 4753603"/>
                <a:gd name="connsiteY2795" fmla="*/ 902041 h 4331342"/>
                <a:gd name="connsiteX2796" fmla="*/ 969445 w 4753603"/>
                <a:gd name="connsiteY2796" fmla="*/ 894323 h 4331342"/>
                <a:gd name="connsiteX2797" fmla="*/ 983961 w 4753603"/>
                <a:gd name="connsiteY2797" fmla="*/ 876740 h 4331342"/>
                <a:gd name="connsiteX2798" fmla="*/ 991353 w 4753603"/>
                <a:gd name="connsiteY2798" fmla="*/ 890507 h 4331342"/>
                <a:gd name="connsiteX2799" fmla="*/ 980523 w 4753603"/>
                <a:gd name="connsiteY2799" fmla="*/ 902041 h 4331342"/>
                <a:gd name="connsiteX2800" fmla="*/ 1007116 w 4753603"/>
                <a:gd name="connsiteY2800" fmla="*/ 972588 h 4331342"/>
                <a:gd name="connsiteX2801" fmla="*/ 999315 w 4753603"/>
                <a:gd name="connsiteY2801" fmla="*/ 982389 h 4331342"/>
                <a:gd name="connsiteX2802" fmla="*/ 986009 w 4753603"/>
                <a:gd name="connsiteY2802" fmla="*/ 965283 h 4331342"/>
                <a:gd name="connsiteX2803" fmla="*/ 991762 w 4753603"/>
                <a:gd name="connsiteY2803" fmla="*/ 960644 h 4331342"/>
                <a:gd name="connsiteX2804" fmla="*/ 1007116 w 4753603"/>
                <a:gd name="connsiteY2804" fmla="*/ 972588 h 4331342"/>
                <a:gd name="connsiteX2805" fmla="*/ 981151 w 4753603"/>
                <a:gd name="connsiteY2805" fmla="*/ 931645 h 4331342"/>
                <a:gd name="connsiteX2806" fmla="*/ 980303 w 4753603"/>
                <a:gd name="connsiteY2806" fmla="*/ 943356 h 4331342"/>
                <a:gd name="connsiteX2807" fmla="*/ 959501 w 4753603"/>
                <a:gd name="connsiteY2807" fmla="*/ 949464 h 4331342"/>
                <a:gd name="connsiteX2808" fmla="*/ 925003 w 4753603"/>
                <a:gd name="connsiteY2808" fmla="*/ 937536 h 4331342"/>
                <a:gd name="connsiteX2809" fmla="*/ 925861 w 4753603"/>
                <a:gd name="connsiteY2809" fmla="*/ 928673 h 4331342"/>
                <a:gd name="connsiteX2810" fmla="*/ 981151 w 4753603"/>
                <a:gd name="connsiteY2810" fmla="*/ 931645 h 4331342"/>
                <a:gd name="connsiteX2811" fmla="*/ 926984 w 4753603"/>
                <a:gd name="connsiteY2811" fmla="*/ 905602 h 4331342"/>
                <a:gd name="connsiteX2812" fmla="*/ 922713 w 4753603"/>
                <a:gd name="connsiteY2812" fmla="*/ 907283 h 4331342"/>
                <a:gd name="connsiteX2813" fmla="*/ 901160 w 4753603"/>
                <a:gd name="connsiteY2813" fmla="*/ 913092 h 4331342"/>
                <a:gd name="connsiteX2814" fmla="*/ 900108 w 4753603"/>
                <a:gd name="connsiteY2814" fmla="*/ 906592 h 4331342"/>
                <a:gd name="connsiteX2815" fmla="*/ 925323 w 4753603"/>
                <a:gd name="connsiteY2815" fmla="*/ 890175 h 4331342"/>
                <a:gd name="connsiteX2816" fmla="*/ 936007 w 4753603"/>
                <a:gd name="connsiteY2816" fmla="*/ 894024 h 4331342"/>
                <a:gd name="connsiteX2817" fmla="*/ 926984 w 4753603"/>
                <a:gd name="connsiteY2817" fmla="*/ 905602 h 4331342"/>
                <a:gd name="connsiteX2818" fmla="*/ 849348 w 4753603"/>
                <a:gd name="connsiteY2818" fmla="*/ 898089 h 4331342"/>
                <a:gd name="connsiteX2819" fmla="*/ 866388 w 4753603"/>
                <a:gd name="connsiteY2819" fmla="*/ 907707 h 4331342"/>
                <a:gd name="connsiteX2820" fmla="*/ 853528 w 4753603"/>
                <a:gd name="connsiteY2820" fmla="*/ 921317 h 4331342"/>
                <a:gd name="connsiteX2821" fmla="*/ 831574 w 4753603"/>
                <a:gd name="connsiteY2821" fmla="*/ 917859 h 4331342"/>
                <a:gd name="connsiteX2822" fmla="*/ 849348 w 4753603"/>
                <a:gd name="connsiteY2822" fmla="*/ 898089 h 4331342"/>
                <a:gd name="connsiteX2823" fmla="*/ 840141 w 4753603"/>
                <a:gd name="connsiteY2823" fmla="*/ 942191 h 4331342"/>
                <a:gd name="connsiteX2824" fmla="*/ 820066 w 4753603"/>
                <a:gd name="connsiteY2824" fmla="*/ 971055 h 4331342"/>
                <a:gd name="connsiteX2825" fmla="*/ 840141 w 4753603"/>
                <a:gd name="connsiteY2825" fmla="*/ 942191 h 4331342"/>
                <a:gd name="connsiteX2826" fmla="*/ 883223 w 4753603"/>
                <a:gd name="connsiteY2826" fmla="*/ 963606 h 4331342"/>
                <a:gd name="connsiteX2827" fmla="*/ 945347 w 4753603"/>
                <a:gd name="connsiteY2827" fmla="*/ 968864 h 4331342"/>
                <a:gd name="connsiteX2828" fmla="*/ 817124 w 4753603"/>
                <a:gd name="connsiteY2828" fmla="*/ 1021471 h 4331342"/>
                <a:gd name="connsiteX2829" fmla="*/ 883223 w 4753603"/>
                <a:gd name="connsiteY2829" fmla="*/ 963606 h 4331342"/>
                <a:gd name="connsiteX2830" fmla="*/ 1042378 w 4753603"/>
                <a:gd name="connsiteY2830" fmla="*/ 957367 h 4331342"/>
                <a:gd name="connsiteX2831" fmla="*/ 1020347 w 4753603"/>
                <a:gd name="connsiteY2831" fmla="*/ 944481 h 4331342"/>
                <a:gd name="connsiteX2832" fmla="*/ 1046102 w 4753603"/>
                <a:gd name="connsiteY2832" fmla="*/ 929602 h 4331342"/>
                <a:gd name="connsiteX2833" fmla="*/ 1047664 w 4753603"/>
                <a:gd name="connsiteY2833" fmla="*/ 929859 h 4331342"/>
                <a:gd name="connsiteX2834" fmla="*/ 1073582 w 4753603"/>
                <a:gd name="connsiteY2834" fmla="*/ 943273 h 4331342"/>
                <a:gd name="connsiteX2835" fmla="*/ 1042378 w 4753603"/>
                <a:gd name="connsiteY2835" fmla="*/ 957367 h 4331342"/>
                <a:gd name="connsiteX2836" fmla="*/ 1083459 w 4753603"/>
                <a:gd name="connsiteY2836" fmla="*/ 868548 h 4331342"/>
                <a:gd name="connsiteX2837" fmla="*/ 1070029 w 4753603"/>
                <a:gd name="connsiteY2837" fmla="*/ 875018 h 4331342"/>
                <a:gd name="connsiteX2838" fmla="*/ 1022147 w 4753603"/>
                <a:gd name="connsiteY2838" fmla="*/ 889381 h 4331342"/>
                <a:gd name="connsiteX2839" fmla="*/ 1013355 w 4753603"/>
                <a:gd name="connsiteY2839" fmla="*/ 884263 h 4331342"/>
                <a:gd name="connsiteX2840" fmla="*/ 1017108 w 4753603"/>
                <a:gd name="connsiteY2840" fmla="*/ 855484 h 4331342"/>
                <a:gd name="connsiteX2841" fmla="*/ 1076030 w 4753603"/>
                <a:gd name="connsiteY2841" fmla="*/ 846870 h 4331342"/>
                <a:gd name="connsiteX2842" fmla="*/ 1090803 w 4753603"/>
                <a:gd name="connsiteY2842" fmla="*/ 854453 h 4331342"/>
                <a:gd name="connsiteX2843" fmla="*/ 1083459 w 4753603"/>
                <a:gd name="connsiteY2843" fmla="*/ 868548 h 4331342"/>
                <a:gd name="connsiteX2844" fmla="*/ 1443333 w 4753603"/>
                <a:gd name="connsiteY2844" fmla="*/ 630204 h 4331342"/>
                <a:gd name="connsiteX2845" fmla="*/ 1402128 w 4753603"/>
                <a:gd name="connsiteY2845" fmla="*/ 660683 h 4331342"/>
                <a:gd name="connsiteX2846" fmla="*/ 1392184 w 4753603"/>
                <a:gd name="connsiteY2846" fmla="*/ 663377 h 4331342"/>
                <a:gd name="connsiteX2847" fmla="*/ 1386535 w 4753603"/>
                <a:gd name="connsiteY2847" fmla="*/ 664780 h 4331342"/>
                <a:gd name="connsiteX2848" fmla="*/ 1380411 w 4753603"/>
                <a:gd name="connsiteY2848" fmla="*/ 666689 h 4331342"/>
                <a:gd name="connsiteX2849" fmla="*/ 1364523 w 4753603"/>
                <a:gd name="connsiteY2849" fmla="*/ 673056 h 4331342"/>
                <a:gd name="connsiteX2850" fmla="*/ 1342968 w 4753603"/>
                <a:gd name="connsiteY2850" fmla="*/ 708108 h 4331342"/>
                <a:gd name="connsiteX2851" fmla="*/ 1330214 w 4753603"/>
                <a:gd name="connsiteY2851" fmla="*/ 722243 h 4331342"/>
                <a:gd name="connsiteX2852" fmla="*/ 1283656 w 4753603"/>
                <a:gd name="connsiteY2852" fmla="*/ 744778 h 4331342"/>
                <a:gd name="connsiteX2853" fmla="*/ 1235735 w 4753603"/>
                <a:gd name="connsiteY2853" fmla="*/ 740889 h 4331342"/>
                <a:gd name="connsiteX2854" fmla="*/ 1221772 w 4753603"/>
                <a:gd name="connsiteY2854" fmla="*/ 741239 h 4331342"/>
                <a:gd name="connsiteX2855" fmla="*/ 1186053 w 4753603"/>
                <a:gd name="connsiteY2855" fmla="*/ 767717 h 4331342"/>
                <a:gd name="connsiteX2856" fmla="*/ 1161269 w 4753603"/>
                <a:gd name="connsiteY2856" fmla="*/ 787848 h 4331342"/>
                <a:gd name="connsiteX2857" fmla="*/ 1123740 w 4753603"/>
                <a:gd name="connsiteY2857" fmla="*/ 790655 h 4331342"/>
                <a:gd name="connsiteX2858" fmla="*/ 1066505 w 4753603"/>
                <a:gd name="connsiteY2858" fmla="*/ 791015 h 4331342"/>
                <a:gd name="connsiteX2859" fmla="*/ 1066505 w 4753603"/>
                <a:gd name="connsiteY2859" fmla="*/ 791077 h 4331342"/>
                <a:gd name="connsiteX2860" fmla="*/ 1060266 w 4753603"/>
                <a:gd name="connsiteY2860" fmla="*/ 790262 h 4331342"/>
                <a:gd name="connsiteX2861" fmla="*/ 1046255 w 4753603"/>
                <a:gd name="connsiteY2861" fmla="*/ 790655 h 4331342"/>
                <a:gd name="connsiteX2862" fmla="*/ 1030567 w 4753603"/>
                <a:gd name="connsiteY2862" fmla="*/ 788363 h 4331342"/>
                <a:gd name="connsiteX2863" fmla="*/ 1041178 w 4753603"/>
                <a:gd name="connsiteY2863" fmla="*/ 775084 h 4331342"/>
                <a:gd name="connsiteX2864" fmla="*/ 1068524 w 4753603"/>
                <a:gd name="connsiteY2864" fmla="*/ 766055 h 4331342"/>
                <a:gd name="connsiteX2865" fmla="*/ 1151792 w 4753603"/>
                <a:gd name="connsiteY2865" fmla="*/ 774166 h 4331342"/>
                <a:gd name="connsiteX2866" fmla="*/ 1160040 w 4753603"/>
                <a:gd name="connsiteY2866" fmla="*/ 773536 h 4331342"/>
                <a:gd name="connsiteX2867" fmla="*/ 1158535 w 4753603"/>
                <a:gd name="connsiteY2867" fmla="*/ 764940 h 4331342"/>
                <a:gd name="connsiteX2868" fmla="*/ 1136152 w 4753603"/>
                <a:gd name="connsiteY2868" fmla="*/ 748071 h 4331342"/>
                <a:gd name="connsiteX2869" fmla="*/ 1122369 w 4753603"/>
                <a:gd name="connsiteY2869" fmla="*/ 741436 h 4331342"/>
                <a:gd name="connsiteX2870" fmla="*/ 1244537 w 4753603"/>
                <a:gd name="connsiteY2870" fmla="*/ 717713 h 4331342"/>
                <a:gd name="connsiteX2871" fmla="*/ 1250366 w 4753603"/>
                <a:gd name="connsiteY2871" fmla="*/ 719438 h 4331342"/>
                <a:gd name="connsiteX2872" fmla="*/ 1266711 w 4753603"/>
                <a:gd name="connsiteY2872" fmla="*/ 716072 h 4331342"/>
                <a:gd name="connsiteX2873" fmla="*/ 1257319 w 4753603"/>
                <a:gd name="connsiteY2873" fmla="*/ 700906 h 4331342"/>
                <a:gd name="connsiteX2874" fmla="*/ 1246089 w 4753603"/>
                <a:gd name="connsiteY2874" fmla="*/ 692877 h 4331342"/>
                <a:gd name="connsiteX2875" fmla="*/ 1298343 w 4753603"/>
                <a:gd name="connsiteY2875" fmla="*/ 667102 h 4331342"/>
                <a:gd name="connsiteX2876" fmla="*/ 1307754 w 4753603"/>
                <a:gd name="connsiteY2876" fmla="*/ 661747 h 4331342"/>
                <a:gd name="connsiteX2877" fmla="*/ 1310459 w 4753603"/>
                <a:gd name="connsiteY2877" fmla="*/ 660993 h 4331342"/>
                <a:gd name="connsiteX2878" fmla="*/ 1332948 w 4753603"/>
                <a:gd name="connsiteY2878" fmla="*/ 643173 h 4331342"/>
                <a:gd name="connsiteX2879" fmla="*/ 1289857 w 4753603"/>
                <a:gd name="connsiteY2879" fmla="*/ 648797 h 4331342"/>
                <a:gd name="connsiteX2880" fmla="*/ 1271635 w 4753603"/>
                <a:gd name="connsiteY2880" fmla="*/ 657536 h 4331342"/>
                <a:gd name="connsiteX2881" fmla="*/ 1260958 w 4753603"/>
                <a:gd name="connsiteY2881" fmla="*/ 651943 h 4331342"/>
                <a:gd name="connsiteX2882" fmla="*/ 1261215 w 4753603"/>
                <a:gd name="connsiteY2882" fmla="*/ 648353 h 4331342"/>
                <a:gd name="connsiteX2883" fmla="*/ 1261396 w 4753603"/>
                <a:gd name="connsiteY2883" fmla="*/ 645815 h 4331342"/>
                <a:gd name="connsiteX2884" fmla="*/ 1261396 w 4753603"/>
                <a:gd name="connsiteY2884" fmla="*/ 642740 h 4331342"/>
                <a:gd name="connsiteX2885" fmla="*/ 1260843 w 4753603"/>
                <a:gd name="connsiteY2885" fmla="*/ 639912 h 4331342"/>
                <a:gd name="connsiteX2886" fmla="*/ 1237993 w 4753603"/>
                <a:gd name="connsiteY2886" fmla="*/ 648797 h 4331342"/>
                <a:gd name="connsiteX2887" fmla="*/ 1237002 w 4753603"/>
                <a:gd name="connsiteY2887" fmla="*/ 649838 h 4331342"/>
                <a:gd name="connsiteX2888" fmla="*/ 1229659 w 4753603"/>
                <a:gd name="connsiteY2888" fmla="*/ 670743 h 4331342"/>
                <a:gd name="connsiteX2889" fmla="*/ 1174604 w 4753603"/>
                <a:gd name="connsiteY2889" fmla="*/ 695715 h 4331342"/>
                <a:gd name="connsiteX2890" fmla="*/ 1032691 w 4753603"/>
                <a:gd name="connsiteY2890" fmla="*/ 761174 h 4331342"/>
                <a:gd name="connsiteX2891" fmla="*/ 1013260 w 4753603"/>
                <a:gd name="connsiteY2891" fmla="*/ 768593 h 4331342"/>
                <a:gd name="connsiteX2892" fmla="*/ 1072239 w 4753603"/>
                <a:gd name="connsiteY2892" fmla="*/ 713606 h 4331342"/>
                <a:gd name="connsiteX2893" fmla="*/ 1153620 w 4753603"/>
                <a:gd name="connsiteY2893" fmla="*/ 692515 h 4331342"/>
                <a:gd name="connsiteX2894" fmla="*/ 1220019 w 4753603"/>
                <a:gd name="connsiteY2894" fmla="*/ 638808 h 4331342"/>
                <a:gd name="connsiteX2895" fmla="*/ 1271635 w 4753603"/>
                <a:gd name="connsiteY2895" fmla="*/ 616067 h 4331342"/>
                <a:gd name="connsiteX2896" fmla="*/ 1335443 w 4753603"/>
                <a:gd name="connsiteY2896" fmla="*/ 602024 h 4331342"/>
                <a:gd name="connsiteX2897" fmla="*/ 1388183 w 4753603"/>
                <a:gd name="connsiteY2897" fmla="*/ 574484 h 4331342"/>
                <a:gd name="connsiteX2898" fmla="*/ 1424407 w 4753603"/>
                <a:gd name="connsiteY2898" fmla="*/ 583615 h 4331342"/>
                <a:gd name="connsiteX2899" fmla="*/ 1430474 w 4753603"/>
                <a:gd name="connsiteY2899" fmla="*/ 589982 h 4331342"/>
                <a:gd name="connsiteX2900" fmla="*/ 1443190 w 4753603"/>
                <a:gd name="connsiteY2900" fmla="*/ 630204 h 4331342"/>
                <a:gd name="connsiteX2901" fmla="*/ 1443333 w 4753603"/>
                <a:gd name="connsiteY2901" fmla="*/ 630204 h 4331342"/>
                <a:gd name="connsiteX2902" fmla="*/ 1895713 w 4753603"/>
                <a:gd name="connsiteY2902" fmla="*/ 364525 h 4331342"/>
                <a:gd name="connsiteX2903" fmla="*/ 1959207 w 4753603"/>
                <a:gd name="connsiteY2903" fmla="*/ 369208 h 4331342"/>
                <a:gd name="connsiteX2904" fmla="*/ 1968217 w 4753603"/>
                <a:gd name="connsiteY2904" fmla="*/ 388081 h 4331342"/>
                <a:gd name="connsiteX2905" fmla="*/ 1931946 w 4753603"/>
                <a:gd name="connsiteY2905" fmla="*/ 433668 h 4331342"/>
                <a:gd name="connsiteX2906" fmla="*/ 1836992 w 4753603"/>
                <a:gd name="connsiteY2906" fmla="*/ 521250 h 4331342"/>
                <a:gd name="connsiteX2907" fmla="*/ 1744123 w 4753603"/>
                <a:gd name="connsiteY2907" fmla="*/ 595430 h 4331342"/>
                <a:gd name="connsiteX2908" fmla="*/ 1645129 w 4753603"/>
                <a:gd name="connsiteY2908" fmla="*/ 669630 h 4331342"/>
                <a:gd name="connsiteX2909" fmla="*/ 1539354 w 4753603"/>
                <a:gd name="connsiteY2909" fmla="*/ 737050 h 4331342"/>
                <a:gd name="connsiteX2910" fmla="*/ 1426169 w 4753603"/>
                <a:gd name="connsiteY2910" fmla="*/ 799734 h 4331342"/>
                <a:gd name="connsiteX2911" fmla="*/ 1244251 w 4753603"/>
                <a:gd name="connsiteY2911" fmla="*/ 887492 h 4331342"/>
                <a:gd name="connsiteX2912" fmla="*/ 1152849 w 4753603"/>
                <a:gd name="connsiteY2912" fmla="*/ 915941 h 4331342"/>
                <a:gd name="connsiteX2913" fmla="*/ 1114892 w 4753603"/>
                <a:gd name="connsiteY2913" fmla="*/ 922214 h 4331342"/>
                <a:gd name="connsiteX2914" fmla="*/ 1102405 w 4753603"/>
                <a:gd name="connsiteY2914" fmla="*/ 920914 h 4331342"/>
                <a:gd name="connsiteX2915" fmla="*/ 1088850 w 4753603"/>
                <a:gd name="connsiteY2915" fmla="*/ 912267 h 4331342"/>
                <a:gd name="connsiteX2916" fmla="*/ 1099023 w 4753603"/>
                <a:gd name="connsiteY2916" fmla="*/ 900835 h 4331342"/>
                <a:gd name="connsiteX2917" fmla="*/ 1116282 w 4753603"/>
                <a:gd name="connsiteY2917" fmla="*/ 872912 h 4331342"/>
                <a:gd name="connsiteX2918" fmla="*/ 1116159 w 4753603"/>
                <a:gd name="connsiteY2918" fmla="*/ 869849 h 4331342"/>
                <a:gd name="connsiteX2919" fmla="*/ 1161564 w 4753603"/>
                <a:gd name="connsiteY2919" fmla="*/ 814800 h 4331342"/>
                <a:gd name="connsiteX2920" fmla="*/ 1260624 w 4753603"/>
                <a:gd name="connsiteY2920" fmla="*/ 776693 h 4331342"/>
                <a:gd name="connsiteX2921" fmla="*/ 1390155 w 4753603"/>
                <a:gd name="connsiteY2921" fmla="*/ 717599 h 4331342"/>
                <a:gd name="connsiteX2922" fmla="*/ 1518637 w 4753603"/>
                <a:gd name="connsiteY2922" fmla="*/ 646609 h 4331342"/>
                <a:gd name="connsiteX2923" fmla="*/ 1613640 w 4753603"/>
                <a:gd name="connsiteY2923" fmla="*/ 584471 h 4331342"/>
                <a:gd name="connsiteX2924" fmla="*/ 1742456 w 4753603"/>
                <a:gd name="connsiteY2924" fmla="*/ 477593 h 4331342"/>
                <a:gd name="connsiteX2925" fmla="*/ 1814655 w 4753603"/>
                <a:gd name="connsiteY2925" fmla="*/ 401536 h 4331342"/>
                <a:gd name="connsiteX2926" fmla="*/ 1895713 w 4753603"/>
                <a:gd name="connsiteY2926" fmla="*/ 364525 h 4331342"/>
                <a:gd name="connsiteX2927" fmla="*/ 1807588 w 4753603"/>
                <a:gd name="connsiteY2927" fmla="*/ 352843 h 4331342"/>
                <a:gd name="connsiteX2928" fmla="*/ 1808426 w 4753603"/>
                <a:gd name="connsiteY2928" fmla="*/ 377071 h 4331342"/>
                <a:gd name="connsiteX2929" fmla="*/ 1769631 w 4753603"/>
                <a:gd name="connsiteY2929" fmla="*/ 420409 h 4331342"/>
                <a:gd name="connsiteX2930" fmla="*/ 1675019 w 4753603"/>
                <a:gd name="connsiteY2930" fmla="*/ 508601 h 4331342"/>
                <a:gd name="connsiteX2931" fmla="*/ 1556880 w 4753603"/>
                <a:gd name="connsiteY2931" fmla="*/ 600692 h 4331342"/>
                <a:gd name="connsiteX2932" fmla="*/ 1478156 w 4753603"/>
                <a:gd name="connsiteY2932" fmla="*/ 647031 h 4331342"/>
                <a:gd name="connsiteX2933" fmla="*/ 1463583 w 4753603"/>
                <a:gd name="connsiteY2933" fmla="*/ 647745 h 4331342"/>
                <a:gd name="connsiteX2934" fmla="*/ 1465764 w 4753603"/>
                <a:gd name="connsiteY2934" fmla="*/ 636703 h 4331342"/>
                <a:gd name="connsiteX2935" fmla="*/ 1453582 w 4753603"/>
                <a:gd name="connsiteY2935" fmla="*/ 580572 h 4331342"/>
                <a:gd name="connsiteX2936" fmla="*/ 1432922 w 4753603"/>
                <a:gd name="connsiteY2936" fmla="*/ 558676 h 4331342"/>
                <a:gd name="connsiteX2937" fmla="*/ 1446543 w 4753603"/>
                <a:gd name="connsiteY2937" fmla="*/ 533490 h 4331342"/>
                <a:gd name="connsiteX2938" fmla="*/ 1471232 w 4753603"/>
                <a:gd name="connsiteY2938" fmla="*/ 529579 h 4331342"/>
                <a:gd name="connsiteX2939" fmla="*/ 1551556 w 4753603"/>
                <a:gd name="connsiteY2939" fmla="*/ 480070 h 4331342"/>
                <a:gd name="connsiteX2940" fmla="*/ 1623584 w 4753603"/>
                <a:gd name="connsiteY2940" fmla="*/ 419842 h 4331342"/>
                <a:gd name="connsiteX2941" fmla="*/ 1692326 w 4753603"/>
                <a:gd name="connsiteY2941" fmla="*/ 354350 h 4331342"/>
                <a:gd name="connsiteX2942" fmla="*/ 1764582 w 4753603"/>
                <a:gd name="connsiteY2942" fmla="*/ 272360 h 4331342"/>
                <a:gd name="connsiteX2943" fmla="*/ 1773527 w 4753603"/>
                <a:gd name="connsiteY2943" fmla="*/ 260289 h 4331342"/>
                <a:gd name="connsiteX2944" fmla="*/ 1785680 w 4753603"/>
                <a:gd name="connsiteY2944" fmla="*/ 254634 h 4331342"/>
                <a:gd name="connsiteX2945" fmla="*/ 1791557 w 4753603"/>
                <a:gd name="connsiteY2945" fmla="*/ 266303 h 4331342"/>
                <a:gd name="connsiteX2946" fmla="*/ 1791595 w 4753603"/>
                <a:gd name="connsiteY2946" fmla="*/ 298704 h 4331342"/>
                <a:gd name="connsiteX2947" fmla="*/ 1791929 w 4753603"/>
                <a:gd name="connsiteY2947" fmla="*/ 329452 h 4331342"/>
                <a:gd name="connsiteX2948" fmla="*/ 1807588 w 4753603"/>
                <a:gd name="connsiteY2948" fmla="*/ 352843 h 4331342"/>
                <a:gd name="connsiteX2949" fmla="*/ 1595028 w 4753603"/>
                <a:gd name="connsiteY2949" fmla="*/ 247441 h 4331342"/>
                <a:gd name="connsiteX2950" fmla="*/ 1658245 w 4753603"/>
                <a:gd name="connsiteY2950" fmla="*/ 185438 h 4331342"/>
                <a:gd name="connsiteX2951" fmla="*/ 1749704 w 4753603"/>
                <a:gd name="connsiteY2951" fmla="*/ 72358 h 4331342"/>
                <a:gd name="connsiteX2952" fmla="*/ 1782309 w 4753603"/>
                <a:gd name="connsiteY2952" fmla="*/ 31838 h 4331342"/>
                <a:gd name="connsiteX2953" fmla="*/ 1794091 w 4753603"/>
                <a:gd name="connsiteY2953" fmla="*/ 137199 h 4331342"/>
                <a:gd name="connsiteX2954" fmla="*/ 1757058 w 4753603"/>
                <a:gd name="connsiteY2954" fmla="*/ 254634 h 4331342"/>
                <a:gd name="connsiteX2955" fmla="*/ 1614916 w 4753603"/>
                <a:gd name="connsiteY2955" fmla="*/ 396614 h 4331342"/>
                <a:gd name="connsiteX2956" fmla="*/ 1563348 w 4753603"/>
                <a:gd name="connsiteY2956" fmla="*/ 413310 h 4331342"/>
                <a:gd name="connsiteX2957" fmla="*/ 1582788 w 4753603"/>
                <a:gd name="connsiteY2957" fmla="*/ 395923 h 4331342"/>
                <a:gd name="connsiteX2958" fmla="*/ 1632785 w 4753603"/>
                <a:gd name="connsiteY2958" fmla="*/ 371025 h 4331342"/>
                <a:gd name="connsiteX2959" fmla="*/ 1653102 w 4753603"/>
                <a:gd name="connsiteY2959" fmla="*/ 326718 h 4331342"/>
                <a:gd name="connsiteX2960" fmla="*/ 1608068 w 4753603"/>
                <a:gd name="connsiteY2960" fmla="*/ 284299 h 4331342"/>
                <a:gd name="connsiteX2961" fmla="*/ 1577045 w 4753603"/>
                <a:gd name="connsiteY2961" fmla="*/ 271286 h 4331342"/>
                <a:gd name="connsiteX2962" fmla="*/ 1595028 w 4753603"/>
                <a:gd name="connsiteY2962" fmla="*/ 247441 h 4331342"/>
                <a:gd name="connsiteX2963" fmla="*/ 916322 w 4753603"/>
                <a:gd name="connsiteY2963" fmla="*/ 722243 h 4331342"/>
                <a:gd name="connsiteX2964" fmla="*/ 921184 w 4753603"/>
                <a:gd name="connsiteY2964" fmla="*/ 711749 h 4331342"/>
                <a:gd name="connsiteX2965" fmla="*/ 933663 w 4753603"/>
                <a:gd name="connsiteY2965" fmla="*/ 672549 h 4331342"/>
                <a:gd name="connsiteX2966" fmla="*/ 928111 w 4753603"/>
                <a:gd name="connsiteY2966" fmla="*/ 636621 h 4331342"/>
                <a:gd name="connsiteX2967" fmla="*/ 923600 w 4753603"/>
                <a:gd name="connsiteY2967" fmla="*/ 623806 h 4331342"/>
                <a:gd name="connsiteX2968" fmla="*/ 923176 w 4753603"/>
                <a:gd name="connsiteY2968" fmla="*/ 622113 h 4331342"/>
                <a:gd name="connsiteX2969" fmla="*/ 925335 w 4753603"/>
                <a:gd name="connsiteY2969" fmla="*/ 596750 h 4331342"/>
                <a:gd name="connsiteX2970" fmla="*/ 926242 w 4753603"/>
                <a:gd name="connsiteY2970" fmla="*/ 590084 h 4331342"/>
                <a:gd name="connsiteX2971" fmla="*/ 928111 w 4753603"/>
                <a:gd name="connsiteY2971" fmla="*/ 587661 h 4331342"/>
                <a:gd name="connsiteX2972" fmla="*/ 928894 w 4753603"/>
                <a:gd name="connsiteY2972" fmla="*/ 577838 h 4331342"/>
                <a:gd name="connsiteX2973" fmla="*/ 934283 w 4753603"/>
                <a:gd name="connsiteY2973" fmla="*/ 556230 h 4331342"/>
                <a:gd name="connsiteX2974" fmla="*/ 938350 w 4753603"/>
                <a:gd name="connsiteY2974" fmla="*/ 528463 h 4331342"/>
                <a:gd name="connsiteX2975" fmla="*/ 956062 w 4753603"/>
                <a:gd name="connsiteY2975" fmla="*/ 507074 h 4331342"/>
                <a:gd name="connsiteX2976" fmla="*/ 984685 w 4753603"/>
                <a:gd name="connsiteY2976" fmla="*/ 497735 h 4331342"/>
                <a:gd name="connsiteX2977" fmla="*/ 988571 w 4753603"/>
                <a:gd name="connsiteY2977" fmla="*/ 470236 h 4331342"/>
                <a:gd name="connsiteX2978" fmla="*/ 1006421 w 4753603"/>
                <a:gd name="connsiteY2978" fmla="*/ 371190 h 4331342"/>
                <a:gd name="connsiteX2979" fmla="*/ 1035253 w 4753603"/>
                <a:gd name="connsiteY2979" fmla="*/ 371221 h 4331342"/>
                <a:gd name="connsiteX2980" fmla="*/ 1039320 w 4753603"/>
                <a:gd name="connsiteY2980" fmla="*/ 376267 h 4331342"/>
                <a:gd name="connsiteX2981" fmla="*/ 1059942 w 4753603"/>
                <a:gd name="connsiteY2981" fmla="*/ 380508 h 4331342"/>
                <a:gd name="connsiteX2982" fmla="*/ 1079478 w 4753603"/>
                <a:gd name="connsiteY2982" fmla="*/ 343651 h 4331342"/>
                <a:gd name="connsiteX2983" fmla="*/ 1135171 w 4753603"/>
                <a:gd name="connsiteY2983" fmla="*/ 272236 h 4331342"/>
                <a:gd name="connsiteX2984" fmla="*/ 1194559 w 4753603"/>
                <a:gd name="connsiteY2984" fmla="*/ 234193 h 4331342"/>
                <a:gd name="connsiteX2985" fmla="*/ 1201331 w 4753603"/>
                <a:gd name="connsiteY2985" fmla="*/ 236184 h 4331342"/>
                <a:gd name="connsiteX2986" fmla="*/ 1213428 w 4753603"/>
                <a:gd name="connsiteY2986" fmla="*/ 254097 h 4331342"/>
                <a:gd name="connsiteX2987" fmla="*/ 1214419 w 4753603"/>
                <a:gd name="connsiteY2987" fmla="*/ 257326 h 4331342"/>
                <a:gd name="connsiteX2988" fmla="*/ 1198236 w 4753603"/>
                <a:gd name="connsiteY2988" fmla="*/ 319000 h 4331342"/>
                <a:gd name="connsiteX2989" fmla="*/ 1178757 w 4753603"/>
                <a:gd name="connsiteY2989" fmla="*/ 359221 h 4331342"/>
                <a:gd name="connsiteX2990" fmla="*/ 1179481 w 4753603"/>
                <a:gd name="connsiteY2990" fmla="*/ 361677 h 4331342"/>
                <a:gd name="connsiteX2991" fmla="*/ 1185024 w 4753603"/>
                <a:gd name="connsiteY2991" fmla="*/ 363244 h 4331342"/>
                <a:gd name="connsiteX2992" fmla="*/ 1199340 w 4753603"/>
                <a:gd name="connsiteY2992" fmla="*/ 376463 h 4331342"/>
                <a:gd name="connsiteX2993" fmla="*/ 1182357 w 4753603"/>
                <a:gd name="connsiteY2993" fmla="*/ 389402 h 4331342"/>
                <a:gd name="connsiteX2994" fmla="*/ 1142086 w 4753603"/>
                <a:gd name="connsiteY2994" fmla="*/ 429840 h 4331342"/>
                <a:gd name="connsiteX2995" fmla="*/ 1116682 w 4753603"/>
                <a:gd name="connsiteY2995" fmla="*/ 485827 h 4331342"/>
                <a:gd name="connsiteX2996" fmla="*/ 1106767 w 4753603"/>
                <a:gd name="connsiteY2996" fmla="*/ 519166 h 4331342"/>
                <a:gd name="connsiteX2997" fmla="*/ 1098042 w 4753603"/>
                <a:gd name="connsiteY2997" fmla="*/ 541228 h 4331342"/>
                <a:gd name="connsiteX2998" fmla="*/ 1066829 w 4753603"/>
                <a:gd name="connsiteY2998" fmla="*/ 556756 h 4331342"/>
                <a:gd name="connsiteX2999" fmla="*/ 1047750 w 4753603"/>
                <a:gd name="connsiteY2999" fmla="*/ 609215 h 4331342"/>
                <a:gd name="connsiteX3000" fmla="*/ 1047131 w 4753603"/>
                <a:gd name="connsiteY3000" fmla="*/ 612053 h 4331342"/>
                <a:gd name="connsiteX3001" fmla="*/ 1044531 w 4753603"/>
                <a:gd name="connsiteY3001" fmla="*/ 618481 h 4331342"/>
                <a:gd name="connsiteX3002" fmla="*/ 1003840 w 4753603"/>
                <a:gd name="connsiteY3002" fmla="*/ 689327 h 4331342"/>
                <a:gd name="connsiteX3003" fmla="*/ 988914 w 4753603"/>
                <a:gd name="connsiteY3003" fmla="*/ 714041 h 4331342"/>
                <a:gd name="connsiteX3004" fmla="*/ 1009831 w 4753603"/>
                <a:gd name="connsiteY3004" fmla="*/ 716662 h 4331342"/>
                <a:gd name="connsiteX3005" fmla="*/ 1050750 w 4753603"/>
                <a:gd name="connsiteY3005" fmla="*/ 656679 h 4331342"/>
                <a:gd name="connsiteX3006" fmla="*/ 1078744 w 4753603"/>
                <a:gd name="connsiteY3006" fmla="*/ 588598 h 4331342"/>
                <a:gd name="connsiteX3007" fmla="*/ 1087917 w 4753603"/>
                <a:gd name="connsiteY3007" fmla="*/ 575454 h 4331342"/>
                <a:gd name="connsiteX3008" fmla="*/ 1102814 w 4753603"/>
                <a:gd name="connsiteY3008" fmla="*/ 566610 h 4331342"/>
                <a:gd name="connsiteX3009" fmla="*/ 1129036 w 4753603"/>
                <a:gd name="connsiteY3009" fmla="*/ 534026 h 4331342"/>
                <a:gd name="connsiteX3010" fmla="*/ 1233926 w 4753603"/>
                <a:gd name="connsiteY3010" fmla="*/ 384326 h 4331342"/>
                <a:gd name="connsiteX3011" fmla="*/ 1238479 w 4753603"/>
                <a:gd name="connsiteY3011" fmla="*/ 383428 h 4331342"/>
                <a:gd name="connsiteX3012" fmla="*/ 1251585 w 4753603"/>
                <a:gd name="connsiteY3012" fmla="*/ 383324 h 4331342"/>
                <a:gd name="connsiteX3013" fmla="*/ 1262558 w 4753603"/>
                <a:gd name="connsiteY3013" fmla="*/ 400948 h 4331342"/>
                <a:gd name="connsiteX3014" fmla="*/ 1287809 w 4753603"/>
                <a:gd name="connsiteY3014" fmla="*/ 390073 h 4331342"/>
                <a:gd name="connsiteX3015" fmla="*/ 1304458 w 4753603"/>
                <a:gd name="connsiteY3015" fmla="*/ 364906 h 4331342"/>
                <a:gd name="connsiteX3016" fmla="*/ 1307649 w 4753603"/>
                <a:gd name="connsiteY3016" fmla="*/ 358581 h 4331342"/>
                <a:gd name="connsiteX3017" fmla="*/ 1326642 w 4753603"/>
                <a:gd name="connsiteY3017" fmla="*/ 343020 h 4331342"/>
                <a:gd name="connsiteX3018" fmla="*/ 1383268 w 4753603"/>
                <a:gd name="connsiteY3018" fmla="*/ 311890 h 4331342"/>
                <a:gd name="connsiteX3019" fmla="*/ 1442276 w 4753603"/>
                <a:gd name="connsiteY3019" fmla="*/ 287487 h 4331342"/>
                <a:gd name="connsiteX3020" fmla="*/ 1452658 w 4753603"/>
                <a:gd name="connsiteY3020" fmla="*/ 293131 h 4331342"/>
                <a:gd name="connsiteX3021" fmla="*/ 1461888 w 4753603"/>
                <a:gd name="connsiteY3021" fmla="*/ 321455 h 4331342"/>
                <a:gd name="connsiteX3022" fmla="*/ 1479518 w 4753603"/>
                <a:gd name="connsiteY3022" fmla="*/ 318318 h 4331342"/>
                <a:gd name="connsiteX3023" fmla="*/ 1506808 w 4753603"/>
                <a:gd name="connsiteY3023" fmla="*/ 298053 h 4331342"/>
                <a:gd name="connsiteX3024" fmla="*/ 1524067 w 4753603"/>
                <a:gd name="connsiteY3024" fmla="*/ 284351 h 4331342"/>
                <a:gd name="connsiteX3025" fmla="*/ 1555737 w 4753603"/>
                <a:gd name="connsiteY3025" fmla="*/ 288964 h 4331342"/>
                <a:gd name="connsiteX3026" fmla="*/ 1580712 w 4753603"/>
                <a:gd name="connsiteY3026" fmla="*/ 302789 h 4331342"/>
                <a:gd name="connsiteX3027" fmla="*/ 1605343 w 4753603"/>
                <a:gd name="connsiteY3027" fmla="*/ 303006 h 4331342"/>
                <a:gd name="connsiteX3028" fmla="*/ 1630937 w 4753603"/>
                <a:gd name="connsiteY3028" fmla="*/ 324468 h 4331342"/>
                <a:gd name="connsiteX3029" fmla="*/ 1619955 w 4753603"/>
                <a:gd name="connsiteY3029" fmla="*/ 353546 h 4331342"/>
                <a:gd name="connsiteX3030" fmla="*/ 1619717 w 4753603"/>
                <a:gd name="connsiteY3030" fmla="*/ 353731 h 4331342"/>
                <a:gd name="connsiteX3031" fmla="*/ 1593352 w 4753603"/>
                <a:gd name="connsiteY3031" fmla="*/ 370323 h 4331342"/>
                <a:gd name="connsiteX3032" fmla="*/ 1590904 w 4753603"/>
                <a:gd name="connsiteY3032" fmla="*/ 370716 h 4331342"/>
                <a:gd name="connsiteX3033" fmla="*/ 1558833 w 4753603"/>
                <a:gd name="connsiteY3033" fmla="*/ 386709 h 4331342"/>
                <a:gd name="connsiteX3034" fmla="*/ 1530363 w 4753603"/>
                <a:gd name="connsiteY3034" fmla="*/ 406654 h 4331342"/>
                <a:gd name="connsiteX3035" fmla="*/ 1531544 w 4753603"/>
                <a:gd name="connsiteY3035" fmla="*/ 420089 h 4331342"/>
                <a:gd name="connsiteX3036" fmla="*/ 1528181 w 4753603"/>
                <a:gd name="connsiteY3036" fmla="*/ 469515 h 4331342"/>
                <a:gd name="connsiteX3037" fmla="*/ 1471479 w 4753603"/>
                <a:gd name="connsiteY3037" fmla="*/ 506692 h 4331342"/>
                <a:gd name="connsiteX3038" fmla="*/ 1427398 w 4753603"/>
                <a:gd name="connsiteY3038" fmla="*/ 506857 h 4331342"/>
                <a:gd name="connsiteX3039" fmla="*/ 1411977 w 4753603"/>
                <a:gd name="connsiteY3039" fmla="*/ 506970 h 4331342"/>
                <a:gd name="connsiteX3040" fmla="*/ 1396117 w 4753603"/>
                <a:gd name="connsiteY3040" fmla="*/ 536419 h 4331342"/>
                <a:gd name="connsiteX3041" fmla="*/ 1382411 w 4753603"/>
                <a:gd name="connsiteY3041" fmla="*/ 555870 h 4331342"/>
                <a:gd name="connsiteX3042" fmla="*/ 1352502 w 4753603"/>
                <a:gd name="connsiteY3042" fmla="*/ 565714 h 4331342"/>
                <a:gd name="connsiteX3043" fmla="*/ 1336700 w 4753603"/>
                <a:gd name="connsiteY3043" fmla="*/ 574752 h 4331342"/>
                <a:gd name="connsiteX3044" fmla="*/ 1330138 w 4753603"/>
                <a:gd name="connsiteY3044" fmla="*/ 578497 h 4331342"/>
                <a:gd name="connsiteX3045" fmla="*/ 1327671 w 4753603"/>
                <a:gd name="connsiteY3045" fmla="*/ 580830 h 4331342"/>
                <a:gd name="connsiteX3046" fmla="*/ 1302306 w 4753603"/>
                <a:gd name="connsiteY3046" fmla="*/ 593097 h 4331342"/>
                <a:gd name="connsiteX3047" fmla="*/ 1270368 w 4753603"/>
                <a:gd name="connsiteY3047" fmla="*/ 595657 h 4331342"/>
                <a:gd name="connsiteX3048" fmla="*/ 1217590 w 4753603"/>
                <a:gd name="connsiteY3048" fmla="*/ 598855 h 4331342"/>
                <a:gd name="connsiteX3049" fmla="*/ 1182976 w 4753603"/>
                <a:gd name="connsiteY3049" fmla="*/ 654533 h 4331342"/>
                <a:gd name="connsiteX3050" fmla="*/ 1143581 w 4753603"/>
                <a:gd name="connsiteY3050" fmla="*/ 676791 h 4331342"/>
                <a:gd name="connsiteX3051" fmla="*/ 1101357 w 4753603"/>
                <a:gd name="connsiteY3051" fmla="*/ 684756 h 4331342"/>
                <a:gd name="connsiteX3052" fmla="*/ 1075363 w 4753603"/>
                <a:gd name="connsiteY3052" fmla="*/ 686004 h 4331342"/>
                <a:gd name="connsiteX3053" fmla="*/ 1123969 w 4753603"/>
                <a:gd name="connsiteY3053" fmla="*/ 654844 h 4331342"/>
                <a:gd name="connsiteX3054" fmla="*/ 1160116 w 4753603"/>
                <a:gd name="connsiteY3054" fmla="*/ 642130 h 4331342"/>
                <a:gd name="connsiteX3055" fmla="*/ 1173166 w 4753603"/>
                <a:gd name="connsiteY3055" fmla="*/ 623785 h 4331342"/>
                <a:gd name="connsiteX3056" fmla="*/ 1116292 w 4753603"/>
                <a:gd name="connsiteY3056" fmla="*/ 632834 h 4331342"/>
                <a:gd name="connsiteX3057" fmla="*/ 1146524 w 4753603"/>
                <a:gd name="connsiteY3057" fmla="*/ 584782 h 4331342"/>
                <a:gd name="connsiteX3058" fmla="*/ 1213361 w 4753603"/>
                <a:gd name="connsiteY3058" fmla="*/ 536223 h 4331342"/>
                <a:gd name="connsiteX3059" fmla="*/ 1258443 w 4753603"/>
                <a:gd name="connsiteY3059" fmla="*/ 546438 h 4331342"/>
                <a:gd name="connsiteX3060" fmla="*/ 1279265 w 4753603"/>
                <a:gd name="connsiteY3060" fmla="*/ 557045 h 4331342"/>
                <a:gd name="connsiteX3061" fmla="*/ 1318146 w 4753603"/>
                <a:gd name="connsiteY3061" fmla="*/ 550379 h 4331342"/>
                <a:gd name="connsiteX3062" fmla="*/ 1226430 w 4753603"/>
                <a:gd name="connsiteY3062" fmla="*/ 510860 h 4331342"/>
                <a:gd name="connsiteX3063" fmla="*/ 1282970 w 4753603"/>
                <a:gd name="connsiteY3063" fmla="*/ 463426 h 4331342"/>
                <a:gd name="connsiteX3064" fmla="*/ 1298543 w 4753603"/>
                <a:gd name="connsiteY3064" fmla="*/ 457937 h 4331342"/>
                <a:gd name="connsiteX3065" fmla="*/ 1304515 w 4753603"/>
                <a:gd name="connsiteY3065" fmla="*/ 457205 h 4331342"/>
                <a:gd name="connsiteX3066" fmla="*/ 1319851 w 4753603"/>
                <a:gd name="connsiteY3066" fmla="*/ 454944 h 4331342"/>
                <a:gd name="connsiteX3067" fmla="*/ 1381354 w 4753603"/>
                <a:gd name="connsiteY3067" fmla="*/ 452510 h 4331342"/>
                <a:gd name="connsiteX3068" fmla="*/ 1469641 w 4753603"/>
                <a:gd name="connsiteY3068" fmla="*/ 457030 h 4331342"/>
                <a:gd name="connsiteX3069" fmla="*/ 1470755 w 4753603"/>
                <a:gd name="connsiteY3069" fmla="*/ 445142 h 4331342"/>
                <a:gd name="connsiteX3070" fmla="*/ 1420568 w 4753603"/>
                <a:gd name="connsiteY3070" fmla="*/ 432811 h 4331342"/>
                <a:gd name="connsiteX3071" fmla="*/ 1374886 w 4753603"/>
                <a:gd name="connsiteY3071" fmla="*/ 432885 h 4331342"/>
                <a:gd name="connsiteX3072" fmla="*/ 1439266 w 4753603"/>
                <a:gd name="connsiteY3072" fmla="*/ 402671 h 4331342"/>
                <a:gd name="connsiteX3073" fmla="*/ 1505426 w 4753603"/>
                <a:gd name="connsiteY3073" fmla="*/ 367918 h 4331342"/>
                <a:gd name="connsiteX3074" fmla="*/ 1516961 w 4753603"/>
                <a:gd name="connsiteY3074" fmla="*/ 352421 h 4331342"/>
                <a:gd name="connsiteX3075" fmla="*/ 1497892 w 4753603"/>
                <a:gd name="connsiteY3075" fmla="*/ 351915 h 4331342"/>
                <a:gd name="connsiteX3076" fmla="*/ 1490186 w 4753603"/>
                <a:gd name="connsiteY3076" fmla="*/ 352318 h 4331342"/>
                <a:gd name="connsiteX3077" fmla="*/ 1442923 w 4753603"/>
                <a:gd name="connsiteY3077" fmla="*/ 377948 h 4331342"/>
                <a:gd name="connsiteX3078" fmla="*/ 1384687 w 4753603"/>
                <a:gd name="connsiteY3078" fmla="*/ 404302 h 4331342"/>
                <a:gd name="connsiteX3079" fmla="*/ 1369447 w 4753603"/>
                <a:gd name="connsiteY3079" fmla="*/ 404032 h 4331342"/>
                <a:gd name="connsiteX3080" fmla="*/ 1371276 w 4753603"/>
                <a:gd name="connsiteY3080" fmla="*/ 390393 h 4331342"/>
                <a:gd name="connsiteX3081" fmla="*/ 1376772 w 4753603"/>
                <a:gd name="connsiteY3081" fmla="*/ 356135 h 4331342"/>
                <a:gd name="connsiteX3082" fmla="*/ 1364733 w 4753603"/>
                <a:gd name="connsiteY3082" fmla="*/ 346611 h 4331342"/>
                <a:gd name="connsiteX3083" fmla="*/ 1342520 w 4753603"/>
                <a:gd name="connsiteY3083" fmla="*/ 392724 h 4331342"/>
                <a:gd name="connsiteX3084" fmla="*/ 1341853 w 4753603"/>
                <a:gd name="connsiteY3084" fmla="*/ 395769 h 4331342"/>
                <a:gd name="connsiteX3085" fmla="*/ 1327099 w 4753603"/>
                <a:gd name="connsiteY3085" fmla="*/ 416664 h 4331342"/>
                <a:gd name="connsiteX3086" fmla="*/ 1321041 w 4753603"/>
                <a:gd name="connsiteY3086" fmla="*/ 420584 h 4331342"/>
                <a:gd name="connsiteX3087" fmla="*/ 1285942 w 4753603"/>
                <a:gd name="connsiteY3087" fmla="*/ 438631 h 4331342"/>
                <a:gd name="connsiteX3088" fmla="*/ 1273074 w 4753603"/>
                <a:gd name="connsiteY3088" fmla="*/ 444452 h 4331342"/>
                <a:gd name="connsiteX3089" fmla="*/ 1238993 w 4753603"/>
                <a:gd name="connsiteY3089" fmla="*/ 469328 h 4331342"/>
                <a:gd name="connsiteX3090" fmla="*/ 1216219 w 4753603"/>
                <a:gd name="connsiteY3090" fmla="*/ 483187 h 4331342"/>
                <a:gd name="connsiteX3091" fmla="*/ 1222772 w 4753603"/>
                <a:gd name="connsiteY3091" fmla="*/ 459547 h 4331342"/>
                <a:gd name="connsiteX3092" fmla="*/ 1223010 w 4753603"/>
                <a:gd name="connsiteY3092" fmla="*/ 424000 h 4331342"/>
                <a:gd name="connsiteX3093" fmla="*/ 1214123 w 4753603"/>
                <a:gd name="connsiteY3093" fmla="*/ 426857 h 4331342"/>
                <a:gd name="connsiteX3094" fmla="*/ 1198502 w 4753603"/>
                <a:gd name="connsiteY3094" fmla="*/ 461033 h 4331342"/>
                <a:gd name="connsiteX3095" fmla="*/ 1197855 w 4753603"/>
                <a:gd name="connsiteY3095" fmla="*/ 469432 h 4331342"/>
                <a:gd name="connsiteX3096" fmla="*/ 1187910 w 4753603"/>
                <a:gd name="connsiteY3096" fmla="*/ 505247 h 4331342"/>
                <a:gd name="connsiteX3097" fmla="*/ 1173566 w 4753603"/>
                <a:gd name="connsiteY3097" fmla="*/ 525656 h 4331342"/>
                <a:gd name="connsiteX3098" fmla="*/ 1138790 w 4753603"/>
                <a:gd name="connsiteY3098" fmla="*/ 559624 h 4331342"/>
                <a:gd name="connsiteX3099" fmla="*/ 1135752 w 4753603"/>
                <a:gd name="connsiteY3099" fmla="*/ 562710 h 4331342"/>
                <a:gd name="connsiteX3100" fmla="*/ 1113092 w 4753603"/>
                <a:gd name="connsiteY3100" fmla="*/ 592901 h 4331342"/>
                <a:gd name="connsiteX3101" fmla="*/ 1097671 w 4753603"/>
                <a:gd name="connsiteY3101" fmla="*/ 593479 h 4331342"/>
                <a:gd name="connsiteX3102" fmla="*/ 1094584 w 4753603"/>
                <a:gd name="connsiteY3102" fmla="*/ 590518 h 4331342"/>
                <a:gd name="connsiteX3103" fmla="*/ 1092041 w 4753603"/>
                <a:gd name="connsiteY3103" fmla="*/ 589806 h 4331342"/>
                <a:gd name="connsiteX3104" fmla="*/ 1079687 w 4753603"/>
                <a:gd name="connsiteY3104" fmla="*/ 612980 h 4331342"/>
                <a:gd name="connsiteX3105" fmla="*/ 1060342 w 4753603"/>
                <a:gd name="connsiteY3105" fmla="*/ 667431 h 4331342"/>
                <a:gd name="connsiteX3106" fmla="*/ 1003992 w 4753603"/>
                <a:gd name="connsiteY3106" fmla="*/ 745285 h 4331342"/>
                <a:gd name="connsiteX3107" fmla="*/ 1003611 w 4753603"/>
                <a:gd name="connsiteY3107" fmla="*/ 746966 h 4331342"/>
                <a:gd name="connsiteX3108" fmla="*/ 982780 w 4753603"/>
                <a:gd name="connsiteY3108" fmla="*/ 779490 h 4331342"/>
                <a:gd name="connsiteX3109" fmla="*/ 953900 w 4753603"/>
                <a:gd name="connsiteY3109" fmla="*/ 790458 h 4331342"/>
                <a:gd name="connsiteX3110" fmla="*/ 940280 w 4753603"/>
                <a:gd name="connsiteY3110" fmla="*/ 797526 h 4331342"/>
                <a:gd name="connsiteX3111" fmla="*/ 922031 w 4753603"/>
                <a:gd name="connsiteY3111" fmla="*/ 789994 h 4331342"/>
                <a:gd name="connsiteX3112" fmla="*/ 916322 w 4753603"/>
                <a:gd name="connsiteY3112" fmla="*/ 722243 h 4331342"/>
                <a:gd name="connsiteX3113" fmla="*/ 836930 w 4753603"/>
                <a:gd name="connsiteY3113" fmla="*/ 666319 h 4331342"/>
                <a:gd name="connsiteX3114" fmla="*/ 847696 w 4753603"/>
                <a:gd name="connsiteY3114" fmla="*/ 625920 h 4331342"/>
                <a:gd name="connsiteX3115" fmla="*/ 865738 w 4753603"/>
                <a:gd name="connsiteY3115" fmla="*/ 608678 h 4331342"/>
                <a:gd name="connsiteX3116" fmla="*/ 883842 w 4753603"/>
                <a:gd name="connsiteY3116" fmla="*/ 601476 h 4331342"/>
                <a:gd name="connsiteX3117" fmla="*/ 892791 w 4753603"/>
                <a:gd name="connsiteY3117" fmla="*/ 603477 h 4331342"/>
                <a:gd name="connsiteX3118" fmla="*/ 912793 w 4753603"/>
                <a:gd name="connsiteY3118" fmla="*/ 684282 h 4331342"/>
                <a:gd name="connsiteX3119" fmla="*/ 908862 w 4753603"/>
                <a:gd name="connsiteY3119" fmla="*/ 692877 h 4331342"/>
                <a:gd name="connsiteX3120" fmla="*/ 894483 w 4753603"/>
                <a:gd name="connsiteY3120" fmla="*/ 721026 h 4331342"/>
                <a:gd name="connsiteX3121" fmla="*/ 876091 w 4753603"/>
                <a:gd name="connsiteY3121" fmla="*/ 741931 h 4331342"/>
                <a:gd name="connsiteX3122" fmla="*/ 874087 w 4753603"/>
                <a:gd name="connsiteY3122" fmla="*/ 708746 h 4331342"/>
                <a:gd name="connsiteX3123" fmla="*/ 853281 w 4753603"/>
                <a:gd name="connsiteY3123" fmla="*/ 692515 h 4331342"/>
                <a:gd name="connsiteX3124" fmla="*/ 836930 w 4753603"/>
                <a:gd name="connsiteY3124" fmla="*/ 666319 h 4331342"/>
                <a:gd name="connsiteX3125" fmla="*/ 662499 w 4753603"/>
                <a:gd name="connsiteY3125" fmla="*/ 693959 h 4331342"/>
                <a:gd name="connsiteX3126" fmla="*/ 681852 w 4753603"/>
                <a:gd name="connsiteY3126" fmla="*/ 689967 h 4331342"/>
                <a:gd name="connsiteX3127" fmla="*/ 702671 w 4753603"/>
                <a:gd name="connsiteY3127" fmla="*/ 684117 h 4331342"/>
                <a:gd name="connsiteX3128" fmla="*/ 705757 w 4753603"/>
                <a:gd name="connsiteY3128" fmla="*/ 663273 h 4331342"/>
                <a:gd name="connsiteX3129" fmla="*/ 705819 w 4753603"/>
                <a:gd name="connsiteY3129" fmla="*/ 603302 h 4331342"/>
                <a:gd name="connsiteX3130" fmla="*/ 723973 w 4753603"/>
                <a:gd name="connsiteY3130" fmla="*/ 570594 h 4331342"/>
                <a:gd name="connsiteX3131" fmla="*/ 764837 w 4753603"/>
                <a:gd name="connsiteY3131" fmla="*/ 544105 h 4331342"/>
                <a:gd name="connsiteX3132" fmla="*/ 771390 w 4753603"/>
                <a:gd name="connsiteY3132" fmla="*/ 541134 h 4331342"/>
                <a:gd name="connsiteX3133" fmla="*/ 771855 w 4753603"/>
                <a:gd name="connsiteY3133" fmla="*/ 540970 h 4331342"/>
                <a:gd name="connsiteX3134" fmla="*/ 796813 w 4753603"/>
                <a:gd name="connsiteY3134" fmla="*/ 537977 h 4331342"/>
                <a:gd name="connsiteX3135" fmla="*/ 796813 w 4753603"/>
                <a:gd name="connsiteY3135" fmla="*/ 537895 h 4331342"/>
                <a:gd name="connsiteX3136" fmla="*/ 815721 w 4753603"/>
                <a:gd name="connsiteY3136" fmla="*/ 562710 h 4331342"/>
                <a:gd name="connsiteX3137" fmla="*/ 822130 w 4753603"/>
                <a:gd name="connsiteY3137" fmla="*/ 648529 h 4331342"/>
                <a:gd name="connsiteX3138" fmla="*/ 815845 w 4753603"/>
                <a:gd name="connsiteY3138" fmla="*/ 667793 h 4331342"/>
                <a:gd name="connsiteX3139" fmla="*/ 809715 w 4753603"/>
                <a:gd name="connsiteY3139" fmla="*/ 692372 h 4331342"/>
                <a:gd name="connsiteX3140" fmla="*/ 822130 w 4753603"/>
                <a:gd name="connsiteY3140" fmla="*/ 707829 h 4331342"/>
                <a:gd name="connsiteX3141" fmla="*/ 835011 w 4753603"/>
                <a:gd name="connsiteY3141" fmla="*/ 711574 h 4331342"/>
                <a:gd name="connsiteX3142" fmla="*/ 852228 w 4753603"/>
                <a:gd name="connsiteY3142" fmla="*/ 731324 h 4331342"/>
                <a:gd name="connsiteX3143" fmla="*/ 846436 w 4753603"/>
                <a:gd name="connsiteY3143" fmla="*/ 781811 h 4331342"/>
                <a:gd name="connsiteX3144" fmla="*/ 847491 w 4753603"/>
                <a:gd name="connsiteY3144" fmla="*/ 787640 h 4331342"/>
                <a:gd name="connsiteX3145" fmla="*/ 825598 w 4753603"/>
                <a:gd name="connsiteY3145" fmla="*/ 862285 h 4331342"/>
                <a:gd name="connsiteX3146" fmla="*/ 809362 w 4753603"/>
                <a:gd name="connsiteY3146" fmla="*/ 871859 h 4331342"/>
                <a:gd name="connsiteX3147" fmla="*/ 793530 w 4753603"/>
                <a:gd name="connsiteY3147" fmla="*/ 984056 h 4331342"/>
                <a:gd name="connsiteX3148" fmla="*/ 742201 w 4753603"/>
                <a:gd name="connsiteY3148" fmla="*/ 1025623 h 4331342"/>
                <a:gd name="connsiteX3149" fmla="*/ 737670 w 4753603"/>
                <a:gd name="connsiteY3149" fmla="*/ 1026481 h 4331342"/>
                <a:gd name="connsiteX3150" fmla="*/ 724985 w 4753603"/>
                <a:gd name="connsiteY3150" fmla="*/ 1032024 h 4331342"/>
                <a:gd name="connsiteX3151" fmla="*/ 718534 w 4753603"/>
                <a:gd name="connsiteY3151" fmla="*/ 1044702 h 4331342"/>
                <a:gd name="connsiteX3152" fmla="*/ 718607 w 4753603"/>
                <a:gd name="connsiteY3152" fmla="*/ 1049798 h 4331342"/>
                <a:gd name="connsiteX3153" fmla="*/ 718854 w 4753603"/>
                <a:gd name="connsiteY3153" fmla="*/ 1062742 h 4331342"/>
                <a:gd name="connsiteX3154" fmla="*/ 697087 w 4753603"/>
                <a:gd name="connsiteY3154" fmla="*/ 1087565 h 4331342"/>
                <a:gd name="connsiteX3155" fmla="*/ 697024 w 4753603"/>
                <a:gd name="connsiteY3155" fmla="*/ 1087574 h 4331342"/>
                <a:gd name="connsiteX3156" fmla="*/ 689376 w 4753603"/>
                <a:gd name="connsiteY3156" fmla="*/ 1098909 h 4331342"/>
                <a:gd name="connsiteX3157" fmla="*/ 686641 w 4753603"/>
                <a:gd name="connsiteY3157" fmla="*/ 1069229 h 4331342"/>
                <a:gd name="connsiteX3158" fmla="*/ 737185 w 4753603"/>
                <a:gd name="connsiteY3158" fmla="*/ 982799 h 4331342"/>
                <a:gd name="connsiteX3159" fmla="*/ 781072 w 4753603"/>
                <a:gd name="connsiteY3159" fmla="*/ 930593 h 4331342"/>
                <a:gd name="connsiteX3160" fmla="*/ 761171 w 4753603"/>
                <a:gd name="connsiteY3160" fmla="*/ 939116 h 4331342"/>
                <a:gd name="connsiteX3161" fmla="*/ 746671 w 4753603"/>
                <a:gd name="connsiteY3161" fmla="*/ 945927 h 4331342"/>
                <a:gd name="connsiteX3162" fmla="*/ 730219 w 4753603"/>
                <a:gd name="connsiteY3162" fmla="*/ 957672 h 4331342"/>
                <a:gd name="connsiteX3163" fmla="*/ 739393 w 4753603"/>
                <a:gd name="connsiteY3163" fmla="*/ 884263 h 4331342"/>
                <a:gd name="connsiteX3164" fmla="*/ 773041 w 4753603"/>
                <a:gd name="connsiteY3164" fmla="*/ 819536 h 4331342"/>
                <a:gd name="connsiteX3165" fmla="*/ 798081 w 4753603"/>
                <a:gd name="connsiteY3165" fmla="*/ 794937 h 4331342"/>
                <a:gd name="connsiteX3166" fmla="*/ 802416 w 4753603"/>
                <a:gd name="connsiteY3166" fmla="*/ 781564 h 4331342"/>
                <a:gd name="connsiteX3167" fmla="*/ 788906 w 4753603"/>
                <a:gd name="connsiteY3167" fmla="*/ 781100 h 4331342"/>
                <a:gd name="connsiteX3168" fmla="*/ 766498 w 4753603"/>
                <a:gd name="connsiteY3168" fmla="*/ 798919 h 4331342"/>
                <a:gd name="connsiteX3169" fmla="*/ 757055 w 4753603"/>
                <a:gd name="connsiteY3169" fmla="*/ 804769 h 4331342"/>
                <a:gd name="connsiteX3170" fmla="*/ 753027 w 4753603"/>
                <a:gd name="connsiteY3170" fmla="*/ 794637 h 4331342"/>
                <a:gd name="connsiteX3171" fmla="*/ 763639 w 4753603"/>
                <a:gd name="connsiteY3171" fmla="*/ 693197 h 4331342"/>
                <a:gd name="connsiteX3172" fmla="*/ 768530 w 4753603"/>
                <a:gd name="connsiteY3172" fmla="*/ 631194 h 4331342"/>
                <a:gd name="connsiteX3173" fmla="*/ 762441 w 4753603"/>
                <a:gd name="connsiteY3173" fmla="*/ 622113 h 4331342"/>
                <a:gd name="connsiteX3174" fmla="*/ 755557 w 4753603"/>
                <a:gd name="connsiteY3174" fmla="*/ 630503 h 4331342"/>
                <a:gd name="connsiteX3175" fmla="*/ 737246 w 4753603"/>
                <a:gd name="connsiteY3175" fmla="*/ 692515 h 4331342"/>
                <a:gd name="connsiteX3176" fmla="*/ 728215 w 4753603"/>
                <a:gd name="connsiteY3176" fmla="*/ 757616 h 4331342"/>
                <a:gd name="connsiteX3177" fmla="*/ 724540 w 4753603"/>
                <a:gd name="connsiteY3177" fmla="*/ 857672 h 4331342"/>
                <a:gd name="connsiteX3178" fmla="*/ 715893 w 4753603"/>
                <a:gd name="connsiteY3178" fmla="*/ 846633 h 4331342"/>
                <a:gd name="connsiteX3179" fmla="*/ 687705 w 4753603"/>
                <a:gd name="connsiteY3179" fmla="*/ 775084 h 4331342"/>
                <a:gd name="connsiteX3180" fmla="*/ 677135 w 4753603"/>
                <a:gd name="connsiteY3180" fmla="*/ 767439 h 4331342"/>
                <a:gd name="connsiteX3181" fmla="*/ 674451 w 4753603"/>
                <a:gd name="connsiteY3181" fmla="*/ 779583 h 4331342"/>
                <a:gd name="connsiteX3182" fmla="*/ 677817 w 4753603"/>
                <a:gd name="connsiteY3182" fmla="*/ 806411 h 4331342"/>
                <a:gd name="connsiteX3183" fmla="*/ 711619 w 4753603"/>
                <a:gd name="connsiteY3183" fmla="*/ 904632 h 4331342"/>
                <a:gd name="connsiteX3184" fmla="*/ 698552 w 4753603"/>
                <a:gd name="connsiteY3184" fmla="*/ 959396 h 4331342"/>
                <a:gd name="connsiteX3185" fmla="*/ 689397 w 4753603"/>
                <a:gd name="connsiteY3185" fmla="*/ 958691 h 4331342"/>
                <a:gd name="connsiteX3186" fmla="*/ 685010 w 4753603"/>
                <a:gd name="connsiteY3186" fmla="*/ 943326 h 4331342"/>
                <a:gd name="connsiteX3187" fmla="*/ 664759 w 4753603"/>
                <a:gd name="connsiteY3187" fmla="*/ 910049 h 4331342"/>
                <a:gd name="connsiteX3188" fmla="*/ 629037 w 4753603"/>
                <a:gd name="connsiteY3188" fmla="*/ 890424 h 4331342"/>
                <a:gd name="connsiteX3189" fmla="*/ 621791 w 4753603"/>
                <a:gd name="connsiteY3189" fmla="*/ 895118 h 4331342"/>
                <a:gd name="connsiteX3190" fmla="*/ 625063 w 4753603"/>
                <a:gd name="connsiteY3190" fmla="*/ 904590 h 4331342"/>
                <a:gd name="connsiteX3191" fmla="*/ 657277 w 4753603"/>
                <a:gd name="connsiteY3191" fmla="*/ 938331 h 4331342"/>
                <a:gd name="connsiteX3192" fmla="*/ 665606 w 4753603"/>
                <a:gd name="connsiteY3192" fmla="*/ 960587 h 4331342"/>
                <a:gd name="connsiteX3193" fmla="*/ 669859 w 4753603"/>
                <a:gd name="connsiteY3193" fmla="*/ 1052236 h 4331342"/>
                <a:gd name="connsiteX3194" fmla="*/ 665296 w 4753603"/>
                <a:gd name="connsiteY3194" fmla="*/ 1081430 h 4331342"/>
                <a:gd name="connsiteX3195" fmla="*/ 657844 w 4753603"/>
                <a:gd name="connsiteY3195" fmla="*/ 1092899 h 4331342"/>
                <a:gd name="connsiteX3196" fmla="*/ 646780 w 4753603"/>
                <a:gd name="connsiteY3196" fmla="*/ 1085564 h 4331342"/>
                <a:gd name="connsiteX3197" fmla="*/ 624527 w 4753603"/>
                <a:gd name="connsiteY3197" fmla="*/ 1014479 h 4331342"/>
                <a:gd name="connsiteX3198" fmla="*/ 614939 w 4753603"/>
                <a:gd name="connsiteY3198" fmla="*/ 958253 h 4331342"/>
                <a:gd name="connsiteX3199" fmla="*/ 606371 w 4753603"/>
                <a:gd name="connsiteY3199" fmla="*/ 945553 h 4331342"/>
                <a:gd name="connsiteX3200" fmla="*/ 605432 w 4753603"/>
                <a:gd name="connsiteY3200" fmla="*/ 942924 h 4331342"/>
                <a:gd name="connsiteX3201" fmla="*/ 604100 w 4753603"/>
                <a:gd name="connsiteY3201" fmla="*/ 903423 h 4331342"/>
                <a:gd name="connsiteX3202" fmla="*/ 605989 w 4753603"/>
                <a:gd name="connsiteY3202" fmla="*/ 889969 h 4331342"/>
                <a:gd name="connsiteX3203" fmla="*/ 606145 w 4753603"/>
                <a:gd name="connsiteY3203" fmla="*/ 883613 h 4331342"/>
                <a:gd name="connsiteX3204" fmla="*/ 633362 w 4753603"/>
                <a:gd name="connsiteY3204" fmla="*/ 853183 h 4331342"/>
                <a:gd name="connsiteX3205" fmla="*/ 639556 w 4753603"/>
                <a:gd name="connsiteY3205" fmla="*/ 834776 h 4331342"/>
                <a:gd name="connsiteX3206" fmla="*/ 662499 w 4753603"/>
                <a:gd name="connsiteY3206" fmla="*/ 693959 h 4331342"/>
                <a:gd name="connsiteX3207" fmla="*/ 641011 w 4753603"/>
                <a:gd name="connsiteY3207" fmla="*/ 1113463 h 4331342"/>
                <a:gd name="connsiteX3208" fmla="*/ 633290 w 4753603"/>
                <a:gd name="connsiteY3208" fmla="*/ 1129055 h 4331342"/>
                <a:gd name="connsiteX3209" fmla="*/ 619397 w 4753603"/>
                <a:gd name="connsiteY3209" fmla="*/ 1121350 h 4331342"/>
                <a:gd name="connsiteX3210" fmla="*/ 609581 w 4753603"/>
                <a:gd name="connsiteY3210" fmla="*/ 1084917 h 4331342"/>
                <a:gd name="connsiteX3211" fmla="*/ 621255 w 4753603"/>
                <a:gd name="connsiteY3211" fmla="*/ 1078582 h 4331342"/>
                <a:gd name="connsiteX3212" fmla="*/ 641011 w 4753603"/>
                <a:gd name="connsiteY3212" fmla="*/ 1113463 h 4331342"/>
                <a:gd name="connsiteX3213" fmla="*/ 526226 w 4753603"/>
                <a:gd name="connsiteY3213" fmla="*/ 1001135 h 4331342"/>
                <a:gd name="connsiteX3214" fmla="*/ 516049 w 4753603"/>
                <a:gd name="connsiteY3214" fmla="*/ 993343 h 4331342"/>
                <a:gd name="connsiteX3215" fmla="*/ 526226 w 4753603"/>
                <a:gd name="connsiteY3215" fmla="*/ 990752 h 4331342"/>
                <a:gd name="connsiteX3216" fmla="*/ 533564 w 4753603"/>
                <a:gd name="connsiteY3216" fmla="*/ 986171 h 4331342"/>
                <a:gd name="connsiteX3217" fmla="*/ 527341 w 4753603"/>
                <a:gd name="connsiteY3217" fmla="*/ 974998 h 4331342"/>
                <a:gd name="connsiteX3218" fmla="*/ 516926 w 4753603"/>
                <a:gd name="connsiteY3218" fmla="*/ 965283 h 4331342"/>
                <a:gd name="connsiteX3219" fmla="*/ 532552 w 4753603"/>
                <a:gd name="connsiteY3219" fmla="*/ 968864 h 4331342"/>
                <a:gd name="connsiteX3220" fmla="*/ 553011 w 4753603"/>
                <a:gd name="connsiteY3220" fmla="*/ 1008707 h 4331342"/>
                <a:gd name="connsiteX3221" fmla="*/ 567502 w 4753603"/>
                <a:gd name="connsiteY3221" fmla="*/ 1070962 h 4331342"/>
                <a:gd name="connsiteX3222" fmla="*/ 588763 w 4753603"/>
                <a:gd name="connsiteY3222" fmla="*/ 1092356 h 4331342"/>
                <a:gd name="connsiteX3223" fmla="*/ 591922 w 4753603"/>
                <a:gd name="connsiteY3223" fmla="*/ 1103433 h 4331342"/>
                <a:gd name="connsiteX3224" fmla="*/ 581992 w 4753603"/>
                <a:gd name="connsiteY3224" fmla="*/ 1106596 h 4331342"/>
                <a:gd name="connsiteX3225" fmla="*/ 544443 w 4753603"/>
                <a:gd name="connsiteY3225" fmla="*/ 1079383 h 4331342"/>
                <a:gd name="connsiteX3226" fmla="*/ 520374 w 4753603"/>
                <a:gd name="connsiteY3226" fmla="*/ 1024099 h 4331342"/>
                <a:gd name="connsiteX3227" fmla="*/ 526051 w 4753603"/>
                <a:gd name="connsiteY3227" fmla="*/ 1014174 h 4331342"/>
                <a:gd name="connsiteX3228" fmla="*/ 533668 w 4753603"/>
                <a:gd name="connsiteY3228" fmla="*/ 1007821 h 4331342"/>
                <a:gd name="connsiteX3229" fmla="*/ 526226 w 4753603"/>
                <a:gd name="connsiteY3229" fmla="*/ 1001135 h 4331342"/>
                <a:gd name="connsiteX3230" fmla="*/ 540264 w 4753603"/>
                <a:gd name="connsiteY3230" fmla="*/ 1126960 h 4331342"/>
                <a:gd name="connsiteX3231" fmla="*/ 571931 w 4753603"/>
                <a:gd name="connsiteY3231" fmla="*/ 1121759 h 4331342"/>
                <a:gd name="connsiteX3232" fmla="*/ 602037 w 4753603"/>
                <a:gd name="connsiteY3232" fmla="*/ 1152087 h 4331342"/>
                <a:gd name="connsiteX3233" fmla="*/ 598888 w 4753603"/>
                <a:gd name="connsiteY3233" fmla="*/ 1166174 h 4331342"/>
                <a:gd name="connsiteX3234" fmla="*/ 585079 w 4753603"/>
                <a:gd name="connsiteY3234" fmla="*/ 1183996 h 4331342"/>
                <a:gd name="connsiteX3235" fmla="*/ 577130 w 4753603"/>
                <a:gd name="connsiteY3235" fmla="*/ 1165927 h 4331342"/>
                <a:gd name="connsiteX3236" fmla="*/ 569009 w 4753603"/>
                <a:gd name="connsiteY3236" fmla="*/ 1146581 h 4331342"/>
                <a:gd name="connsiteX3237" fmla="*/ 548088 w 4753603"/>
                <a:gd name="connsiteY3237" fmla="*/ 1139885 h 4331342"/>
                <a:gd name="connsiteX3238" fmla="*/ 537280 w 4753603"/>
                <a:gd name="connsiteY3238" fmla="*/ 1137647 h 4331342"/>
                <a:gd name="connsiteX3239" fmla="*/ 540264 w 4753603"/>
                <a:gd name="connsiteY3239" fmla="*/ 1126960 h 4331342"/>
                <a:gd name="connsiteX3240" fmla="*/ 547797 w 4753603"/>
                <a:gd name="connsiteY3240" fmla="*/ 752548 h 4331342"/>
                <a:gd name="connsiteX3241" fmla="*/ 531789 w 4753603"/>
                <a:gd name="connsiteY3241" fmla="*/ 750989 h 4331342"/>
                <a:gd name="connsiteX3242" fmla="*/ 524811 w 4753603"/>
                <a:gd name="connsiteY3242" fmla="*/ 751114 h 4331342"/>
                <a:gd name="connsiteX3243" fmla="*/ 547065 w 4753603"/>
                <a:gd name="connsiteY3243" fmla="*/ 723750 h 4331342"/>
                <a:gd name="connsiteX3244" fmla="*/ 528837 w 4753603"/>
                <a:gd name="connsiteY3244" fmla="*/ 722954 h 4331342"/>
                <a:gd name="connsiteX3245" fmla="*/ 580381 w 4753603"/>
                <a:gd name="connsiteY3245" fmla="*/ 702154 h 4331342"/>
                <a:gd name="connsiteX3246" fmla="*/ 624899 w 4753603"/>
                <a:gd name="connsiteY3246" fmla="*/ 692640 h 4331342"/>
                <a:gd name="connsiteX3247" fmla="*/ 633755 w 4753603"/>
                <a:gd name="connsiteY3247" fmla="*/ 702978 h 4331342"/>
                <a:gd name="connsiteX3248" fmla="*/ 609200 w 4753603"/>
                <a:gd name="connsiteY3248" fmla="*/ 756883 h 4331342"/>
                <a:gd name="connsiteX3249" fmla="*/ 611780 w 4753603"/>
                <a:gd name="connsiteY3249" fmla="*/ 815583 h 4331342"/>
                <a:gd name="connsiteX3250" fmla="*/ 607022 w 4753603"/>
                <a:gd name="connsiteY3250" fmla="*/ 829029 h 4331342"/>
                <a:gd name="connsiteX3251" fmla="*/ 567936 w 4753603"/>
                <a:gd name="connsiteY3251" fmla="*/ 833857 h 4331342"/>
                <a:gd name="connsiteX3252" fmla="*/ 549221 w 4753603"/>
                <a:gd name="connsiteY3252" fmla="*/ 813015 h 4331342"/>
                <a:gd name="connsiteX3253" fmla="*/ 532387 w 4753603"/>
                <a:gd name="connsiteY3253" fmla="*/ 798579 h 4331342"/>
                <a:gd name="connsiteX3254" fmla="*/ 544319 w 4753603"/>
                <a:gd name="connsiteY3254" fmla="*/ 775279 h 4331342"/>
                <a:gd name="connsiteX3255" fmla="*/ 520167 w 4753603"/>
                <a:gd name="connsiteY3255" fmla="*/ 782472 h 4331342"/>
                <a:gd name="connsiteX3256" fmla="*/ 537198 w 4753603"/>
                <a:gd name="connsiteY3256" fmla="*/ 764528 h 4331342"/>
                <a:gd name="connsiteX3257" fmla="*/ 547797 w 4753603"/>
                <a:gd name="connsiteY3257" fmla="*/ 752548 h 4331342"/>
                <a:gd name="connsiteX3258" fmla="*/ 522221 w 4753603"/>
                <a:gd name="connsiteY3258" fmla="*/ 913919 h 4331342"/>
                <a:gd name="connsiteX3259" fmla="*/ 526927 w 4753603"/>
                <a:gd name="connsiteY3259" fmla="*/ 911648 h 4331342"/>
                <a:gd name="connsiteX3260" fmla="*/ 542295 w 4753603"/>
                <a:gd name="connsiteY3260" fmla="*/ 908811 h 4331342"/>
                <a:gd name="connsiteX3261" fmla="*/ 533172 w 4753603"/>
                <a:gd name="connsiteY3261" fmla="*/ 894437 h 4331342"/>
                <a:gd name="connsiteX3262" fmla="*/ 515368 w 4753603"/>
                <a:gd name="connsiteY3262" fmla="*/ 877773 h 4331342"/>
                <a:gd name="connsiteX3263" fmla="*/ 543876 w 4753603"/>
                <a:gd name="connsiteY3263" fmla="*/ 886543 h 4331342"/>
                <a:gd name="connsiteX3264" fmla="*/ 518453 w 4753603"/>
                <a:gd name="connsiteY3264" fmla="*/ 857930 h 4331342"/>
                <a:gd name="connsiteX3265" fmla="*/ 515575 w 4753603"/>
                <a:gd name="connsiteY3265" fmla="*/ 853793 h 4331342"/>
                <a:gd name="connsiteX3266" fmla="*/ 521077 w 4753603"/>
                <a:gd name="connsiteY3266" fmla="*/ 855763 h 4331342"/>
                <a:gd name="connsiteX3267" fmla="*/ 548592 w 4753603"/>
                <a:gd name="connsiteY3267" fmla="*/ 858125 h 4331342"/>
                <a:gd name="connsiteX3268" fmla="*/ 530995 w 4753603"/>
                <a:gd name="connsiteY3268" fmla="*/ 835736 h 4331342"/>
                <a:gd name="connsiteX3269" fmla="*/ 582540 w 4753603"/>
                <a:gd name="connsiteY3269" fmla="*/ 856889 h 4331342"/>
                <a:gd name="connsiteX3270" fmla="*/ 586792 w 4753603"/>
                <a:gd name="connsiteY3270" fmla="*/ 866155 h 4331342"/>
                <a:gd name="connsiteX3271" fmla="*/ 583634 w 4753603"/>
                <a:gd name="connsiteY3271" fmla="*/ 945431 h 4331342"/>
                <a:gd name="connsiteX3272" fmla="*/ 580547 w 4753603"/>
                <a:gd name="connsiteY3272" fmla="*/ 951590 h 4331342"/>
                <a:gd name="connsiteX3273" fmla="*/ 514976 w 4753603"/>
                <a:gd name="connsiteY3273" fmla="*/ 930582 h 4331342"/>
                <a:gd name="connsiteX3274" fmla="*/ 538404 w 4753603"/>
                <a:gd name="connsiteY3274" fmla="*/ 934803 h 4331342"/>
                <a:gd name="connsiteX3275" fmla="*/ 522221 w 4753603"/>
                <a:gd name="connsiteY3275" fmla="*/ 913919 h 4331342"/>
                <a:gd name="connsiteX3276" fmla="*/ 356789 w 4753603"/>
                <a:gd name="connsiteY3276" fmla="*/ 1106719 h 4331342"/>
                <a:gd name="connsiteX3277" fmla="*/ 374202 w 4753603"/>
                <a:gd name="connsiteY3277" fmla="*/ 1072553 h 4331342"/>
                <a:gd name="connsiteX3278" fmla="*/ 368226 w 4753603"/>
                <a:gd name="connsiteY3278" fmla="*/ 1049179 h 4331342"/>
                <a:gd name="connsiteX3279" fmla="*/ 382097 w 4753603"/>
                <a:gd name="connsiteY3279" fmla="*/ 996887 h 4331342"/>
                <a:gd name="connsiteX3280" fmla="*/ 420318 w 4753603"/>
                <a:gd name="connsiteY3280" fmla="*/ 951385 h 4331342"/>
                <a:gd name="connsiteX3281" fmla="*/ 436389 w 4753603"/>
                <a:gd name="connsiteY3281" fmla="*/ 940056 h 4331342"/>
                <a:gd name="connsiteX3282" fmla="*/ 448961 w 4753603"/>
                <a:gd name="connsiteY3282" fmla="*/ 959091 h 4331342"/>
                <a:gd name="connsiteX3283" fmla="*/ 451262 w 4753603"/>
                <a:gd name="connsiteY3283" fmla="*/ 979675 h 4331342"/>
                <a:gd name="connsiteX3284" fmla="*/ 452490 w 4753603"/>
                <a:gd name="connsiteY3284" fmla="*/ 985457 h 4331342"/>
                <a:gd name="connsiteX3285" fmla="*/ 457764 w 4753603"/>
                <a:gd name="connsiteY3285" fmla="*/ 1050322 h 4331342"/>
                <a:gd name="connsiteX3286" fmla="*/ 461469 w 4753603"/>
                <a:gd name="connsiteY3286" fmla="*/ 1071782 h 4331342"/>
                <a:gd name="connsiteX3287" fmla="*/ 480192 w 4753603"/>
                <a:gd name="connsiteY3287" fmla="*/ 1071610 h 4331342"/>
                <a:gd name="connsiteX3288" fmla="*/ 486395 w 4753603"/>
                <a:gd name="connsiteY3288" fmla="*/ 1068953 h 4331342"/>
                <a:gd name="connsiteX3289" fmla="*/ 489223 w 4753603"/>
                <a:gd name="connsiteY3289" fmla="*/ 1063628 h 4331342"/>
                <a:gd name="connsiteX3290" fmla="*/ 504221 w 4753603"/>
                <a:gd name="connsiteY3290" fmla="*/ 1047207 h 4331342"/>
                <a:gd name="connsiteX3291" fmla="*/ 521375 w 4753603"/>
                <a:gd name="connsiteY3291" fmla="*/ 1060390 h 4331342"/>
                <a:gd name="connsiteX3292" fmla="*/ 524203 w 4753603"/>
                <a:gd name="connsiteY3292" fmla="*/ 1096947 h 4331342"/>
                <a:gd name="connsiteX3293" fmla="*/ 521323 w 4753603"/>
                <a:gd name="connsiteY3293" fmla="*/ 1109339 h 4331342"/>
                <a:gd name="connsiteX3294" fmla="*/ 511693 w 4753603"/>
                <a:gd name="connsiteY3294" fmla="*/ 1149553 h 4331342"/>
                <a:gd name="connsiteX3295" fmla="*/ 510931 w 4753603"/>
                <a:gd name="connsiteY3295" fmla="*/ 1155354 h 4331342"/>
                <a:gd name="connsiteX3296" fmla="*/ 511168 w 4753603"/>
                <a:gd name="connsiteY3296" fmla="*/ 1174480 h 4331342"/>
                <a:gd name="connsiteX3297" fmla="*/ 511993 w 4753603"/>
                <a:gd name="connsiteY3297" fmla="*/ 1179652 h 4331342"/>
                <a:gd name="connsiteX3298" fmla="*/ 533461 w 4753603"/>
                <a:gd name="connsiteY3298" fmla="*/ 1179652 h 4331342"/>
                <a:gd name="connsiteX3299" fmla="*/ 548541 w 4753603"/>
                <a:gd name="connsiteY3299" fmla="*/ 1166984 h 4331342"/>
                <a:gd name="connsiteX3300" fmla="*/ 559018 w 4753603"/>
                <a:gd name="connsiteY3300" fmla="*/ 1190463 h 4331342"/>
                <a:gd name="connsiteX3301" fmla="*/ 542070 w 4753603"/>
                <a:gd name="connsiteY3301" fmla="*/ 1223667 h 4331342"/>
                <a:gd name="connsiteX3302" fmla="*/ 518227 w 4753603"/>
                <a:gd name="connsiteY3302" fmla="*/ 1260234 h 4331342"/>
                <a:gd name="connsiteX3303" fmla="*/ 511684 w 4753603"/>
                <a:gd name="connsiteY3303" fmla="*/ 1269540 h 4331342"/>
                <a:gd name="connsiteX3304" fmla="*/ 511177 w 4753603"/>
                <a:gd name="connsiteY3304" fmla="*/ 1272016 h 4331342"/>
                <a:gd name="connsiteX3305" fmla="*/ 502529 w 4753603"/>
                <a:gd name="connsiteY3305" fmla="*/ 1285132 h 4331342"/>
                <a:gd name="connsiteX3306" fmla="*/ 495551 w 4753603"/>
                <a:gd name="connsiteY3306" fmla="*/ 1296238 h 4331342"/>
                <a:gd name="connsiteX3307" fmla="*/ 484951 w 4753603"/>
                <a:gd name="connsiteY3307" fmla="*/ 1307411 h 4331342"/>
                <a:gd name="connsiteX3308" fmla="*/ 480430 w 4753603"/>
                <a:gd name="connsiteY3308" fmla="*/ 1289371 h 4331342"/>
                <a:gd name="connsiteX3309" fmla="*/ 486664 w 4753603"/>
                <a:gd name="connsiteY3309" fmla="*/ 1136361 h 4331342"/>
                <a:gd name="connsiteX3310" fmla="*/ 482432 w 4753603"/>
                <a:gd name="connsiteY3310" fmla="*/ 1106757 h 4331342"/>
                <a:gd name="connsiteX3311" fmla="*/ 464505 w 4753603"/>
                <a:gd name="connsiteY3311" fmla="*/ 1162298 h 4331342"/>
                <a:gd name="connsiteX3312" fmla="*/ 423632 w 4753603"/>
                <a:gd name="connsiteY3312" fmla="*/ 1059971 h 4331342"/>
                <a:gd name="connsiteX3313" fmla="*/ 411009 w 4753603"/>
                <a:gd name="connsiteY3313" fmla="*/ 1044702 h 4331342"/>
                <a:gd name="connsiteX3314" fmla="*/ 404620 w 4753603"/>
                <a:gd name="connsiteY3314" fmla="*/ 1090060 h 4331342"/>
                <a:gd name="connsiteX3315" fmla="*/ 411390 w 4753603"/>
                <a:gd name="connsiteY3315" fmla="*/ 1115016 h 4331342"/>
                <a:gd name="connsiteX3316" fmla="*/ 411668 w 4753603"/>
                <a:gd name="connsiteY3316" fmla="*/ 1115054 h 4331342"/>
                <a:gd name="connsiteX3317" fmla="*/ 417842 w 4753603"/>
                <a:gd name="connsiteY3317" fmla="*/ 1127522 h 4331342"/>
                <a:gd name="connsiteX3318" fmla="*/ 423517 w 4753603"/>
                <a:gd name="connsiteY3318" fmla="*/ 1137476 h 4331342"/>
                <a:gd name="connsiteX3319" fmla="*/ 423889 w 4753603"/>
                <a:gd name="connsiteY3319" fmla="*/ 1139123 h 4331342"/>
                <a:gd name="connsiteX3320" fmla="*/ 426325 w 4753603"/>
                <a:gd name="connsiteY3320" fmla="*/ 1143486 h 4331342"/>
                <a:gd name="connsiteX3321" fmla="*/ 427037 w 4753603"/>
                <a:gd name="connsiteY3321" fmla="*/ 1145477 h 4331342"/>
                <a:gd name="connsiteX3322" fmla="*/ 435428 w 4753603"/>
                <a:gd name="connsiteY3322" fmla="*/ 1160031 h 4331342"/>
                <a:gd name="connsiteX3323" fmla="*/ 427471 w 4753603"/>
                <a:gd name="connsiteY3323" fmla="*/ 1166984 h 4331342"/>
                <a:gd name="connsiteX3324" fmla="*/ 411369 w 4753603"/>
                <a:gd name="connsiteY3324" fmla="*/ 1168222 h 4331342"/>
                <a:gd name="connsiteX3325" fmla="*/ 400718 w 4753603"/>
                <a:gd name="connsiteY3325" fmla="*/ 1176576 h 4331342"/>
                <a:gd name="connsiteX3326" fmla="*/ 407560 w 4753603"/>
                <a:gd name="connsiteY3326" fmla="*/ 1183996 h 4331342"/>
                <a:gd name="connsiteX3327" fmla="*/ 429999 w 4753603"/>
                <a:gd name="connsiteY3327" fmla="*/ 1192911 h 4331342"/>
                <a:gd name="connsiteX3328" fmla="*/ 447493 w 4753603"/>
                <a:gd name="connsiteY3328" fmla="*/ 1221000 h 4331342"/>
                <a:gd name="connsiteX3329" fmla="*/ 455338 w 4753603"/>
                <a:gd name="connsiteY3329" fmla="*/ 1310021 h 4331342"/>
                <a:gd name="connsiteX3330" fmla="*/ 448567 w 4753603"/>
                <a:gd name="connsiteY3330" fmla="*/ 1315669 h 4331342"/>
                <a:gd name="connsiteX3331" fmla="*/ 423199 w 4753603"/>
                <a:gd name="connsiteY3331" fmla="*/ 1310535 h 4331342"/>
                <a:gd name="connsiteX3332" fmla="*/ 409067 w 4753603"/>
                <a:gd name="connsiteY3332" fmla="*/ 1312116 h 4331342"/>
                <a:gd name="connsiteX3333" fmla="*/ 413257 w 4753603"/>
                <a:gd name="connsiteY3333" fmla="*/ 1328757 h 4331342"/>
                <a:gd name="connsiteX3334" fmla="*/ 430340 w 4753603"/>
                <a:gd name="connsiteY3334" fmla="*/ 1337939 h 4331342"/>
                <a:gd name="connsiteX3335" fmla="*/ 446142 w 4753603"/>
                <a:gd name="connsiteY3335" fmla="*/ 1347187 h 4331342"/>
                <a:gd name="connsiteX3336" fmla="*/ 448424 w 4753603"/>
                <a:gd name="connsiteY3336" fmla="*/ 1355274 h 4331342"/>
                <a:gd name="connsiteX3337" fmla="*/ 419533 w 4753603"/>
                <a:gd name="connsiteY3337" fmla="*/ 1383278 h 4331342"/>
                <a:gd name="connsiteX3338" fmla="*/ 401471 w 4753603"/>
                <a:gd name="connsiteY3338" fmla="*/ 1377553 h 4331342"/>
                <a:gd name="connsiteX3339" fmla="*/ 379157 w 4753603"/>
                <a:gd name="connsiteY3339" fmla="*/ 1344159 h 4331342"/>
                <a:gd name="connsiteX3340" fmla="*/ 377969 w 4753603"/>
                <a:gd name="connsiteY3340" fmla="*/ 1242927 h 4331342"/>
                <a:gd name="connsiteX3341" fmla="*/ 369454 w 4753603"/>
                <a:gd name="connsiteY3341" fmla="*/ 1214561 h 4331342"/>
                <a:gd name="connsiteX3342" fmla="*/ 348502 w 4753603"/>
                <a:gd name="connsiteY3342" fmla="*/ 1164660 h 4331342"/>
                <a:gd name="connsiteX3343" fmla="*/ 344475 w 4753603"/>
                <a:gd name="connsiteY3343" fmla="*/ 1128313 h 4331342"/>
                <a:gd name="connsiteX3344" fmla="*/ 356789 w 4753603"/>
                <a:gd name="connsiteY3344" fmla="*/ 1106719 h 4331342"/>
                <a:gd name="connsiteX3345" fmla="*/ 241809 w 4753603"/>
                <a:gd name="connsiteY3345" fmla="*/ 1349635 h 4331342"/>
                <a:gd name="connsiteX3346" fmla="*/ 245733 w 4753603"/>
                <a:gd name="connsiteY3346" fmla="*/ 1309821 h 4331342"/>
                <a:gd name="connsiteX3347" fmla="*/ 263835 w 4753603"/>
                <a:gd name="connsiteY3347" fmla="*/ 1284551 h 4331342"/>
                <a:gd name="connsiteX3348" fmla="*/ 261760 w 4753603"/>
                <a:gd name="connsiteY3348" fmla="*/ 1246889 h 4331342"/>
                <a:gd name="connsiteX3349" fmla="*/ 251377 w 4753603"/>
                <a:gd name="connsiteY3349" fmla="*/ 1200102 h 4331342"/>
                <a:gd name="connsiteX3350" fmla="*/ 278957 w 4753603"/>
                <a:gd name="connsiteY3350" fmla="*/ 1138180 h 4331342"/>
                <a:gd name="connsiteX3351" fmla="*/ 292446 w 4753603"/>
                <a:gd name="connsiteY3351" fmla="*/ 1135104 h 4331342"/>
                <a:gd name="connsiteX3352" fmla="*/ 342547 w 4753603"/>
                <a:gd name="connsiteY3352" fmla="*/ 1217028 h 4331342"/>
                <a:gd name="connsiteX3353" fmla="*/ 347976 w 4753603"/>
                <a:gd name="connsiteY3353" fmla="*/ 1241993 h 4331342"/>
                <a:gd name="connsiteX3354" fmla="*/ 348532 w 4753603"/>
                <a:gd name="connsiteY3354" fmla="*/ 1247594 h 4331342"/>
                <a:gd name="connsiteX3355" fmla="*/ 351392 w 4753603"/>
                <a:gd name="connsiteY3355" fmla="*/ 1290952 h 4331342"/>
                <a:gd name="connsiteX3356" fmla="*/ 352020 w 4753603"/>
                <a:gd name="connsiteY3356" fmla="*/ 1293819 h 4331342"/>
                <a:gd name="connsiteX3357" fmla="*/ 354479 w 4753603"/>
                <a:gd name="connsiteY3357" fmla="*/ 1337224 h 4331342"/>
                <a:gd name="connsiteX3358" fmla="*/ 354716 w 4753603"/>
                <a:gd name="connsiteY3358" fmla="*/ 1338672 h 4331342"/>
                <a:gd name="connsiteX3359" fmla="*/ 382635 w 4753603"/>
                <a:gd name="connsiteY3359" fmla="*/ 1385707 h 4331342"/>
                <a:gd name="connsiteX3360" fmla="*/ 368959 w 4753603"/>
                <a:gd name="connsiteY3360" fmla="*/ 1438732 h 4331342"/>
                <a:gd name="connsiteX3361" fmla="*/ 363106 w 4753603"/>
                <a:gd name="connsiteY3361" fmla="*/ 1438170 h 4331342"/>
                <a:gd name="connsiteX3362" fmla="*/ 363736 w 4753603"/>
                <a:gd name="connsiteY3362" fmla="*/ 1431779 h 4331342"/>
                <a:gd name="connsiteX3363" fmla="*/ 370764 w 4753603"/>
                <a:gd name="connsiteY3363" fmla="*/ 1405681 h 4331342"/>
                <a:gd name="connsiteX3364" fmla="*/ 360526 w 4753603"/>
                <a:gd name="connsiteY3364" fmla="*/ 1400927 h 4331342"/>
                <a:gd name="connsiteX3365" fmla="*/ 341369 w 4753603"/>
                <a:gd name="connsiteY3365" fmla="*/ 1412948 h 4331342"/>
                <a:gd name="connsiteX3366" fmla="*/ 344528 w 4753603"/>
                <a:gd name="connsiteY3366" fmla="*/ 1322927 h 4331342"/>
                <a:gd name="connsiteX3367" fmla="*/ 323419 w 4753603"/>
                <a:gd name="connsiteY3367" fmla="*/ 1337653 h 4331342"/>
                <a:gd name="connsiteX3368" fmla="*/ 321533 w 4753603"/>
                <a:gd name="connsiteY3368" fmla="*/ 1307878 h 4331342"/>
                <a:gd name="connsiteX3369" fmla="*/ 321026 w 4753603"/>
                <a:gd name="connsiteY3369" fmla="*/ 1263939 h 4331342"/>
                <a:gd name="connsiteX3370" fmla="*/ 294840 w 4753603"/>
                <a:gd name="connsiteY3370" fmla="*/ 1183519 h 4331342"/>
                <a:gd name="connsiteX3371" fmla="*/ 288628 w 4753603"/>
                <a:gd name="connsiteY3371" fmla="*/ 1177433 h 4331342"/>
                <a:gd name="connsiteX3372" fmla="*/ 282982 w 4753603"/>
                <a:gd name="connsiteY3372" fmla="*/ 1186139 h 4331342"/>
                <a:gd name="connsiteX3373" fmla="*/ 283570 w 4753603"/>
                <a:gd name="connsiteY3373" fmla="*/ 1204389 h 4331342"/>
                <a:gd name="connsiteX3374" fmla="*/ 283477 w 4753603"/>
                <a:gd name="connsiteY3374" fmla="*/ 1204389 h 4331342"/>
                <a:gd name="connsiteX3375" fmla="*/ 285438 w 4753603"/>
                <a:gd name="connsiteY3375" fmla="*/ 1211151 h 4331342"/>
                <a:gd name="connsiteX3376" fmla="*/ 286067 w 4753603"/>
                <a:gd name="connsiteY3376" fmla="*/ 1214523 h 4331342"/>
                <a:gd name="connsiteX3377" fmla="*/ 297752 w 4753603"/>
                <a:gd name="connsiteY3377" fmla="*/ 1266473 h 4331342"/>
                <a:gd name="connsiteX3378" fmla="*/ 298577 w 4753603"/>
                <a:gd name="connsiteY3378" fmla="*/ 1272302 h 4331342"/>
                <a:gd name="connsiteX3379" fmla="*/ 298164 w 4753603"/>
                <a:gd name="connsiteY3379" fmla="*/ 1330766 h 4331342"/>
                <a:gd name="connsiteX3380" fmla="*/ 287338 w 4753603"/>
                <a:gd name="connsiteY3380" fmla="*/ 1331900 h 4331342"/>
                <a:gd name="connsiteX3381" fmla="*/ 267262 w 4753603"/>
                <a:gd name="connsiteY3381" fmla="*/ 1321451 h 4331342"/>
                <a:gd name="connsiteX3382" fmla="*/ 266643 w 4753603"/>
                <a:gd name="connsiteY3382" fmla="*/ 1348645 h 4331342"/>
                <a:gd name="connsiteX3383" fmla="*/ 314648 w 4753603"/>
                <a:gd name="connsiteY3383" fmla="*/ 1411700 h 4331342"/>
                <a:gd name="connsiteX3384" fmla="*/ 317547 w 4753603"/>
                <a:gd name="connsiteY3384" fmla="*/ 1417673 h 4331342"/>
                <a:gd name="connsiteX3385" fmla="*/ 328231 w 4753603"/>
                <a:gd name="connsiteY3385" fmla="*/ 1441456 h 4331342"/>
                <a:gd name="connsiteX3386" fmla="*/ 317455 w 4753603"/>
                <a:gd name="connsiteY3386" fmla="*/ 1464259 h 4331342"/>
                <a:gd name="connsiteX3387" fmla="*/ 267901 w 4753603"/>
                <a:gd name="connsiteY3387" fmla="*/ 1486043 h 4331342"/>
                <a:gd name="connsiteX3388" fmla="*/ 257807 w 4753603"/>
                <a:gd name="connsiteY3388" fmla="*/ 1479880 h 4331342"/>
                <a:gd name="connsiteX3389" fmla="*/ 242160 w 4753603"/>
                <a:gd name="connsiteY3389" fmla="*/ 1445838 h 4331342"/>
                <a:gd name="connsiteX3390" fmla="*/ 244461 w 4753603"/>
                <a:gd name="connsiteY3390" fmla="*/ 1435532 h 4331342"/>
                <a:gd name="connsiteX3391" fmla="*/ 249799 w 4753603"/>
                <a:gd name="connsiteY3391" fmla="*/ 1432684 h 4331342"/>
                <a:gd name="connsiteX3392" fmla="*/ 254711 w 4753603"/>
                <a:gd name="connsiteY3392" fmla="*/ 1399975 h 4331342"/>
                <a:gd name="connsiteX3393" fmla="*/ 251387 w 4753603"/>
                <a:gd name="connsiteY3393" fmla="*/ 1396365 h 4331342"/>
                <a:gd name="connsiteX3394" fmla="*/ 248157 w 4753603"/>
                <a:gd name="connsiteY3394" fmla="*/ 1393298 h 4331342"/>
                <a:gd name="connsiteX3395" fmla="*/ 241809 w 4753603"/>
                <a:gd name="connsiteY3395" fmla="*/ 1349635 h 4331342"/>
                <a:gd name="connsiteX3396" fmla="*/ 163965 w 4753603"/>
                <a:gd name="connsiteY3396" fmla="*/ 1603115 h 4331342"/>
                <a:gd name="connsiteX3397" fmla="*/ 158567 w 4753603"/>
                <a:gd name="connsiteY3397" fmla="*/ 1605210 h 4331342"/>
                <a:gd name="connsiteX3398" fmla="*/ 161510 w 4753603"/>
                <a:gd name="connsiteY3398" fmla="*/ 1601076 h 4331342"/>
                <a:gd name="connsiteX3399" fmla="*/ 184567 w 4753603"/>
                <a:gd name="connsiteY3399" fmla="*/ 1581093 h 4331342"/>
                <a:gd name="connsiteX3400" fmla="*/ 185074 w 4753603"/>
                <a:gd name="connsiteY3400" fmla="*/ 1567386 h 4331342"/>
                <a:gd name="connsiteX3401" fmla="*/ 185578 w 4753603"/>
                <a:gd name="connsiteY3401" fmla="*/ 1552766 h 4331342"/>
                <a:gd name="connsiteX3402" fmla="*/ 247910 w 4753603"/>
                <a:gd name="connsiteY3402" fmla="*/ 1519161 h 4331342"/>
                <a:gd name="connsiteX3403" fmla="*/ 368721 w 4753603"/>
                <a:gd name="connsiteY3403" fmla="*/ 1464640 h 4331342"/>
                <a:gd name="connsiteX3404" fmla="*/ 452241 w 4753603"/>
                <a:gd name="connsiteY3404" fmla="*/ 1383821 h 4331342"/>
                <a:gd name="connsiteX3405" fmla="*/ 587288 w 4753603"/>
                <a:gd name="connsiteY3405" fmla="*/ 1217857 h 4331342"/>
                <a:gd name="connsiteX3406" fmla="*/ 742697 w 4753603"/>
                <a:gd name="connsiteY3406" fmla="*/ 1133694 h 4331342"/>
                <a:gd name="connsiteX3407" fmla="*/ 903844 w 4753603"/>
                <a:gd name="connsiteY3407" fmla="*/ 1095994 h 4331342"/>
                <a:gd name="connsiteX3408" fmla="*/ 1004259 w 4753603"/>
                <a:gd name="connsiteY3408" fmla="*/ 1077963 h 4331342"/>
                <a:gd name="connsiteX3409" fmla="*/ 1019461 w 4753603"/>
                <a:gd name="connsiteY3409" fmla="*/ 1077763 h 4331342"/>
                <a:gd name="connsiteX3410" fmla="*/ 1020356 w 4753603"/>
                <a:gd name="connsiteY3410" fmla="*/ 1081602 h 4331342"/>
                <a:gd name="connsiteX3411" fmla="*/ 965806 w 4753603"/>
                <a:gd name="connsiteY3411" fmla="*/ 1100671 h 4331342"/>
                <a:gd name="connsiteX3412" fmla="*/ 1002011 w 4753603"/>
                <a:gd name="connsiteY3412" fmla="*/ 1114130 h 4331342"/>
                <a:gd name="connsiteX3413" fmla="*/ 947360 w 4753603"/>
                <a:gd name="connsiteY3413" fmla="*/ 1132113 h 4331342"/>
                <a:gd name="connsiteX3414" fmla="*/ 985657 w 4753603"/>
                <a:gd name="connsiteY3414" fmla="*/ 1144162 h 4331342"/>
                <a:gd name="connsiteX3415" fmla="*/ 942385 w 4753603"/>
                <a:gd name="connsiteY3415" fmla="*/ 1163707 h 4331342"/>
                <a:gd name="connsiteX3416" fmla="*/ 969340 w 4753603"/>
                <a:gd name="connsiteY3416" fmla="*/ 1173109 h 4331342"/>
                <a:gd name="connsiteX3417" fmla="*/ 925344 w 4753603"/>
                <a:gd name="connsiteY3417" fmla="*/ 1195702 h 4331342"/>
                <a:gd name="connsiteX3418" fmla="*/ 961301 w 4753603"/>
                <a:gd name="connsiteY3418" fmla="*/ 1204189 h 4331342"/>
                <a:gd name="connsiteX3419" fmla="*/ 902420 w 4753603"/>
                <a:gd name="connsiteY3419" fmla="*/ 1222172 h 4331342"/>
                <a:gd name="connsiteX3420" fmla="*/ 711320 w 4753603"/>
                <a:gd name="connsiteY3420" fmla="*/ 1296838 h 4331342"/>
                <a:gd name="connsiteX3421" fmla="*/ 590569 w 4753603"/>
                <a:gd name="connsiteY3421" fmla="*/ 1416844 h 4331342"/>
                <a:gd name="connsiteX3422" fmla="*/ 464049 w 4753603"/>
                <a:gd name="connsiteY3422" fmla="*/ 1538288 h 4331342"/>
                <a:gd name="connsiteX3423" fmla="*/ 249147 w 4753603"/>
                <a:gd name="connsiteY3423" fmla="*/ 1650806 h 4331342"/>
                <a:gd name="connsiteX3424" fmla="*/ 148731 w 4753603"/>
                <a:gd name="connsiteY3424" fmla="*/ 1703623 h 4331342"/>
                <a:gd name="connsiteX3425" fmla="*/ 177476 w 4753603"/>
                <a:gd name="connsiteY3425" fmla="*/ 1661827 h 4331342"/>
                <a:gd name="connsiteX3426" fmla="*/ 160890 w 4753603"/>
                <a:gd name="connsiteY3426" fmla="*/ 1667828 h 4331342"/>
                <a:gd name="connsiteX3427" fmla="*/ 155522 w 4753603"/>
                <a:gd name="connsiteY3427" fmla="*/ 1669971 h 4331342"/>
                <a:gd name="connsiteX3428" fmla="*/ 158320 w 4753603"/>
                <a:gd name="connsiteY3428" fmla="*/ 1665742 h 4331342"/>
                <a:gd name="connsiteX3429" fmla="*/ 183597 w 4753603"/>
                <a:gd name="connsiteY3429" fmla="*/ 1635214 h 4331342"/>
                <a:gd name="connsiteX3430" fmla="*/ 144674 w 4753603"/>
                <a:gd name="connsiteY3430" fmla="*/ 1647225 h 4331342"/>
                <a:gd name="connsiteX3431" fmla="*/ 180521 w 4753603"/>
                <a:gd name="connsiteY3431" fmla="*/ 1601524 h 4331342"/>
                <a:gd name="connsiteX3432" fmla="*/ 163965 w 4753603"/>
                <a:gd name="connsiteY3432" fmla="*/ 1603115 h 4331342"/>
                <a:gd name="connsiteX3433" fmla="*/ 143178 w 4753603"/>
                <a:gd name="connsiteY3433" fmla="*/ 1772536 h 4331342"/>
                <a:gd name="connsiteX3434" fmla="*/ 158567 w 4753603"/>
                <a:gd name="connsiteY3434" fmla="*/ 1757439 h 4331342"/>
                <a:gd name="connsiteX3435" fmla="*/ 162880 w 4753603"/>
                <a:gd name="connsiteY3435" fmla="*/ 1745675 h 4331342"/>
                <a:gd name="connsiteX3436" fmla="*/ 153913 w 4753603"/>
                <a:gd name="connsiteY3436" fmla="*/ 1745675 h 4331342"/>
                <a:gd name="connsiteX3437" fmla="*/ 146347 w 4753603"/>
                <a:gd name="connsiteY3437" fmla="*/ 1739722 h 4331342"/>
                <a:gd name="connsiteX3438" fmla="*/ 160394 w 4753603"/>
                <a:gd name="connsiteY3438" fmla="*/ 1716300 h 4331342"/>
                <a:gd name="connsiteX3439" fmla="*/ 287544 w 4753603"/>
                <a:gd name="connsiteY3439" fmla="*/ 1652349 h 4331342"/>
                <a:gd name="connsiteX3440" fmla="*/ 359153 w 4753603"/>
                <a:gd name="connsiteY3440" fmla="*/ 1623412 h 4331342"/>
                <a:gd name="connsiteX3441" fmla="*/ 468332 w 4753603"/>
                <a:gd name="connsiteY3441" fmla="*/ 1563119 h 4331342"/>
                <a:gd name="connsiteX3442" fmla="*/ 537528 w 4753603"/>
                <a:gd name="connsiteY3442" fmla="*/ 1507303 h 4331342"/>
                <a:gd name="connsiteX3443" fmla="*/ 566273 w 4753603"/>
                <a:gd name="connsiteY3443" fmla="*/ 1475118 h 4331342"/>
                <a:gd name="connsiteX3444" fmla="*/ 575200 w 4753603"/>
                <a:gd name="connsiteY3444" fmla="*/ 1469936 h 4331342"/>
                <a:gd name="connsiteX3445" fmla="*/ 579743 w 4753603"/>
                <a:gd name="connsiteY3445" fmla="*/ 1478442 h 4331342"/>
                <a:gd name="connsiteX3446" fmla="*/ 581105 w 4753603"/>
                <a:gd name="connsiteY3446" fmla="*/ 1541269 h 4331342"/>
                <a:gd name="connsiteX3447" fmla="*/ 567502 w 4753603"/>
                <a:gd name="connsiteY3447" fmla="*/ 1547832 h 4331342"/>
                <a:gd name="connsiteX3448" fmla="*/ 532408 w 4753603"/>
                <a:gd name="connsiteY3448" fmla="*/ 1554880 h 4331342"/>
                <a:gd name="connsiteX3449" fmla="*/ 497790 w 4753603"/>
                <a:gd name="connsiteY3449" fmla="*/ 1598257 h 4331342"/>
                <a:gd name="connsiteX3450" fmla="*/ 467064 w 4753603"/>
                <a:gd name="connsiteY3450" fmla="*/ 1682687 h 4331342"/>
                <a:gd name="connsiteX3451" fmla="*/ 453667 w 4753603"/>
                <a:gd name="connsiteY3451" fmla="*/ 1703956 h 4331342"/>
                <a:gd name="connsiteX3452" fmla="*/ 315462 w 4753603"/>
                <a:gd name="connsiteY3452" fmla="*/ 1768240 h 4331342"/>
                <a:gd name="connsiteX3453" fmla="*/ 261740 w 4753603"/>
                <a:gd name="connsiteY3453" fmla="*/ 1798272 h 4331342"/>
                <a:gd name="connsiteX3454" fmla="*/ 230652 w 4753603"/>
                <a:gd name="connsiteY3454" fmla="*/ 1814894 h 4331342"/>
                <a:gd name="connsiteX3455" fmla="*/ 198264 w 4753603"/>
                <a:gd name="connsiteY3455" fmla="*/ 1807493 h 4331342"/>
                <a:gd name="connsiteX3456" fmla="*/ 162210 w 4753603"/>
                <a:gd name="connsiteY3456" fmla="*/ 1813665 h 4331342"/>
                <a:gd name="connsiteX3457" fmla="*/ 153685 w 4753603"/>
                <a:gd name="connsiteY3457" fmla="*/ 1814398 h 4331342"/>
                <a:gd name="connsiteX3458" fmla="*/ 154212 w 4753603"/>
                <a:gd name="connsiteY3458" fmla="*/ 1798958 h 4331342"/>
                <a:gd name="connsiteX3459" fmla="*/ 171303 w 4753603"/>
                <a:gd name="connsiteY3459" fmla="*/ 1771250 h 4331342"/>
                <a:gd name="connsiteX3460" fmla="*/ 152705 w 4753603"/>
                <a:gd name="connsiteY3460" fmla="*/ 1781328 h 4331342"/>
                <a:gd name="connsiteX3461" fmla="*/ 143498 w 4753603"/>
                <a:gd name="connsiteY3461" fmla="*/ 1782766 h 4331342"/>
                <a:gd name="connsiteX3462" fmla="*/ 143178 w 4753603"/>
                <a:gd name="connsiteY3462" fmla="*/ 1772536 h 4331342"/>
                <a:gd name="connsiteX3463" fmla="*/ 187313 w 4753603"/>
                <a:gd name="connsiteY3463" fmla="*/ 1984715 h 4331342"/>
                <a:gd name="connsiteX3464" fmla="*/ 191265 w 4753603"/>
                <a:gd name="connsiteY3464" fmla="*/ 2018090 h 4331342"/>
                <a:gd name="connsiteX3465" fmla="*/ 143735 w 4753603"/>
                <a:gd name="connsiteY3465" fmla="*/ 2049752 h 4331342"/>
                <a:gd name="connsiteX3466" fmla="*/ 164543 w 4753603"/>
                <a:gd name="connsiteY3466" fmla="*/ 2019957 h 4331342"/>
                <a:gd name="connsiteX3467" fmla="*/ 172729 w 4753603"/>
                <a:gd name="connsiteY3467" fmla="*/ 2001888 h 4331342"/>
                <a:gd name="connsiteX3468" fmla="*/ 152797 w 4753603"/>
                <a:gd name="connsiteY3468" fmla="*/ 2004784 h 4331342"/>
                <a:gd name="connsiteX3469" fmla="*/ 185733 w 4753603"/>
                <a:gd name="connsiteY3469" fmla="*/ 1945615 h 4331342"/>
                <a:gd name="connsiteX3470" fmla="*/ 159774 w 4753603"/>
                <a:gd name="connsiteY3470" fmla="*/ 1961379 h 4331342"/>
                <a:gd name="connsiteX3471" fmla="*/ 149670 w 4753603"/>
                <a:gd name="connsiteY3471" fmla="*/ 1968589 h 4331342"/>
                <a:gd name="connsiteX3472" fmla="*/ 150393 w 4753603"/>
                <a:gd name="connsiteY3472" fmla="*/ 1955225 h 4331342"/>
                <a:gd name="connsiteX3473" fmla="*/ 181740 w 4753603"/>
                <a:gd name="connsiteY3473" fmla="*/ 1927174 h 4331342"/>
                <a:gd name="connsiteX3474" fmla="*/ 191038 w 4753603"/>
                <a:gd name="connsiteY3474" fmla="*/ 1927793 h 4331342"/>
                <a:gd name="connsiteX3475" fmla="*/ 200070 w 4753603"/>
                <a:gd name="connsiteY3475" fmla="*/ 1935928 h 4331342"/>
                <a:gd name="connsiteX3476" fmla="*/ 191854 w 4753603"/>
                <a:gd name="connsiteY3476" fmla="*/ 1962588 h 4331342"/>
                <a:gd name="connsiteX3477" fmla="*/ 185062 w 4753603"/>
                <a:gd name="connsiteY3477" fmla="*/ 1969675 h 4331342"/>
                <a:gd name="connsiteX3478" fmla="*/ 187313 w 4753603"/>
                <a:gd name="connsiteY3478" fmla="*/ 1984715 h 4331342"/>
                <a:gd name="connsiteX3479" fmla="*/ 167536 w 4753603"/>
                <a:gd name="connsiteY3479" fmla="*/ 1890465 h 4331342"/>
                <a:gd name="connsiteX3480" fmla="*/ 173223 w 4753603"/>
                <a:gd name="connsiteY3480" fmla="*/ 1896551 h 4331342"/>
                <a:gd name="connsiteX3481" fmla="*/ 155037 w 4753603"/>
                <a:gd name="connsiteY3481" fmla="*/ 1925098 h 4331342"/>
                <a:gd name="connsiteX3482" fmla="*/ 146853 w 4753603"/>
                <a:gd name="connsiteY3482" fmla="*/ 1921897 h 4331342"/>
                <a:gd name="connsiteX3483" fmla="*/ 167536 w 4753603"/>
                <a:gd name="connsiteY3483" fmla="*/ 1890465 h 4331342"/>
                <a:gd name="connsiteX3484" fmla="*/ 274849 w 4753603"/>
                <a:gd name="connsiteY3484" fmla="*/ 2301107 h 4331342"/>
                <a:gd name="connsiteX3485" fmla="*/ 271659 w 4753603"/>
                <a:gd name="connsiteY3485" fmla="*/ 2290067 h 4331342"/>
                <a:gd name="connsiteX3486" fmla="*/ 282383 w 4753603"/>
                <a:gd name="connsiteY3486" fmla="*/ 2290067 h 4331342"/>
                <a:gd name="connsiteX3487" fmla="*/ 314844 w 4753603"/>
                <a:gd name="connsiteY3487" fmla="*/ 2314604 h 4331342"/>
                <a:gd name="connsiteX3488" fmla="*/ 274849 w 4753603"/>
                <a:gd name="connsiteY3488" fmla="*/ 2301107 h 4331342"/>
                <a:gd name="connsiteX3489" fmla="*/ 325703 w 4753603"/>
                <a:gd name="connsiteY3489" fmla="*/ 2241376 h 4331342"/>
                <a:gd name="connsiteX3490" fmla="*/ 283250 w 4753603"/>
                <a:gd name="connsiteY3490" fmla="*/ 2250653 h 4331342"/>
                <a:gd name="connsiteX3491" fmla="*/ 227112 w 4753603"/>
                <a:gd name="connsiteY3491" fmla="*/ 2213010 h 4331342"/>
                <a:gd name="connsiteX3492" fmla="*/ 161240 w 4753603"/>
                <a:gd name="connsiteY3492" fmla="*/ 2169386 h 4331342"/>
                <a:gd name="connsiteX3493" fmla="*/ 151610 w 4753603"/>
                <a:gd name="connsiteY3493" fmla="*/ 2159060 h 4331342"/>
                <a:gd name="connsiteX3494" fmla="*/ 164150 w 4753603"/>
                <a:gd name="connsiteY3494" fmla="*/ 2152126 h 4331342"/>
                <a:gd name="connsiteX3495" fmla="*/ 141630 w 4753603"/>
                <a:gd name="connsiteY3495" fmla="*/ 2137820 h 4331342"/>
                <a:gd name="connsiteX3496" fmla="*/ 159774 w 4753603"/>
                <a:gd name="connsiteY3496" fmla="*/ 2138648 h 4331342"/>
                <a:gd name="connsiteX3497" fmla="*/ 165069 w 4753603"/>
                <a:gd name="connsiteY3497" fmla="*/ 2138058 h 4331342"/>
                <a:gd name="connsiteX3498" fmla="*/ 164470 w 4753603"/>
                <a:gd name="connsiteY3498" fmla="*/ 2132533 h 4331342"/>
                <a:gd name="connsiteX3499" fmla="*/ 145944 w 4753603"/>
                <a:gd name="connsiteY3499" fmla="*/ 2119236 h 4331342"/>
                <a:gd name="connsiteX3500" fmla="*/ 142177 w 4753603"/>
                <a:gd name="connsiteY3500" fmla="*/ 2113512 h 4331342"/>
                <a:gd name="connsiteX3501" fmla="*/ 148586 w 4753603"/>
                <a:gd name="connsiteY3501" fmla="*/ 2111264 h 4331342"/>
                <a:gd name="connsiteX3502" fmla="*/ 161756 w 4753603"/>
                <a:gd name="connsiteY3502" fmla="*/ 2115512 h 4331342"/>
                <a:gd name="connsiteX3503" fmla="*/ 176238 w 4753603"/>
                <a:gd name="connsiteY3503" fmla="*/ 2116293 h 4331342"/>
                <a:gd name="connsiteX3504" fmla="*/ 171098 w 4753603"/>
                <a:gd name="connsiteY3504" fmla="*/ 2101930 h 4331342"/>
                <a:gd name="connsiteX3505" fmla="*/ 156937 w 4753603"/>
                <a:gd name="connsiteY3505" fmla="*/ 2093109 h 4331342"/>
                <a:gd name="connsiteX3506" fmla="*/ 147430 w 4753603"/>
                <a:gd name="connsiteY3506" fmla="*/ 2086137 h 4331342"/>
                <a:gd name="connsiteX3507" fmla="*/ 150496 w 4753603"/>
                <a:gd name="connsiteY3507" fmla="*/ 2081775 h 4331342"/>
                <a:gd name="connsiteX3508" fmla="*/ 165060 w 4753603"/>
                <a:gd name="connsiteY3508" fmla="*/ 2083861 h 4331342"/>
                <a:gd name="connsiteX3509" fmla="*/ 172563 w 4753603"/>
                <a:gd name="connsiteY3509" fmla="*/ 2093728 h 4331342"/>
                <a:gd name="connsiteX3510" fmla="*/ 188520 w 4753603"/>
                <a:gd name="connsiteY3510" fmla="*/ 2098110 h 4331342"/>
                <a:gd name="connsiteX3511" fmla="*/ 182750 w 4753603"/>
                <a:gd name="connsiteY3511" fmla="*/ 2083765 h 4331342"/>
                <a:gd name="connsiteX3512" fmla="*/ 172563 w 4753603"/>
                <a:gd name="connsiteY3512" fmla="*/ 2066154 h 4331342"/>
                <a:gd name="connsiteX3513" fmla="*/ 207408 w 4753603"/>
                <a:gd name="connsiteY3513" fmla="*/ 2090166 h 4331342"/>
                <a:gd name="connsiteX3514" fmla="*/ 248643 w 4753603"/>
                <a:gd name="connsiteY3514" fmla="*/ 2113369 h 4331342"/>
                <a:gd name="connsiteX3515" fmla="*/ 263535 w 4753603"/>
                <a:gd name="connsiteY3515" fmla="*/ 2131628 h 4331342"/>
                <a:gd name="connsiteX3516" fmla="*/ 290877 w 4753603"/>
                <a:gd name="connsiteY3516" fmla="*/ 2186712 h 4331342"/>
                <a:gd name="connsiteX3517" fmla="*/ 317971 w 4753603"/>
                <a:gd name="connsiteY3517" fmla="*/ 2206085 h 4331342"/>
                <a:gd name="connsiteX3518" fmla="*/ 325703 w 4753603"/>
                <a:gd name="connsiteY3518" fmla="*/ 2241376 h 4331342"/>
                <a:gd name="connsiteX3519" fmla="*/ 349152 w 4753603"/>
                <a:gd name="connsiteY3519" fmla="*/ 2328872 h 4331342"/>
                <a:gd name="connsiteX3520" fmla="*/ 339708 w 4753603"/>
                <a:gd name="connsiteY3520" fmla="*/ 2337121 h 4331342"/>
                <a:gd name="connsiteX3521" fmla="*/ 334145 w 4753603"/>
                <a:gd name="connsiteY3521" fmla="*/ 2331958 h 4331342"/>
                <a:gd name="connsiteX3522" fmla="*/ 342485 w 4753603"/>
                <a:gd name="connsiteY3522" fmla="*/ 2321709 h 4331342"/>
                <a:gd name="connsiteX3523" fmla="*/ 349152 w 4753603"/>
                <a:gd name="connsiteY3523" fmla="*/ 2328872 h 4331342"/>
                <a:gd name="connsiteX3524" fmla="*/ 361775 w 4753603"/>
                <a:gd name="connsiteY3524" fmla="*/ 2299649 h 4331342"/>
                <a:gd name="connsiteX3525" fmla="*/ 341742 w 4753603"/>
                <a:gd name="connsiteY3525" fmla="*/ 2272675 h 4331342"/>
                <a:gd name="connsiteX3526" fmla="*/ 369082 w 4753603"/>
                <a:gd name="connsiteY3526" fmla="*/ 2286743 h 4331342"/>
                <a:gd name="connsiteX3527" fmla="*/ 373129 w 4753603"/>
                <a:gd name="connsiteY3527" fmla="*/ 2296630 h 4331342"/>
                <a:gd name="connsiteX3528" fmla="*/ 361775 w 4753603"/>
                <a:gd name="connsiteY3528" fmla="*/ 2299649 h 4331342"/>
                <a:gd name="connsiteX3529" fmla="*/ 453110 w 4753603"/>
                <a:gd name="connsiteY3529" fmla="*/ 2518362 h 4331342"/>
                <a:gd name="connsiteX3530" fmla="*/ 360196 w 4753603"/>
                <a:gd name="connsiteY3530" fmla="*/ 2531421 h 4331342"/>
                <a:gd name="connsiteX3531" fmla="*/ 350318 w 4753603"/>
                <a:gd name="connsiteY3531" fmla="*/ 2527821 h 4331342"/>
                <a:gd name="connsiteX3532" fmla="*/ 310622 w 4753603"/>
                <a:gd name="connsiteY3532" fmla="*/ 2535736 h 4331342"/>
                <a:gd name="connsiteX3533" fmla="*/ 271659 w 4753603"/>
                <a:gd name="connsiteY3533" fmla="*/ 2556129 h 4331342"/>
                <a:gd name="connsiteX3534" fmla="*/ 175277 w 4753603"/>
                <a:gd name="connsiteY3534" fmla="*/ 2551338 h 4331342"/>
                <a:gd name="connsiteX3535" fmla="*/ 192917 w 4753603"/>
                <a:gd name="connsiteY3535" fmla="*/ 2520925 h 4331342"/>
                <a:gd name="connsiteX3536" fmla="*/ 156730 w 4753603"/>
                <a:gd name="connsiteY3536" fmla="*/ 2516400 h 4331342"/>
                <a:gd name="connsiteX3537" fmla="*/ 107052 w 4753603"/>
                <a:gd name="connsiteY3537" fmla="*/ 2513000 h 4331342"/>
                <a:gd name="connsiteX3538" fmla="*/ 94368 w 4753603"/>
                <a:gd name="connsiteY3538" fmla="*/ 2504418 h 4331342"/>
                <a:gd name="connsiteX3539" fmla="*/ 67109 w 4753603"/>
                <a:gd name="connsiteY3539" fmla="*/ 2437086 h 4331342"/>
                <a:gd name="connsiteX3540" fmla="*/ 75108 w 4753603"/>
                <a:gd name="connsiteY3540" fmla="*/ 2423303 h 4331342"/>
                <a:gd name="connsiteX3541" fmla="*/ 101758 w 4753603"/>
                <a:gd name="connsiteY3541" fmla="*/ 2417855 h 4331342"/>
                <a:gd name="connsiteX3542" fmla="*/ 108694 w 4753603"/>
                <a:gd name="connsiteY3542" fmla="*/ 2403491 h 4331342"/>
                <a:gd name="connsiteX3543" fmla="*/ 80166 w 4753603"/>
                <a:gd name="connsiteY3543" fmla="*/ 2377250 h 4331342"/>
                <a:gd name="connsiteX3544" fmla="*/ 27836 w 4753603"/>
                <a:gd name="connsiteY3544" fmla="*/ 2339702 h 4331342"/>
                <a:gd name="connsiteX3545" fmla="*/ 38622 w 4753603"/>
                <a:gd name="connsiteY3545" fmla="*/ 2305898 h 4331342"/>
                <a:gd name="connsiteX3546" fmla="*/ 63012 w 4753603"/>
                <a:gd name="connsiteY3546" fmla="*/ 2287419 h 4331342"/>
                <a:gd name="connsiteX3547" fmla="*/ 115062 w 4753603"/>
                <a:gd name="connsiteY3547" fmla="*/ 2288153 h 4331342"/>
                <a:gd name="connsiteX3548" fmla="*/ 126881 w 4753603"/>
                <a:gd name="connsiteY3548" fmla="*/ 2302631 h 4331342"/>
                <a:gd name="connsiteX3549" fmla="*/ 139441 w 4753603"/>
                <a:gd name="connsiteY3549" fmla="*/ 2330815 h 4331342"/>
                <a:gd name="connsiteX3550" fmla="*/ 148483 w 4753603"/>
                <a:gd name="connsiteY3550" fmla="*/ 2340102 h 4331342"/>
                <a:gd name="connsiteX3551" fmla="*/ 198273 w 4753603"/>
                <a:gd name="connsiteY3551" fmla="*/ 2340321 h 4331342"/>
                <a:gd name="connsiteX3552" fmla="*/ 214870 w 4753603"/>
                <a:gd name="connsiteY3552" fmla="*/ 2352532 h 4331342"/>
                <a:gd name="connsiteX3553" fmla="*/ 227349 w 4753603"/>
                <a:gd name="connsiteY3553" fmla="*/ 2364753 h 4331342"/>
                <a:gd name="connsiteX3554" fmla="*/ 246093 w 4753603"/>
                <a:gd name="connsiteY3554" fmla="*/ 2386241 h 4331342"/>
                <a:gd name="connsiteX3555" fmla="*/ 255713 w 4753603"/>
                <a:gd name="connsiteY3555" fmla="*/ 2395576 h 4331342"/>
                <a:gd name="connsiteX3556" fmla="*/ 278429 w 4753603"/>
                <a:gd name="connsiteY3556" fmla="*/ 2390070 h 4331342"/>
                <a:gd name="connsiteX3557" fmla="*/ 305947 w 4753603"/>
                <a:gd name="connsiteY3557" fmla="*/ 2386136 h 4331342"/>
                <a:gd name="connsiteX3558" fmla="*/ 337510 w 4753603"/>
                <a:gd name="connsiteY3558" fmla="*/ 2395576 h 4331342"/>
                <a:gd name="connsiteX3559" fmla="*/ 386320 w 4753603"/>
                <a:gd name="connsiteY3559" fmla="*/ 2433199 h 4331342"/>
                <a:gd name="connsiteX3560" fmla="*/ 412649 w 4753603"/>
                <a:gd name="connsiteY3560" fmla="*/ 2439191 h 4331342"/>
                <a:gd name="connsiteX3561" fmla="*/ 440692 w 4753603"/>
                <a:gd name="connsiteY3561" fmla="*/ 2447963 h 4331342"/>
                <a:gd name="connsiteX3562" fmla="*/ 447566 w 4753603"/>
                <a:gd name="connsiteY3562" fmla="*/ 2457088 h 4331342"/>
                <a:gd name="connsiteX3563" fmla="*/ 449931 w 4753603"/>
                <a:gd name="connsiteY3563" fmla="*/ 2459688 h 4331342"/>
                <a:gd name="connsiteX3564" fmla="*/ 462378 w 4753603"/>
                <a:gd name="connsiteY3564" fmla="*/ 2482691 h 4331342"/>
                <a:gd name="connsiteX3565" fmla="*/ 443273 w 4753603"/>
                <a:gd name="connsiteY3565" fmla="*/ 2475929 h 4331342"/>
                <a:gd name="connsiteX3566" fmla="*/ 344632 w 4753603"/>
                <a:gd name="connsiteY3566" fmla="*/ 2423208 h 4331342"/>
                <a:gd name="connsiteX3567" fmla="*/ 308887 w 4753603"/>
                <a:gd name="connsiteY3567" fmla="*/ 2408349 h 4331342"/>
                <a:gd name="connsiteX3568" fmla="*/ 328023 w 4753603"/>
                <a:gd name="connsiteY3568" fmla="*/ 2438886 h 4331342"/>
                <a:gd name="connsiteX3569" fmla="*/ 336787 w 4753603"/>
                <a:gd name="connsiteY3569" fmla="*/ 2444449 h 4331342"/>
                <a:gd name="connsiteX3570" fmla="*/ 330903 w 4753603"/>
                <a:gd name="connsiteY3570" fmla="*/ 2454297 h 4331342"/>
                <a:gd name="connsiteX3571" fmla="*/ 254443 w 4753603"/>
                <a:gd name="connsiteY3571" fmla="*/ 2439591 h 4331342"/>
                <a:gd name="connsiteX3572" fmla="*/ 221279 w 4753603"/>
                <a:gd name="connsiteY3572" fmla="*/ 2407168 h 4331342"/>
                <a:gd name="connsiteX3573" fmla="*/ 210803 w 4753603"/>
                <a:gd name="connsiteY3573" fmla="*/ 2399462 h 4331342"/>
                <a:gd name="connsiteX3574" fmla="*/ 202371 w 4753603"/>
                <a:gd name="connsiteY3574" fmla="*/ 2412664 h 4331342"/>
                <a:gd name="connsiteX3575" fmla="*/ 202413 w 4753603"/>
                <a:gd name="connsiteY3575" fmla="*/ 2420322 h 4331342"/>
                <a:gd name="connsiteX3576" fmla="*/ 215128 w 4753603"/>
                <a:gd name="connsiteY3576" fmla="*/ 2441724 h 4331342"/>
                <a:gd name="connsiteX3577" fmla="*/ 189005 w 4753603"/>
                <a:gd name="connsiteY3577" fmla="*/ 2432790 h 4331342"/>
                <a:gd name="connsiteX3578" fmla="*/ 136531 w 4753603"/>
                <a:gd name="connsiteY3578" fmla="*/ 2374211 h 4331342"/>
                <a:gd name="connsiteX3579" fmla="*/ 111337 w 4753603"/>
                <a:gd name="connsiteY3579" fmla="*/ 2355609 h 4331342"/>
                <a:gd name="connsiteX3580" fmla="*/ 102419 w 4753603"/>
                <a:gd name="connsiteY3580" fmla="*/ 2354942 h 4331342"/>
                <a:gd name="connsiteX3581" fmla="*/ 104597 w 4753603"/>
                <a:gd name="connsiteY3581" fmla="*/ 2366086 h 4331342"/>
                <a:gd name="connsiteX3582" fmla="*/ 142548 w 4753603"/>
                <a:gd name="connsiteY3582" fmla="*/ 2419960 h 4331342"/>
                <a:gd name="connsiteX3583" fmla="*/ 155254 w 4753603"/>
                <a:gd name="connsiteY3583" fmla="*/ 2438781 h 4331342"/>
                <a:gd name="connsiteX3584" fmla="*/ 148865 w 4753603"/>
                <a:gd name="connsiteY3584" fmla="*/ 2450611 h 4331342"/>
                <a:gd name="connsiteX3585" fmla="*/ 145748 w 4753603"/>
                <a:gd name="connsiteY3585" fmla="*/ 2451259 h 4331342"/>
                <a:gd name="connsiteX3586" fmla="*/ 120079 w 4753603"/>
                <a:gd name="connsiteY3586" fmla="*/ 2463727 h 4331342"/>
                <a:gd name="connsiteX3587" fmla="*/ 172852 w 4753603"/>
                <a:gd name="connsiteY3587" fmla="*/ 2469890 h 4331342"/>
                <a:gd name="connsiteX3588" fmla="*/ 217966 w 4753603"/>
                <a:gd name="connsiteY3588" fmla="*/ 2470385 h 4331342"/>
                <a:gd name="connsiteX3589" fmla="*/ 242150 w 4753603"/>
                <a:gd name="connsiteY3589" fmla="*/ 2473566 h 4331342"/>
                <a:gd name="connsiteX3590" fmla="*/ 249396 w 4753603"/>
                <a:gd name="connsiteY3590" fmla="*/ 2486997 h 4331342"/>
                <a:gd name="connsiteX3591" fmla="*/ 236845 w 4753603"/>
                <a:gd name="connsiteY3591" fmla="*/ 2506790 h 4331342"/>
                <a:gd name="connsiteX3592" fmla="*/ 237144 w 4753603"/>
                <a:gd name="connsiteY3592" fmla="*/ 2543518 h 4331342"/>
                <a:gd name="connsiteX3593" fmla="*/ 266601 w 4753603"/>
                <a:gd name="connsiteY3593" fmla="*/ 2505589 h 4331342"/>
                <a:gd name="connsiteX3594" fmla="*/ 303189 w 4753603"/>
                <a:gd name="connsiteY3594" fmla="*/ 2479319 h 4331342"/>
                <a:gd name="connsiteX3595" fmla="*/ 352660 w 4753603"/>
                <a:gd name="connsiteY3595" fmla="*/ 2475691 h 4331342"/>
                <a:gd name="connsiteX3596" fmla="*/ 365429 w 4753603"/>
                <a:gd name="connsiteY3596" fmla="*/ 2488759 h 4331342"/>
                <a:gd name="connsiteX3597" fmla="*/ 367225 w 4753603"/>
                <a:gd name="connsiteY3597" fmla="*/ 2510590 h 4331342"/>
                <a:gd name="connsiteX3598" fmla="*/ 385348 w 4753603"/>
                <a:gd name="connsiteY3598" fmla="*/ 2499703 h 4331342"/>
                <a:gd name="connsiteX3599" fmla="*/ 443862 w 4753603"/>
                <a:gd name="connsiteY3599" fmla="*/ 2496579 h 4331342"/>
                <a:gd name="connsiteX3600" fmla="*/ 465929 w 4753603"/>
                <a:gd name="connsiteY3600" fmla="*/ 2506180 h 4331342"/>
                <a:gd name="connsiteX3601" fmla="*/ 480626 w 4753603"/>
                <a:gd name="connsiteY3601" fmla="*/ 2511438 h 4331342"/>
                <a:gd name="connsiteX3602" fmla="*/ 453110 w 4753603"/>
                <a:gd name="connsiteY3602" fmla="*/ 2518362 h 4331342"/>
                <a:gd name="connsiteX3603" fmla="*/ 370642 w 4753603"/>
                <a:gd name="connsiteY3603" fmla="*/ 2327967 h 4331342"/>
                <a:gd name="connsiteX3604" fmla="*/ 411400 w 4753603"/>
                <a:gd name="connsiteY3604" fmla="*/ 2346179 h 4331342"/>
                <a:gd name="connsiteX3605" fmla="*/ 463431 w 4753603"/>
                <a:gd name="connsiteY3605" fmla="*/ 2379745 h 4331342"/>
                <a:gd name="connsiteX3606" fmla="*/ 481432 w 4753603"/>
                <a:gd name="connsiteY3606" fmla="*/ 2411816 h 4331342"/>
                <a:gd name="connsiteX3607" fmla="*/ 370642 w 4753603"/>
                <a:gd name="connsiteY3607" fmla="*/ 2327967 h 4331342"/>
                <a:gd name="connsiteX3608" fmla="*/ 392977 w 4753603"/>
                <a:gd name="connsiteY3608" fmla="*/ 2256073 h 4331342"/>
                <a:gd name="connsiteX3609" fmla="*/ 403277 w 4753603"/>
                <a:gd name="connsiteY3609" fmla="*/ 2247548 h 4331342"/>
                <a:gd name="connsiteX3610" fmla="*/ 411163 w 4753603"/>
                <a:gd name="connsiteY3610" fmla="*/ 2258663 h 4331342"/>
                <a:gd name="connsiteX3611" fmla="*/ 402988 w 4753603"/>
                <a:gd name="connsiteY3611" fmla="*/ 2265588 h 4331342"/>
                <a:gd name="connsiteX3612" fmla="*/ 392977 w 4753603"/>
                <a:gd name="connsiteY3612" fmla="*/ 2256073 h 4331342"/>
                <a:gd name="connsiteX3613" fmla="*/ 433695 w 4753603"/>
                <a:gd name="connsiteY3613" fmla="*/ 2288143 h 4331342"/>
                <a:gd name="connsiteX3614" fmla="*/ 451241 w 4753603"/>
                <a:gd name="connsiteY3614" fmla="*/ 2286886 h 4331342"/>
                <a:gd name="connsiteX3615" fmla="*/ 479574 w 4753603"/>
                <a:gd name="connsiteY3615" fmla="*/ 2332349 h 4331342"/>
                <a:gd name="connsiteX3616" fmla="*/ 474195 w 4753603"/>
                <a:gd name="connsiteY3616" fmla="*/ 2345655 h 4331342"/>
                <a:gd name="connsiteX3617" fmla="*/ 455895 w 4753603"/>
                <a:gd name="connsiteY3617" fmla="*/ 2339959 h 4331342"/>
                <a:gd name="connsiteX3618" fmla="*/ 432146 w 4753603"/>
                <a:gd name="connsiteY3618" fmla="*/ 2306631 h 4331342"/>
                <a:gd name="connsiteX3619" fmla="*/ 433695 w 4753603"/>
                <a:gd name="connsiteY3619" fmla="*/ 2288143 h 4331342"/>
                <a:gd name="connsiteX3620" fmla="*/ 492805 w 4753603"/>
                <a:gd name="connsiteY3620" fmla="*/ 2239718 h 4331342"/>
                <a:gd name="connsiteX3621" fmla="*/ 483795 w 4753603"/>
                <a:gd name="connsiteY3621" fmla="*/ 2235080 h 4331342"/>
                <a:gd name="connsiteX3622" fmla="*/ 450127 w 4753603"/>
                <a:gd name="connsiteY3622" fmla="*/ 2155279 h 4331342"/>
                <a:gd name="connsiteX3623" fmla="*/ 444037 w 4753603"/>
                <a:gd name="connsiteY3623" fmla="*/ 2107140 h 4331342"/>
                <a:gd name="connsiteX3624" fmla="*/ 438814 w 4753603"/>
                <a:gd name="connsiteY3624" fmla="*/ 2099253 h 4331342"/>
                <a:gd name="connsiteX3625" fmla="*/ 432281 w 4753603"/>
                <a:gd name="connsiteY3625" fmla="*/ 2106330 h 4331342"/>
                <a:gd name="connsiteX3626" fmla="*/ 423632 w 4753603"/>
                <a:gd name="connsiteY3626" fmla="*/ 2122265 h 4331342"/>
                <a:gd name="connsiteX3627" fmla="*/ 374398 w 4753603"/>
                <a:gd name="connsiteY3627" fmla="*/ 2031625 h 4331342"/>
                <a:gd name="connsiteX3628" fmla="*/ 373831 w 4753603"/>
                <a:gd name="connsiteY3628" fmla="*/ 1985448 h 4331342"/>
                <a:gd name="connsiteX3629" fmla="*/ 371672 w 4753603"/>
                <a:gd name="connsiteY3629" fmla="*/ 1972951 h 4331342"/>
                <a:gd name="connsiteX3630" fmla="*/ 371013 w 4753603"/>
                <a:gd name="connsiteY3630" fmla="*/ 1970151 h 4331342"/>
                <a:gd name="connsiteX3631" fmla="*/ 352527 w 4753603"/>
                <a:gd name="connsiteY3631" fmla="*/ 1985820 h 4331342"/>
                <a:gd name="connsiteX3632" fmla="*/ 352311 w 4753603"/>
                <a:gd name="connsiteY3632" fmla="*/ 2022405 h 4331342"/>
                <a:gd name="connsiteX3633" fmla="*/ 349843 w 4753603"/>
                <a:gd name="connsiteY3633" fmla="*/ 2034578 h 4331342"/>
                <a:gd name="connsiteX3634" fmla="*/ 337448 w 4753603"/>
                <a:gd name="connsiteY3634" fmla="*/ 2025834 h 4331342"/>
                <a:gd name="connsiteX3635" fmla="*/ 315474 w 4753603"/>
                <a:gd name="connsiteY3635" fmla="*/ 1985915 h 4331342"/>
                <a:gd name="connsiteX3636" fmla="*/ 286141 w 4753603"/>
                <a:gd name="connsiteY3636" fmla="*/ 1932823 h 4331342"/>
                <a:gd name="connsiteX3637" fmla="*/ 267654 w 4753603"/>
                <a:gd name="connsiteY3637" fmla="*/ 1930403 h 4331342"/>
                <a:gd name="connsiteX3638" fmla="*/ 267582 w 4753603"/>
                <a:gd name="connsiteY3638" fmla="*/ 1935090 h 4331342"/>
                <a:gd name="connsiteX3639" fmla="*/ 283663 w 4753603"/>
                <a:gd name="connsiteY3639" fmla="*/ 1969627 h 4331342"/>
                <a:gd name="connsiteX3640" fmla="*/ 283539 w 4753603"/>
                <a:gd name="connsiteY3640" fmla="*/ 1969627 h 4331342"/>
                <a:gd name="connsiteX3641" fmla="*/ 299464 w 4753603"/>
                <a:gd name="connsiteY3641" fmla="*/ 2003536 h 4331342"/>
                <a:gd name="connsiteX3642" fmla="*/ 299423 w 4753603"/>
                <a:gd name="connsiteY3642" fmla="*/ 2003479 h 4331342"/>
                <a:gd name="connsiteX3643" fmla="*/ 310437 w 4753603"/>
                <a:gd name="connsiteY3643" fmla="*/ 2027568 h 4331342"/>
                <a:gd name="connsiteX3644" fmla="*/ 262256 w 4753603"/>
                <a:gd name="connsiteY3644" fmla="*/ 2025367 h 4331342"/>
                <a:gd name="connsiteX3645" fmla="*/ 249778 w 4753603"/>
                <a:gd name="connsiteY3645" fmla="*/ 2025691 h 4331342"/>
                <a:gd name="connsiteX3646" fmla="*/ 241180 w 4753603"/>
                <a:gd name="connsiteY3646" fmla="*/ 2030320 h 4331342"/>
                <a:gd name="connsiteX3647" fmla="*/ 247219 w 4753603"/>
                <a:gd name="connsiteY3647" fmla="*/ 2036883 h 4331342"/>
                <a:gd name="connsiteX3648" fmla="*/ 277180 w 4753603"/>
                <a:gd name="connsiteY3648" fmla="*/ 2049913 h 4331342"/>
                <a:gd name="connsiteX3649" fmla="*/ 305731 w 4753603"/>
                <a:gd name="connsiteY3649" fmla="*/ 2053685 h 4331342"/>
                <a:gd name="connsiteX3650" fmla="*/ 364417 w 4753603"/>
                <a:gd name="connsiteY3650" fmla="*/ 2086785 h 4331342"/>
                <a:gd name="connsiteX3651" fmla="*/ 374294 w 4753603"/>
                <a:gd name="connsiteY3651" fmla="*/ 2098824 h 4331342"/>
                <a:gd name="connsiteX3652" fmla="*/ 399757 w 4753603"/>
                <a:gd name="connsiteY3652" fmla="*/ 2136200 h 4331342"/>
                <a:gd name="connsiteX3653" fmla="*/ 402917 w 4753603"/>
                <a:gd name="connsiteY3653" fmla="*/ 2139287 h 4331342"/>
                <a:gd name="connsiteX3654" fmla="*/ 414745 w 4753603"/>
                <a:gd name="connsiteY3654" fmla="*/ 2160861 h 4331342"/>
                <a:gd name="connsiteX3655" fmla="*/ 389973 w 4753603"/>
                <a:gd name="connsiteY3655" fmla="*/ 2155422 h 4331342"/>
                <a:gd name="connsiteX3656" fmla="*/ 380353 w 4753603"/>
                <a:gd name="connsiteY3656" fmla="*/ 2154460 h 4331342"/>
                <a:gd name="connsiteX3657" fmla="*/ 376865 w 4753603"/>
                <a:gd name="connsiteY3657" fmla="*/ 2153936 h 4331342"/>
                <a:gd name="connsiteX3658" fmla="*/ 376628 w 4753603"/>
                <a:gd name="connsiteY3658" fmla="*/ 2153003 h 4331342"/>
                <a:gd name="connsiteX3659" fmla="*/ 333866 w 4753603"/>
                <a:gd name="connsiteY3659" fmla="*/ 2154288 h 4331342"/>
                <a:gd name="connsiteX3660" fmla="*/ 334135 w 4753603"/>
                <a:gd name="connsiteY3660" fmla="*/ 2166233 h 4331342"/>
                <a:gd name="connsiteX3661" fmla="*/ 386341 w 4753603"/>
                <a:gd name="connsiteY3661" fmla="*/ 2176339 h 4331342"/>
                <a:gd name="connsiteX3662" fmla="*/ 393060 w 4753603"/>
                <a:gd name="connsiteY3662" fmla="*/ 2178968 h 4331342"/>
                <a:gd name="connsiteX3663" fmla="*/ 464772 w 4753603"/>
                <a:gd name="connsiteY3663" fmla="*/ 2247662 h 4331342"/>
                <a:gd name="connsiteX3664" fmla="*/ 465917 w 4753603"/>
                <a:gd name="connsiteY3664" fmla="*/ 2253520 h 4331342"/>
                <a:gd name="connsiteX3665" fmla="*/ 466869 w 4753603"/>
                <a:gd name="connsiteY3665" fmla="*/ 2254720 h 4331342"/>
                <a:gd name="connsiteX3666" fmla="*/ 466981 w 4753603"/>
                <a:gd name="connsiteY3666" fmla="*/ 2255834 h 4331342"/>
                <a:gd name="connsiteX3667" fmla="*/ 468044 w 4753603"/>
                <a:gd name="connsiteY3667" fmla="*/ 2260368 h 4331342"/>
                <a:gd name="connsiteX3668" fmla="*/ 468332 w 4753603"/>
                <a:gd name="connsiteY3668" fmla="*/ 2264397 h 4331342"/>
                <a:gd name="connsiteX3669" fmla="*/ 466486 w 4753603"/>
                <a:gd name="connsiteY3669" fmla="*/ 2269017 h 4331342"/>
                <a:gd name="connsiteX3670" fmla="*/ 427719 w 4753603"/>
                <a:gd name="connsiteY3670" fmla="*/ 2247662 h 4331342"/>
                <a:gd name="connsiteX3671" fmla="*/ 424147 w 4753603"/>
                <a:gd name="connsiteY3671" fmla="*/ 2241118 h 4331342"/>
                <a:gd name="connsiteX3672" fmla="*/ 405114 w 4753603"/>
                <a:gd name="connsiteY3672" fmla="*/ 2229164 h 4331342"/>
                <a:gd name="connsiteX3673" fmla="*/ 402607 w 4753603"/>
                <a:gd name="connsiteY3673" fmla="*/ 2228583 h 4331342"/>
                <a:gd name="connsiteX3674" fmla="*/ 377598 w 4753603"/>
                <a:gd name="connsiteY3674" fmla="*/ 2234413 h 4331342"/>
                <a:gd name="connsiteX3675" fmla="*/ 361579 w 4753603"/>
                <a:gd name="connsiteY3675" fmla="*/ 2229003 h 4331342"/>
                <a:gd name="connsiteX3676" fmla="*/ 292425 w 4753603"/>
                <a:gd name="connsiteY3676" fmla="*/ 2156546 h 4331342"/>
                <a:gd name="connsiteX3677" fmla="*/ 289391 w 4753603"/>
                <a:gd name="connsiteY3677" fmla="*/ 2133505 h 4331342"/>
                <a:gd name="connsiteX3678" fmla="*/ 278213 w 4753603"/>
                <a:gd name="connsiteY3678" fmla="*/ 2102996 h 4331342"/>
                <a:gd name="connsiteX3679" fmla="*/ 258333 w 4753603"/>
                <a:gd name="connsiteY3679" fmla="*/ 2095881 h 4331342"/>
                <a:gd name="connsiteX3680" fmla="*/ 229486 w 4753603"/>
                <a:gd name="connsiteY3680" fmla="*/ 2086642 h 4331342"/>
                <a:gd name="connsiteX3681" fmla="*/ 222148 w 4753603"/>
                <a:gd name="connsiteY3681" fmla="*/ 2069573 h 4331342"/>
                <a:gd name="connsiteX3682" fmla="*/ 217895 w 4753603"/>
                <a:gd name="connsiteY3682" fmla="*/ 2041503 h 4331342"/>
                <a:gd name="connsiteX3683" fmla="*/ 210803 w 4753603"/>
                <a:gd name="connsiteY3683" fmla="*/ 1992763 h 4331342"/>
                <a:gd name="connsiteX3684" fmla="*/ 217007 w 4753603"/>
                <a:gd name="connsiteY3684" fmla="*/ 1982143 h 4331342"/>
                <a:gd name="connsiteX3685" fmla="*/ 242387 w 4753603"/>
                <a:gd name="connsiteY3685" fmla="*/ 1975742 h 4331342"/>
                <a:gd name="connsiteX3686" fmla="*/ 245617 w 4753603"/>
                <a:gd name="connsiteY3686" fmla="*/ 1951692 h 4331342"/>
                <a:gd name="connsiteX3687" fmla="*/ 187467 w 4753603"/>
                <a:gd name="connsiteY3687" fmla="*/ 1874320 h 4331342"/>
                <a:gd name="connsiteX3688" fmla="*/ 183989 w 4753603"/>
                <a:gd name="connsiteY3688" fmla="*/ 1850422 h 4331342"/>
                <a:gd name="connsiteX3689" fmla="*/ 200203 w 4753603"/>
                <a:gd name="connsiteY3689" fmla="*/ 1834001 h 4331342"/>
                <a:gd name="connsiteX3690" fmla="*/ 217203 w 4753603"/>
                <a:gd name="connsiteY3690" fmla="*/ 1834591 h 4331342"/>
                <a:gd name="connsiteX3691" fmla="*/ 277749 w 4753603"/>
                <a:gd name="connsiteY3691" fmla="*/ 1840354 h 4331342"/>
                <a:gd name="connsiteX3692" fmla="*/ 292518 w 4753603"/>
                <a:gd name="connsiteY3692" fmla="*/ 1852422 h 4331342"/>
                <a:gd name="connsiteX3693" fmla="*/ 319952 w 4753603"/>
                <a:gd name="connsiteY3693" fmla="*/ 1909591 h 4331342"/>
                <a:gd name="connsiteX3694" fmla="*/ 361176 w 4753603"/>
                <a:gd name="connsiteY3694" fmla="*/ 1938823 h 4331342"/>
                <a:gd name="connsiteX3695" fmla="*/ 379807 w 4753603"/>
                <a:gd name="connsiteY3695" fmla="*/ 1951358 h 4331342"/>
                <a:gd name="connsiteX3696" fmla="*/ 380984 w 4753603"/>
                <a:gd name="connsiteY3696" fmla="*/ 1954578 h 4331342"/>
                <a:gd name="connsiteX3697" fmla="*/ 401925 w 4753603"/>
                <a:gd name="connsiteY3697" fmla="*/ 2025339 h 4331342"/>
                <a:gd name="connsiteX3698" fmla="*/ 402576 w 4753603"/>
                <a:gd name="connsiteY3698" fmla="*/ 2028063 h 4331342"/>
                <a:gd name="connsiteX3699" fmla="*/ 408170 w 4753603"/>
                <a:gd name="connsiteY3699" fmla="*/ 2061963 h 4331342"/>
                <a:gd name="connsiteX3700" fmla="*/ 409428 w 4753603"/>
                <a:gd name="connsiteY3700" fmla="*/ 2065258 h 4331342"/>
                <a:gd name="connsiteX3701" fmla="*/ 413971 w 4753603"/>
                <a:gd name="connsiteY3701" fmla="*/ 2065354 h 4331342"/>
                <a:gd name="connsiteX3702" fmla="*/ 453058 w 4753603"/>
                <a:gd name="connsiteY3702" fmla="*/ 2099129 h 4331342"/>
                <a:gd name="connsiteX3703" fmla="*/ 456103 w 4753603"/>
                <a:gd name="connsiteY3703" fmla="*/ 2108416 h 4331342"/>
                <a:gd name="connsiteX3704" fmla="*/ 462337 w 4753603"/>
                <a:gd name="connsiteY3704" fmla="*/ 2117779 h 4331342"/>
                <a:gd name="connsiteX3705" fmla="*/ 462192 w 4753603"/>
                <a:gd name="connsiteY3705" fmla="*/ 2117779 h 4331342"/>
                <a:gd name="connsiteX3706" fmla="*/ 474980 w 4753603"/>
                <a:gd name="connsiteY3706" fmla="*/ 2136181 h 4331342"/>
                <a:gd name="connsiteX3707" fmla="*/ 483680 w 4753603"/>
                <a:gd name="connsiteY3707" fmla="*/ 2148907 h 4331342"/>
                <a:gd name="connsiteX3708" fmla="*/ 484455 w 4753603"/>
                <a:gd name="connsiteY3708" fmla="*/ 2151355 h 4331342"/>
                <a:gd name="connsiteX3709" fmla="*/ 481256 w 4753603"/>
                <a:gd name="connsiteY3709" fmla="*/ 2167471 h 4331342"/>
                <a:gd name="connsiteX3710" fmla="*/ 481514 w 4753603"/>
                <a:gd name="connsiteY3710" fmla="*/ 2167280 h 4331342"/>
                <a:gd name="connsiteX3711" fmla="*/ 477312 w 4753603"/>
                <a:gd name="connsiteY3711" fmla="*/ 2198408 h 4331342"/>
                <a:gd name="connsiteX3712" fmla="*/ 478190 w 4753603"/>
                <a:gd name="connsiteY3712" fmla="*/ 2200542 h 4331342"/>
                <a:gd name="connsiteX3713" fmla="*/ 481793 w 4753603"/>
                <a:gd name="connsiteY3713" fmla="*/ 2204333 h 4331342"/>
                <a:gd name="connsiteX3714" fmla="*/ 495881 w 4753603"/>
                <a:gd name="connsiteY3714" fmla="*/ 2219173 h 4331342"/>
                <a:gd name="connsiteX3715" fmla="*/ 496914 w 4753603"/>
                <a:gd name="connsiteY3715" fmla="*/ 2222535 h 4331342"/>
                <a:gd name="connsiteX3716" fmla="*/ 492805 w 4753603"/>
                <a:gd name="connsiteY3716" fmla="*/ 2239718 h 4331342"/>
                <a:gd name="connsiteX3717" fmla="*/ 499453 w 4753603"/>
                <a:gd name="connsiteY3717" fmla="*/ 2343693 h 4331342"/>
                <a:gd name="connsiteX3718" fmla="*/ 506678 w 4753603"/>
                <a:gd name="connsiteY3718" fmla="*/ 2305126 h 4331342"/>
                <a:gd name="connsiteX3719" fmla="*/ 521086 w 4753603"/>
                <a:gd name="connsiteY3719" fmla="*/ 2299335 h 4331342"/>
                <a:gd name="connsiteX3720" fmla="*/ 530521 w 4753603"/>
                <a:gd name="connsiteY3720" fmla="*/ 2311003 h 4331342"/>
                <a:gd name="connsiteX3721" fmla="*/ 510083 w 4753603"/>
                <a:gd name="connsiteY3721" fmla="*/ 2366343 h 4331342"/>
                <a:gd name="connsiteX3722" fmla="*/ 502549 w 4753603"/>
                <a:gd name="connsiteY3722" fmla="*/ 2364638 h 4331342"/>
                <a:gd name="connsiteX3723" fmla="*/ 499453 w 4753603"/>
                <a:gd name="connsiteY3723" fmla="*/ 2343693 h 4331342"/>
                <a:gd name="connsiteX3724" fmla="*/ 503487 w 4753603"/>
                <a:gd name="connsiteY3724" fmla="*/ 2441343 h 4331342"/>
                <a:gd name="connsiteX3725" fmla="*/ 509959 w 4753603"/>
                <a:gd name="connsiteY3725" fmla="*/ 2427389 h 4331342"/>
                <a:gd name="connsiteX3726" fmla="*/ 518589 w 4753603"/>
                <a:gd name="connsiteY3726" fmla="*/ 2442610 h 4331342"/>
                <a:gd name="connsiteX3727" fmla="*/ 509608 w 4753603"/>
                <a:gd name="connsiteY3727" fmla="*/ 2456145 h 4331342"/>
                <a:gd name="connsiteX3728" fmla="*/ 503487 w 4753603"/>
                <a:gd name="connsiteY3728" fmla="*/ 2441343 h 4331342"/>
                <a:gd name="connsiteX3729" fmla="*/ 577151 w 4753603"/>
                <a:gd name="connsiteY3729" fmla="*/ 2619604 h 4331342"/>
                <a:gd name="connsiteX3730" fmla="*/ 582457 w 4753603"/>
                <a:gd name="connsiteY3730" fmla="*/ 2580065 h 4331342"/>
                <a:gd name="connsiteX3731" fmla="*/ 577884 w 4753603"/>
                <a:gd name="connsiteY3731" fmla="*/ 2553491 h 4331342"/>
                <a:gd name="connsiteX3732" fmla="*/ 570329 w 4753603"/>
                <a:gd name="connsiteY3732" fmla="*/ 2519401 h 4331342"/>
                <a:gd name="connsiteX3733" fmla="*/ 638317 w 4753603"/>
                <a:gd name="connsiteY3733" fmla="*/ 2429113 h 4331342"/>
                <a:gd name="connsiteX3734" fmla="*/ 673398 w 4753603"/>
                <a:gd name="connsiteY3734" fmla="*/ 2401853 h 4331342"/>
                <a:gd name="connsiteX3735" fmla="*/ 675578 w 4753603"/>
                <a:gd name="connsiteY3735" fmla="*/ 2388518 h 4331342"/>
                <a:gd name="connsiteX3736" fmla="*/ 634396 w 4753603"/>
                <a:gd name="connsiteY3736" fmla="*/ 2403891 h 4331342"/>
                <a:gd name="connsiteX3737" fmla="*/ 632166 w 4753603"/>
                <a:gd name="connsiteY3737" fmla="*/ 2404482 h 4331342"/>
                <a:gd name="connsiteX3738" fmla="*/ 629048 w 4753603"/>
                <a:gd name="connsiteY3738" fmla="*/ 2407949 h 4331342"/>
                <a:gd name="connsiteX3739" fmla="*/ 622617 w 4753603"/>
                <a:gd name="connsiteY3739" fmla="*/ 2410654 h 4331342"/>
                <a:gd name="connsiteX3740" fmla="*/ 619305 w 4753603"/>
                <a:gd name="connsiteY3740" fmla="*/ 2414016 h 4331342"/>
                <a:gd name="connsiteX3741" fmla="*/ 601015 w 4753603"/>
                <a:gd name="connsiteY3741" fmla="*/ 2424713 h 4331342"/>
                <a:gd name="connsiteX3742" fmla="*/ 609602 w 4753603"/>
                <a:gd name="connsiteY3742" fmla="*/ 2401472 h 4331342"/>
                <a:gd name="connsiteX3743" fmla="*/ 656131 w 4753603"/>
                <a:gd name="connsiteY3743" fmla="*/ 2310622 h 4331342"/>
                <a:gd name="connsiteX3744" fmla="*/ 722632 w 4753603"/>
                <a:gd name="connsiteY3744" fmla="*/ 2258997 h 4331342"/>
                <a:gd name="connsiteX3745" fmla="*/ 756827 w 4753603"/>
                <a:gd name="connsiteY3745" fmla="*/ 2234813 h 4331342"/>
                <a:gd name="connsiteX3746" fmla="*/ 716626 w 4753603"/>
                <a:gd name="connsiteY3746" fmla="*/ 2235222 h 4331342"/>
                <a:gd name="connsiteX3747" fmla="*/ 716749 w 4753603"/>
                <a:gd name="connsiteY3747" fmla="*/ 2235118 h 4331342"/>
                <a:gd name="connsiteX3748" fmla="*/ 704250 w 4753603"/>
                <a:gd name="connsiteY3748" fmla="*/ 2243442 h 4331342"/>
                <a:gd name="connsiteX3749" fmla="*/ 680665 w 4753603"/>
                <a:gd name="connsiteY3749" fmla="*/ 2259540 h 4331342"/>
                <a:gd name="connsiteX3750" fmla="*/ 670498 w 4753603"/>
                <a:gd name="connsiteY3750" fmla="*/ 2263607 h 4331342"/>
                <a:gd name="connsiteX3751" fmla="*/ 666876 w 4753603"/>
                <a:gd name="connsiteY3751" fmla="*/ 2252663 h 4331342"/>
                <a:gd name="connsiteX3752" fmla="*/ 688169 w 4753603"/>
                <a:gd name="connsiteY3752" fmla="*/ 2205533 h 4331342"/>
                <a:gd name="connsiteX3753" fmla="*/ 747270 w 4753603"/>
                <a:gd name="connsiteY3753" fmla="*/ 2141249 h 4331342"/>
                <a:gd name="connsiteX3754" fmla="*/ 753048 w 4753603"/>
                <a:gd name="connsiteY3754" fmla="*/ 2129971 h 4331342"/>
                <a:gd name="connsiteX3755" fmla="*/ 741365 w 4753603"/>
                <a:gd name="connsiteY3755" fmla="*/ 2117779 h 4331342"/>
                <a:gd name="connsiteX3756" fmla="*/ 732252 w 4753603"/>
                <a:gd name="connsiteY3756" fmla="*/ 2123894 h 4331342"/>
                <a:gd name="connsiteX3757" fmla="*/ 728845 w 4753603"/>
                <a:gd name="connsiteY3757" fmla="*/ 2127504 h 4331342"/>
                <a:gd name="connsiteX3758" fmla="*/ 726471 w 4753603"/>
                <a:gd name="connsiteY3758" fmla="*/ 2129857 h 4331342"/>
                <a:gd name="connsiteX3759" fmla="*/ 721054 w 4753603"/>
                <a:gd name="connsiteY3759" fmla="*/ 2134229 h 4331342"/>
                <a:gd name="connsiteX3760" fmla="*/ 720670 w 4753603"/>
                <a:gd name="connsiteY3760" fmla="*/ 2134372 h 4331342"/>
                <a:gd name="connsiteX3761" fmla="*/ 697810 w 4753603"/>
                <a:gd name="connsiteY3761" fmla="*/ 2160899 h 4331342"/>
                <a:gd name="connsiteX3762" fmla="*/ 675979 w 4753603"/>
                <a:gd name="connsiteY3762" fmla="*/ 2191931 h 4331342"/>
                <a:gd name="connsiteX3763" fmla="*/ 671944 w 4753603"/>
                <a:gd name="connsiteY3763" fmla="*/ 2197837 h 4331342"/>
                <a:gd name="connsiteX3764" fmla="*/ 650537 w 4753603"/>
                <a:gd name="connsiteY3764" fmla="*/ 2238346 h 4331342"/>
                <a:gd name="connsiteX3765" fmla="*/ 646160 w 4753603"/>
                <a:gd name="connsiteY3765" fmla="*/ 2240433 h 4331342"/>
                <a:gd name="connsiteX3766" fmla="*/ 643982 w 4753603"/>
                <a:gd name="connsiteY3766" fmla="*/ 2232022 h 4331342"/>
                <a:gd name="connsiteX3767" fmla="*/ 632154 w 4753603"/>
                <a:gd name="connsiteY3767" fmla="*/ 2198542 h 4331342"/>
                <a:gd name="connsiteX3768" fmla="*/ 627210 w 4753603"/>
                <a:gd name="connsiteY3768" fmla="*/ 2190626 h 4331342"/>
                <a:gd name="connsiteX3769" fmla="*/ 621823 w 4753603"/>
                <a:gd name="connsiteY3769" fmla="*/ 2197427 h 4331342"/>
                <a:gd name="connsiteX3770" fmla="*/ 621916 w 4753603"/>
                <a:gd name="connsiteY3770" fmla="*/ 2247614 h 4331342"/>
                <a:gd name="connsiteX3771" fmla="*/ 622504 w 4753603"/>
                <a:gd name="connsiteY3771" fmla="*/ 2253177 h 4331342"/>
                <a:gd name="connsiteX3772" fmla="*/ 625994 w 4753603"/>
                <a:gd name="connsiteY3772" fmla="*/ 2316594 h 4331342"/>
                <a:gd name="connsiteX3773" fmla="*/ 613216 w 4753603"/>
                <a:gd name="connsiteY3773" fmla="*/ 2346151 h 4331342"/>
                <a:gd name="connsiteX3774" fmla="*/ 581662 w 4753603"/>
                <a:gd name="connsiteY3774" fmla="*/ 2408111 h 4331342"/>
                <a:gd name="connsiteX3775" fmla="*/ 581013 w 4753603"/>
                <a:gd name="connsiteY3775" fmla="*/ 2410349 h 4331342"/>
                <a:gd name="connsiteX3776" fmla="*/ 578948 w 4753603"/>
                <a:gd name="connsiteY3776" fmla="*/ 2413997 h 4331342"/>
                <a:gd name="connsiteX3777" fmla="*/ 573135 w 4753603"/>
                <a:gd name="connsiteY3777" fmla="*/ 2420941 h 4331342"/>
                <a:gd name="connsiteX3778" fmla="*/ 573251 w 4753603"/>
                <a:gd name="connsiteY3778" fmla="*/ 2421360 h 4331342"/>
                <a:gd name="connsiteX3779" fmla="*/ 569730 w 4753603"/>
                <a:gd name="connsiteY3779" fmla="*/ 2424236 h 4331342"/>
                <a:gd name="connsiteX3780" fmla="*/ 566531 w 4753603"/>
                <a:gd name="connsiteY3780" fmla="*/ 2414283 h 4331342"/>
                <a:gd name="connsiteX3781" fmla="*/ 562774 w 4753603"/>
                <a:gd name="connsiteY3781" fmla="*/ 2398347 h 4331342"/>
                <a:gd name="connsiteX3782" fmla="*/ 548458 w 4753603"/>
                <a:gd name="connsiteY3782" fmla="*/ 2383574 h 4331342"/>
                <a:gd name="connsiteX3783" fmla="*/ 538952 w 4753603"/>
                <a:gd name="connsiteY3783" fmla="*/ 2399862 h 4331342"/>
                <a:gd name="connsiteX3784" fmla="*/ 549304 w 4753603"/>
                <a:gd name="connsiteY3784" fmla="*/ 2433542 h 4331342"/>
                <a:gd name="connsiteX3785" fmla="*/ 553723 w 4753603"/>
                <a:gd name="connsiteY3785" fmla="*/ 2447897 h 4331342"/>
                <a:gd name="connsiteX3786" fmla="*/ 558212 w 4753603"/>
                <a:gd name="connsiteY3786" fmla="*/ 2493350 h 4331342"/>
                <a:gd name="connsiteX3787" fmla="*/ 553587 w 4753603"/>
                <a:gd name="connsiteY3787" fmla="*/ 2529193 h 4331342"/>
                <a:gd name="connsiteX3788" fmla="*/ 549820 w 4753603"/>
                <a:gd name="connsiteY3788" fmla="*/ 2593201 h 4331342"/>
                <a:gd name="connsiteX3789" fmla="*/ 541987 w 4753603"/>
                <a:gd name="connsiteY3789" fmla="*/ 2607593 h 4331342"/>
                <a:gd name="connsiteX3790" fmla="*/ 534762 w 4753603"/>
                <a:gd name="connsiteY3790" fmla="*/ 2596068 h 4331342"/>
                <a:gd name="connsiteX3791" fmla="*/ 513066 w 4753603"/>
                <a:gd name="connsiteY3791" fmla="*/ 2512838 h 4331342"/>
                <a:gd name="connsiteX3792" fmla="*/ 528166 w 4753603"/>
                <a:gd name="connsiteY3792" fmla="*/ 2464194 h 4331342"/>
                <a:gd name="connsiteX3793" fmla="*/ 530560 w 4753603"/>
                <a:gd name="connsiteY3793" fmla="*/ 2425351 h 4331342"/>
                <a:gd name="connsiteX3794" fmla="*/ 537900 w 4753603"/>
                <a:gd name="connsiteY3794" fmla="*/ 2357200 h 4331342"/>
                <a:gd name="connsiteX3795" fmla="*/ 559874 w 4753603"/>
                <a:gd name="connsiteY3795" fmla="*/ 2302469 h 4331342"/>
                <a:gd name="connsiteX3796" fmla="*/ 578462 w 4753603"/>
                <a:gd name="connsiteY3796" fmla="*/ 2280133 h 4331342"/>
                <a:gd name="connsiteX3797" fmla="*/ 591787 w 4753603"/>
                <a:gd name="connsiteY3797" fmla="*/ 2259187 h 4331342"/>
                <a:gd name="connsiteX3798" fmla="*/ 593872 w 4753603"/>
                <a:gd name="connsiteY3798" fmla="*/ 2194570 h 4331342"/>
                <a:gd name="connsiteX3799" fmla="*/ 609385 w 4753603"/>
                <a:gd name="connsiteY3799" fmla="*/ 2162823 h 4331342"/>
                <a:gd name="connsiteX3800" fmla="*/ 647017 w 4753603"/>
                <a:gd name="connsiteY3800" fmla="*/ 2117779 h 4331342"/>
                <a:gd name="connsiteX3801" fmla="*/ 659734 w 4753603"/>
                <a:gd name="connsiteY3801" fmla="*/ 2118779 h 4331342"/>
                <a:gd name="connsiteX3802" fmla="*/ 679004 w 4753603"/>
                <a:gd name="connsiteY3802" fmla="*/ 2127409 h 4331342"/>
                <a:gd name="connsiteX3803" fmla="*/ 685238 w 4753603"/>
                <a:gd name="connsiteY3803" fmla="*/ 2126466 h 4331342"/>
                <a:gd name="connsiteX3804" fmla="*/ 693856 w 4753603"/>
                <a:gd name="connsiteY3804" fmla="*/ 2105339 h 4331342"/>
                <a:gd name="connsiteX3805" fmla="*/ 695095 w 4753603"/>
                <a:gd name="connsiteY3805" fmla="*/ 2098491 h 4331342"/>
                <a:gd name="connsiteX3806" fmla="*/ 696776 w 4753603"/>
                <a:gd name="connsiteY3806" fmla="*/ 2086880 h 4331342"/>
                <a:gd name="connsiteX3807" fmla="*/ 698128 w 4753603"/>
                <a:gd name="connsiteY3807" fmla="*/ 2080422 h 4331342"/>
                <a:gd name="connsiteX3808" fmla="*/ 705395 w 4753603"/>
                <a:gd name="connsiteY3808" fmla="*/ 2055419 h 4331342"/>
                <a:gd name="connsiteX3809" fmla="*/ 705395 w 4753603"/>
                <a:gd name="connsiteY3809" fmla="*/ 2054447 h 4331342"/>
                <a:gd name="connsiteX3810" fmla="*/ 716078 w 4753603"/>
                <a:gd name="connsiteY3810" fmla="*/ 2040303 h 4331342"/>
                <a:gd name="connsiteX3811" fmla="*/ 722312 w 4753603"/>
                <a:gd name="connsiteY3811" fmla="*/ 2037188 h 4331342"/>
                <a:gd name="connsiteX3812" fmla="*/ 769791 w 4753603"/>
                <a:gd name="connsiteY3812" fmla="*/ 2030073 h 4331342"/>
                <a:gd name="connsiteX3813" fmla="*/ 782681 w 4753603"/>
                <a:gd name="connsiteY3813" fmla="*/ 2049561 h 4331342"/>
                <a:gd name="connsiteX3814" fmla="*/ 785592 w 4753603"/>
                <a:gd name="connsiteY3814" fmla="*/ 2052599 h 4331342"/>
                <a:gd name="connsiteX3815" fmla="*/ 788473 w 4753603"/>
                <a:gd name="connsiteY3815" fmla="*/ 2117265 h 4331342"/>
                <a:gd name="connsiteX3816" fmla="*/ 766921 w 4753603"/>
                <a:gd name="connsiteY3816" fmla="*/ 2151869 h 4331342"/>
                <a:gd name="connsiteX3817" fmla="*/ 765754 w 4753603"/>
                <a:gd name="connsiteY3817" fmla="*/ 2154936 h 4331342"/>
                <a:gd name="connsiteX3818" fmla="*/ 788132 w 4753603"/>
                <a:gd name="connsiteY3818" fmla="*/ 2182806 h 4331342"/>
                <a:gd name="connsiteX3819" fmla="*/ 794025 w 4753603"/>
                <a:gd name="connsiteY3819" fmla="*/ 2192855 h 4331342"/>
                <a:gd name="connsiteX3820" fmla="*/ 786263 w 4753603"/>
                <a:gd name="connsiteY3820" fmla="*/ 2210581 h 4331342"/>
                <a:gd name="connsiteX3821" fmla="*/ 786758 w 4753603"/>
                <a:gd name="connsiteY3821" fmla="*/ 2211296 h 4331342"/>
                <a:gd name="connsiteX3822" fmla="*/ 766921 w 4753603"/>
                <a:gd name="connsiteY3822" fmla="*/ 2271932 h 4331342"/>
                <a:gd name="connsiteX3823" fmla="*/ 765900 w 4753603"/>
                <a:gd name="connsiteY3823" fmla="*/ 2278028 h 4331342"/>
                <a:gd name="connsiteX3824" fmla="*/ 758529 w 4753603"/>
                <a:gd name="connsiteY3824" fmla="*/ 2300669 h 4331342"/>
                <a:gd name="connsiteX3825" fmla="*/ 716799 w 4753603"/>
                <a:gd name="connsiteY3825" fmla="*/ 2339959 h 4331342"/>
                <a:gd name="connsiteX3826" fmla="*/ 710712 w 4753603"/>
                <a:gd name="connsiteY3826" fmla="*/ 2342979 h 4331342"/>
                <a:gd name="connsiteX3827" fmla="*/ 704828 w 4753603"/>
                <a:gd name="connsiteY3827" fmla="*/ 2345865 h 4331342"/>
                <a:gd name="connsiteX3828" fmla="*/ 710247 w 4753603"/>
                <a:gd name="connsiteY3828" fmla="*/ 2376440 h 4331342"/>
                <a:gd name="connsiteX3829" fmla="*/ 710452 w 4753603"/>
                <a:gd name="connsiteY3829" fmla="*/ 2392347 h 4331342"/>
                <a:gd name="connsiteX3830" fmla="*/ 675163 w 4753603"/>
                <a:gd name="connsiteY3830" fmla="*/ 2444144 h 4331342"/>
                <a:gd name="connsiteX3831" fmla="*/ 629131 w 4753603"/>
                <a:gd name="connsiteY3831" fmla="*/ 2493569 h 4331342"/>
                <a:gd name="connsiteX3832" fmla="*/ 606001 w 4753603"/>
                <a:gd name="connsiteY3832" fmla="*/ 2500189 h 4331342"/>
                <a:gd name="connsiteX3833" fmla="*/ 601324 w 4753603"/>
                <a:gd name="connsiteY3833" fmla="*/ 2539060 h 4331342"/>
                <a:gd name="connsiteX3834" fmla="*/ 604121 w 4753603"/>
                <a:gd name="connsiteY3834" fmla="*/ 2561244 h 4331342"/>
                <a:gd name="connsiteX3835" fmla="*/ 577151 w 4753603"/>
                <a:gd name="connsiteY3835" fmla="*/ 2619604 h 4331342"/>
                <a:gd name="connsiteX3836" fmla="*/ 308970 w 4753603"/>
                <a:gd name="connsiteY3836" fmla="*/ 2723617 h 4331342"/>
                <a:gd name="connsiteX3837" fmla="*/ 259293 w 4753603"/>
                <a:gd name="connsiteY3837" fmla="*/ 2684869 h 4331342"/>
                <a:gd name="connsiteX3838" fmla="*/ 270946 w 4753603"/>
                <a:gd name="connsiteY3838" fmla="*/ 2642264 h 4331342"/>
                <a:gd name="connsiteX3839" fmla="*/ 306793 w 4753603"/>
                <a:gd name="connsiteY3839" fmla="*/ 2627376 h 4331342"/>
                <a:gd name="connsiteX3840" fmla="*/ 343362 w 4753603"/>
                <a:gd name="connsiteY3840" fmla="*/ 2649112 h 4331342"/>
                <a:gd name="connsiteX3841" fmla="*/ 354437 w 4753603"/>
                <a:gd name="connsiteY3841" fmla="*/ 2668410 h 4331342"/>
                <a:gd name="connsiteX3842" fmla="*/ 354880 w 4753603"/>
                <a:gd name="connsiteY3842" fmla="*/ 2668715 h 4331342"/>
                <a:gd name="connsiteX3843" fmla="*/ 393235 w 4753603"/>
                <a:gd name="connsiteY3843" fmla="*/ 2673172 h 4331342"/>
                <a:gd name="connsiteX3844" fmla="*/ 431237 w 4753603"/>
                <a:gd name="connsiteY3844" fmla="*/ 2672506 h 4331342"/>
                <a:gd name="connsiteX3845" fmla="*/ 471760 w 4753603"/>
                <a:gd name="connsiteY3845" fmla="*/ 2722340 h 4331342"/>
                <a:gd name="connsiteX3846" fmla="*/ 474402 w 4753603"/>
                <a:gd name="connsiteY3846" fmla="*/ 2732465 h 4331342"/>
                <a:gd name="connsiteX3847" fmla="*/ 495128 w 4753603"/>
                <a:gd name="connsiteY3847" fmla="*/ 2735113 h 4331342"/>
                <a:gd name="connsiteX3848" fmla="*/ 503167 w 4753603"/>
                <a:gd name="connsiteY3848" fmla="*/ 2728246 h 4331342"/>
                <a:gd name="connsiteX3849" fmla="*/ 531066 w 4753603"/>
                <a:gd name="connsiteY3849" fmla="*/ 2740895 h 4331342"/>
                <a:gd name="connsiteX3850" fmla="*/ 535092 w 4753603"/>
                <a:gd name="connsiteY3850" fmla="*/ 2747182 h 4331342"/>
                <a:gd name="connsiteX3851" fmla="*/ 546920 w 4753603"/>
                <a:gd name="connsiteY3851" fmla="*/ 2772099 h 4331342"/>
                <a:gd name="connsiteX3852" fmla="*/ 547365 w 4753603"/>
                <a:gd name="connsiteY3852" fmla="*/ 2774280 h 4331342"/>
                <a:gd name="connsiteX3853" fmla="*/ 553412 w 4753603"/>
                <a:gd name="connsiteY3853" fmla="*/ 2790863 h 4331342"/>
                <a:gd name="connsiteX3854" fmla="*/ 554073 w 4753603"/>
                <a:gd name="connsiteY3854" fmla="*/ 2793264 h 4331342"/>
                <a:gd name="connsiteX3855" fmla="*/ 550956 w 4753603"/>
                <a:gd name="connsiteY3855" fmla="*/ 2845194 h 4331342"/>
                <a:gd name="connsiteX3856" fmla="*/ 541946 w 4753603"/>
                <a:gd name="connsiteY3856" fmla="*/ 2851080 h 4331342"/>
                <a:gd name="connsiteX3857" fmla="*/ 532120 w 4753603"/>
                <a:gd name="connsiteY3857" fmla="*/ 2846337 h 4331342"/>
                <a:gd name="connsiteX3858" fmla="*/ 529415 w 4753603"/>
                <a:gd name="connsiteY3858" fmla="*/ 2834535 h 4331342"/>
                <a:gd name="connsiteX3859" fmla="*/ 524708 w 4753603"/>
                <a:gd name="connsiteY3859" fmla="*/ 2816895 h 4331342"/>
                <a:gd name="connsiteX3860" fmla="*/ 507802 w 4753603"/>
                <a:gd name="connsiteY3860" fmla="*/ 2831287 h 4331342"/>
                <a:gd name="connsiteX3861" fmla="*/ 478107 w 4753603"/>
                <a:gd name="connsiteY3861" fmla="*/ 2834335 h 4331342"/>
                <a:gd name="connsiteX3862" fmla="*/ 440496 w 4753603"/>
                <a:gd name="connsiteY3862" fmla="*/ 2749858 h 4331342"/>
                <a:gd name="connsiteX3863" fmla="*/ 427903 w 4753603"/>
                <a:gd name="connsiteY3863" fmla="*/ 2700785 h 4331342"/>
                <a:gd name="connsiteX3864" fmla="*/ 421484 w 4753603"/>
                <a:gd name="connsiteY3864" fmla="*/ 2710386 h 4331342"/>
                <a:gd name="connsiteX3865" fmla="*/ 415745 w 4753603"/>
                <a:gd name="connsiteY3865" fmla="*/ 2758774 h 4331342"/>
                <a:gd name="connsiteX3866" fmla="*/ 362590 w 4753603"/>
                <a:gd name="connsiteY3866" fmla="*/ 2710882 h 4331342"/>
                <a:gd name="connsiteX3867" fmla="*/ 314833 w 4753603"/>
                <a:gd name="connsiteY3867" fmla="*/ 2679059 h 4331342"/>
                <a:gd name="connsiteX3868" fmla="*/ 334578 w 4753603"/>
                <a:gd name="connsiteY3868" fmla="*/ 2717026 h 4331342"/>
                <a:gd name="connsiteX3869" fmla="*/ 338583 w 4753603"/>
                <a:gd name="connsiteY3869" fmla="*/ 2721407 h 4331342"/>
                <a:gd name="connsiteX3870" fmla="*/ 365016 w 4753603"/>
                <a:gd name="connsiteY3870" fmla="*/ 2746677 h 4331342"/>
                <a:gd name="connsiteX3871" fmla="*/ 398943 w 4753603"/>
                <a:gd name="connsiteY3871" fmla="*/ 2782691 h 4331342"/>
                <a:gd name="connsiteX3872" fmla="*/ 343765 w 4753603"/>
                <a:gd name="connsiteY3872" fmla="*/ 2790206 h 4331342"/>
                <a:gd name="connsiteX3873" fmla="*/ 349409 w 4753603"/>
                <a:gd name="connsiteY3873" fmla="*/ 2801941 h 4331342"/>
                <a:gd name="connsiteX3874" fmla="*/ 379837 w 4753603"/>
                <a:gd name="connsiteY3874" fmla="*/ 2805874 h 4331342"/>
                <a:gd name="connsiteX3875" fmla="*/ 394122 w 4753603"/>
                <a:gd name="connsiteY3875" fmla="*/ 2808742 h 4331342"/>
                <a:gd name="connsiteX3876" fmla="*/ 434769 w 4753603"/>
                <a:gd name="connsiteY3876" fmla="*/ 2817866 h 4331342"/>
                <a:gd name="connsiteX3877" fmla="*/ 463358 w 4753603"/>
                <a:gd name="connsiteY3877" fmla="*/ 2839527 h 4331342"/>
                <a:gd name="connsiteX3878" fmla="*/ 466166 w 4753603"/>
                <a:gd name="connsiteY3878" fmla="*/ 2845175 h 4331342"/>
                <a:gd name="connsiteX3879" fmla="*/ 464659 w 4753603"/>
                <a:gd name="connsiteY3879" fmla="*/ 2856414 h 4331342"/>
                <a:gd name="connsiteX3880" fmla="*/ 422609 w 4753603"/>
                <a:gd name="connsiteY3880" fmla="*/ 2882846 h 4331342"/>
                <a:gd name="connsiteX3881" fmla="*/ 422166 w 4753603"/>
                <a:gd name="connsiteY3881" fmla="*/ 2883246 h 4331342"/>
                <a:gd name="connsiteX3882" fmla="*/ 421742 w 4753603"/>
                <a:gd name="connsiteY3882" fmla="*/ 2888247 h 4331342"/>
                <a:gd name="connsiteX3883" fmla="*/ 482844 w 4753603"/>
                <a:gd name="connsiteY3883" fmla="*/ 2882456 h 4331342"/>
                <a:gd name="connsiteX3884" fmla="*/ 505005 w 4753603"/>
                <a:gd name="connsiteY3884" fmla="*/ 2882599 h 4331342"/>
                <a:gd name="connsiteX3885" fmla="*/ 389755 w 4753603"/>
                <a:gd name="connsiteY3885" fmla="*/ 2898724 h 4331342"/>
                <a:gd name="connsiteX3886" fmla="*/ 384399 w 4753603"/>
                <a:gd name="connsiteY3886" fmla="*/ 2888218 h 4331342"/>
                <a:gd name="connsiteX3887" fmla="*/ 385608 w 4753603"/>
                <a:gd name="connsiteY3887" fmla="*/ 2874521 h 4331342"/>
                <a:gd name="connsiteX3888" fmla="*/ 362590 w 4753603"/>
                <a:gd name="connsiteY3888" fmla="*/ 2836355 h 4331342"/>
                <a:gd name="connsiteX3889" fmla="*/ 336932 w 4753603"/>
                <a:gd name="connsiteY3889" fmla="*/ 2827535 h 4331342"/>
                <a:gd name="connsiteX3890" fmla="*/ 300890 w 4753603"/>
                <a:gd name="connsiteY3890" fmla="*/ 2778919 h 4331342"/>
                <a:gd name="connsiteX3891" fmla="*/ 310808 w 4753603"/>
                <a:gd name="connsiteY3891" fmla="*/ 2759335 h 4331342"/>
                <a:gd name="connsiteX3892" fmla="*/ 308970 w 4753603"/>
                <a:gd name="connsiteY3892" fmla="*/ 2723617 h 4331342"/>
                <a:gd name="connsiteX3893" fmla="*/ 359204 w 4753603"/>
                <a:gd name="connsiteY3893" fmla="*/ 3058230 h 4331342"/>
                <a:gd name="connsiteX3894" fmla="*/ 353177 w 4753603"/>
                <a:gd name="connsiteY3894" fmla="*/ 3058944 h 4331342"/>
                <a:gd name="connsiteX3895" fmla="*/ 318446 w 4753603"/>
                <a:gd name="connsiteY3895" fmla="*/ 3056001 h 4331342"/>
                <a:gd name="connsiteX3896" fmla="*/ 315803 w 4753603"/>
                <a:gd name="connsiteY3896" fmla="*/ 3055353 h 4331342"/>
                <a:gd name="connsiteX3897" fmla="*/ 302685 w 4753603"/>
                <a:gd name="connsiteY3897" fmla="*/ 3049534 h 4331342"/>
                <a:gd name="connsiteX3898" fmla="*/ 299476 w 4753603"/>
                <a:gd name="connsiteY3898" fmla="*/ 3046867 h 4331342"/>
                <a:gd name="connsiteX3899" fmla="*/ 287285 w 4753603"/>
                <a:gd name="connsiteY3899" fmla="*/ 3037313 h 4331342"/>
                <a:gd name="connsiteX3900" fmla="*/ 274837 w 4753603"/>
                <a:gd name="connsiteY3900" fmla="*/ 3021444 h 4331342"/>
                <a:gd name="connsiteX3901" fmla="*/ 274837 w 4753603"/>
                <a:gd name="connsiteY3901" fmla="*/ 2981639 h 4331342"/>
                <a:gd name="connsiteX3902" fmla="*/ 261751 w 4753603"/>
                <a:gd name="connsiteY3902" fmla="*/ 2965895 h 4331342"/>
                <a:gd name="connsiteX3903" fmla="*/ 216429 w 4753603"/>
                <a:gd name="connsiteY3903" fmla="*/ 2943073 h 4331342"/>
                <a:gd name="connsiteX3904" fmla="*/ 214416 w 4753603"/>
                <a:gd name="connsiteY3904" fmla="*/ 2889047 h 4331342"/>
                <a:gd name="connsiteX3905" fmla="*/ 217904 w 4753603"/>
                <a:gd name="connsiteY3905" fmla="*/ 2882817 h 4331342"/>
                <a:gd name="connsiteX3906" fmla="*/ 222539 w 4753603"/>
                <a:gd name="connsiteY3906" fmla="*/ 2873092 h 4331342"/>
                <a:gd name="connsiteX3907" fmla="*/ 222797 w 4753603"/>
                <a:gd name="connsiteY3907" fmla="*/ 2872035 h 4331342"/>
                <a:gd name="connsiteX3908" fmla="*/ 262401 w 4753603"/>
                <a:gd name="connsiteY3908" fmla="*/ 2863567 h 4331342"/>
                <a:gd name="connsiteX3909" fmla="*/ 274951 w 4753603"/>
                <a:gd name="connsiteY3909" fmla="*/ 2876864 h 4331342"/>
                <a:gd name="connsiteX3910" fmla="*/ 277770 w 4753603"/>
                <a:gd name="connsiteY3910" fmla="*/ 2879331 h 4331342"/>
                <a:gd name="connsiteX3911" fmla="*/ 296905 w 4753603"/>
                <a:gd name="connsiteY3911" fmla="*/ 2895114 h 4331342"/>
                <a:gd name="connsiteX3912" fmla="*/ 317971 w 4753603"/>
                <a:gd name="connsiteY3912" fmla="*/ 2881303 h 4331342"/>
                <a:gd name="connsiteX3913" fmla="*/ 320717 w 4753603"/>
                <a:gd name="connsiteY3913" fmla="*/ 2872502 h 4331342"/>
                <a:gd name="connsiteX3914" fmla="*/ 355685 w 4753603"/>
                <a:gd name="connsiteY3914" fmla="*/ 2859805 h 4331342"/>
                <a:gd name="connsiteX3915" fmla="*/ 360950 w 4753603"/>
                <a:gd name="connsiteY3915" fmla="*/ 2870816 h 4331342"/>
                <a:gd name="connsiteX3916" fmla="*/ 381323 w 4753603"/>
                <a:gd name="connsiteY3916" fmla="*/ 2919413 h 4331342"/>
                <a:gd name="connsiteX3917" fmla="*/ 433911 w 4753603"/>
                <a:gd name="connsiteY3917" fmla="*/ 2938301 h 4331342"/>
                <a:gd name="connsiteX3918" fmla="*/ 436377 w 4753603"/>
                <a:gd name="connsiteY3918" fmla="*/ 2947759 h 4331342"/>
                <a:gd name="connsiteX3919" fmla="*/ 432466 w 4753603"/>
                <a:gd name="connsiteY3919" fmla="*/ 2952245 h 4331342"/>
                <a:gd name="connsiteX3920" fmla="*/ 410802 w 4753603"/>
                <a:gd name="connsiteY3920" fmla="*/ 2953522 h 4331342"/>
                <a:gd name="connsiteX3921" fmla="*/ 391315 w 4753603"/>
                <a:gd name="connsiteY3921" fmla="*/ 2935396 h 4331342"/>
                <a:gd name="connsiteX3922" fmla="*/ 330366 w 4753603"/>
                <a:gd name="connsiteY3922" fmla="*/ 2941301 h 4331342"/>
                <a:gd name="connsiteX3923" fmla="*/ 272566 w 4753603"/>
                <a:gd name="connsiteY3923" fmla="*/ 2909697 h 4331342"/>
                <a:gd name="connsiteX3924" fmla="*/ 250707 w 4753603"/>
                <a:gd name="connsiteY3924" fmla="*/ 2907325 h 4331342"/>
                <a:gd name="connsiteX3925" fmla="*/ 259996 w 4753603"/>
                <a:gd name="connsiteY3925" fmla="*/ 2931176 h 4331342"/>
                <a:gd name="connsiteX3926" fmla="*/ 274837 w 4753603"/>
                <a:gd name="connsiteY3926" fmla="*/ 2941225 h 4331342"/>
                <a:gd name="connsiteX3927" fmla="*/ 315557 w 4753603"/>
                <a:gd name="connsiteY3927" fmla="*/ 2956722 h 4331342"/>
                <a:gd name="connsiteX3928" fmla="*/ 365450 w 4753603"/>
                <a:gd name="connsiteY3928" fmla="*/ 2969781 h 4331342"/>
                <a:gd name="connsiteX3929" fmla="*/ 368949 w 4753603"/>
                <a:gd name="connsiteY3929" fmla="*/ 2972200 h 4331342"/>
                <a:gd name="connsiteX3930" fmla="*/ 382521 w 4753603"/>
                <a:gd name="connsiteY3930" fmla="*/ 2977248 h 4331342"/>
                <a:gd name="connsiteX3931" fmla="*/ 371983 w 4753603"/>
                <a:gd name="connsiteY3931" fmla="*/ 2983697 h 4331342"/>
                <a:gd name="connsiteX3932" fmla="*/ 356780 w 4753603"/>
                <a:gd name="connsiteY3932" fmla="*/ 2994012 h 4331342"/>
                <a:gd name="connsiteX3933" fmla="*/ 346314 w 4753603"/>
                <a:gd name="connsiteY3933" fmla="*/ 3002661 h 4331342"/>
                <a:gd name="connsiteX3934" fmla="*/ 344198 w 4753603"/>
                <a:gd name="connsiteY3934" fmla="*/ 3003633 h 4331342"/>
                <a:gd name="connsiteX3935" fmla="*/ 339522 w 4753603"/>
                <a:gd name="connsiteY3935" fmla="*/ 3011224 h 4331342"/>
                <a:gd name="connsiteX3936" fmla="*/ 334960 w 4753603"/>
                <a:gd name="connsiteY3936" fmla="*/ 3021978 h 4331342"/>
                <a:gd name="connsiteX3937" fmla="*/ 347108 w 4753603"/>
                <a:gd name="connsiteY3937" fmla="*/ 3025159 h 4331342"/>
                <a:gd name="connsiteX3938" fmla="*/ 399531 w 4753603"/>
                <a:gd name="connsiteY3938" fmla="*/ 2996175 h 4331342"/>
                <a:gd name="connsiteX3939" fmla="*/ 391315 w 4753603"/>
                <a:gd name="connsiteY3939" fmla="*/ 3015491 h 4331342"/>
                <a:gd name="connsiteX3940" fmla="*/ 387661 w 4753603"/>
                <a:gd name="connsiteY3940" fmla="*/ 3022273 h 4331342"/>
                <a:gd name="connsiteX3941" fmla="*/ 387341 w 4753603"/>
                <a:gd name="connsiteY3941" fmla="*/ 3024026 h 4331342"/>
                <a:gd name="connsiteX3942" fmla="*/ 376473 w 4753603"/>
                <a:gd name="connsiteY3942" fmla="*/ 3053268 h 4331342"/>
                <a:gd name="connsiteX3943" fmla="*/ 359204 w 4753603"/>
                <a:gd name="connsiteY3943" fmla="*/ 3058230 h 4331342"/>
                <a:gd name="connsiteX3944" fmla="*/ 432734 w 4753603"/>
                <a:gd name="connsiteY3944" fmla="*/ 3353819 h 4331342"/>
                <a:gd name="connsiteX3945" fmla="*/ 432942 w 4753603"/>
                <a:gd name="connsiteY3945" fmla="*/ 3286754 h 4331342"/>
                <a:gd name="connsiteX3946" fmla="*/ 405910 w 4753603"/>
                <a:gd name="connsiteY3946" fmla="*/ 3345809 h 4331342"/>
                <a:gd name="connsiteX3947" fmla="*/ 397662 w 4753603"/>
                <a:gd name="connsiteY3947" fmla="*/ 3317081 h 4331342"/>
                <a:gd name="connsiteX3948" fmla="*/ 399779 w 4753603"/>
                <a:gd name="connsiteY3948" fmla="*/ 3313119 h 4331342"/>
                <a:gd name="connsiteX3949" fmla="*/ 395227 w 4753603"/>
                <a:gd name="connsiteY3949" fmla="*/ 3285506 h 4331342"/>
                <a:gd name="connsiteX3950" fmla="*/ 383749 w 4753603"/>
                <a:gd name="connsiteY3950" fmla="*/ 3304947 h 4331342"/>
                <a:gd name="connsiteX3951" fmla="*/ 376648 w 4753603"/>
                <a:gd name="connsiteY3951" fmla="*/ 3319663 h 4331342"/>
                <a:gd name="connsiteX3952" fmla="*/ 371705 w 4753603"/>
                <a:gd name="connsiteY3952" fmla="*/ 3266894 h 4331342"/>
                <a:gd name="connsiteX3953" fmla="*/ 363746 w 4753603"/>
                <a:gd name="connsiteY3953" fmla="*/ 3295584 h 4331342"/>
                <a:gd name="connsiteX3954" fmla="*/ 359618 w 4753603"/>
                <a:gd name="connsiteY3954" fmla="*/ 3319072 h 4331342"/>
                <a:gd name="connsiteX3955" fmla="*/ 355294 w 4753603"/>
                <a:gd name="connsiteY3955" fmla="*/ 3326197 h 4331342"/>
                <a:gd name="connsiteX3956" fmla="*/ 350267 w 4753603"/>
                <a:gd name="connsiteY3956" fmla="*/ 3319501 h 4331342"/>
                <a:gd name="connsiteX3957" fmla="*/ 352145 w 4753603"/>
                <a:gd name="connsiteY3957" fmla="*/ 3286382 h 4331342"/>
                <a:gd name="connsiteX3958" fmla="*/ 345911 w 4753603"/>
                <a:gd name="connsiteY3958" fmla="*/ 3248311 h 4331342"/>
                <a:gd name="connsiteX3959" fmla="*/ 336095 w 4753603"/>
                <a:gd name="connsiteY3959" fmla="*/ 3305670 h 4331342"/>
                <a:gd name="connsiteX3960" fmla="*/ 346355 w 4753603"/>
                <a:gd name="connsiteY3960" fmla="*/ 3196942 h 4331342"/>
                <a:gd name="connsiteX3961" fmla="*/ 423466 w 4753603"/>
                <a:gd name="connsiteY3961" fmla="*/ 3010110 h 4331342"/>
                <a:gd name="connsiteX3962" fmla="*/ 515338 w 4753603"/>
                <a:gd name="connsiteY3962" fmla="*/ 2902792 h 4331342"/>
                <a:gd name="connsiteX3963" fmla="*/ 638626 w 4753603"/>
                <a:gd name="connsiteY3963" fmla="*/ 2762679 h 4331342"/>
                <a:gd name="connsiteX3964" fmla="*/ 710081 w 4753603"/>
                <a:gd name="connsiteY3964" fmla="*/ 2646702 h 4331342"/>
                <a:gd name="connsiteX3965" fmla="*/ 729288 w 4753603"/>
                <a:gd name="connsiteY3965" fmla="*/ 2643569 h 4331342"/>
                <a:gd name="connsiteX3966" fmla="*/ 780411 w 4753603"/>
                <a:gd name="connsiteY3966" fmla="*/ 2669000 h 4331342"/>
                <a:gd name="connsiteX3967" fmla="*/ 820190 w 4753603"/>
                <a:gd name="connsiteY3967" fmla="*/ 2666371 h 4331342"/>
                <a:gd name="connsiteX3968" fmla="*/ 823988 w 4753603"/>
                <a:gd name="connsiteY3968" fmla="*/ 2659171 h 4331342"/>
                <a:gd name="connsiteX3969" fmla="*/ 784519 w 4753603"/>
                <a:gd name="connsiteY3969" fmla="*/ 2592562 h 4331342"/>
                <a:gd name="connsiteX3970" fmla="*/ 754267 w 4753603"/>
                <a:gd name="connsiteY3970" fmla="*/ 2537984 h 4331342"/>
                <a:gd name="connsiteX3971" fmla="*/ 810777 w 4753603"/>
                <a:gd name="connsiteY3971" fmla="*/ 2392613 h 4331342"/>
                <a:gd name="connsiteX3972" fmla="*/ 817135 w 4753603"/>
                <a:gd name="connsiteY3972" fmla="*/ 2384317 h 4331342"/>
                <a:gd name="connsiteX3973" fmla="*/ 801209 w 4753603"/>
                <a:gd name="connsiteY3973" fmla="*/ 2453154 h 4331342"/>
                <a:gd name="connsiteX3974" fmla="*/ 804656 w 4753603"/>
                <a:gd name="connsiteY3974" fmla="*/ 2454812 h 4331342"/>
                <a:gd name="connsiteX3975" fmla="*/ 827374 w 4753603"/>
                <a:gd name="connsiteY3975" fmla="*/ 2416435 h 4331342"/>
                <a:gd name="connsiteX3976" fmla="*/ 819126 w 4753603"/>
                <a:gd name="connsiteY3976" fmla="*/ 2464832 h 4331342"/>
                <a:gd name="connsiteX3977" fmla="*/ 810765 w 4753603"/>
                <a:gd name="connsiteY3977" fmla="*/ 2493302 h 4331342"/>
                <a:gd name="connsiteX3978" fmla="*/ 815153 w 4753603"/>
                <a:gd name="connsiteY3978" fmla="*/ 2502103 h 4331342"/>
                <a:gd name="connsiteX3979" fmla="*/ 820624 w 4753603"/>
                <a:gd name="connsiteY3979" fmla="*/ 2495922 h 4331342"/>
                <a:gd name="connsiteX3980" fmla="*/ 829097 w 4753603"/>
                <a:gd name="connsiteY3980" fmla="*/ 2480653 h 4331342"/>
                <a:gd name="connsiteX3981" fmla="*/ 823978 w 4753603"/>
                <a:gd name="connsiteY3981" fmla="*/ 2533584 h 4331342"/>
                <a:gd name="connsiteX3982" fmla="*/ 845270 w 4753603"/>
                <a:gd name="connsiteY3982" fmla="*/ 2519591 h 4331342"/>
                <a:gd name="connsiteX3983" fmla="*/ 835663 w 4753603"/>
                <a:gd name="connsiteY3983" fmla="*/ 2580894 h 4331342"/>
                <a:gd name="connsiteX3984" fmla="*/ 854880 w 4753603"/>
                <a:gd name="connsiteY3984" fmla="*/ 2564130 h 4331342"/>
                <a:gd name="connsiteX3985" fmla="*/ 843164 w 4753603"/>
                <a:gd name="connsiteY3985" fmla="*/ 2644378 h 4331342"/>
                <a:gd name="connsiteX3986" fmla="*/ 867256 w 4753603"/>
                <a:gd name="connsiteY3986" fmla="*/ 2622709 h 4331342"/>
                <a:gd name="connsiteX3987" fmla="*/ 851670 w 4753603"/>
                <a:gd name="connsiteY3987" fmla="*/ 2675335 h 4331342"/>
                <a:gd name="connsiteX3988" fmla="*/ 761254 w 4753603"/>
                <a:gd name="connsiteY3988" fmla="*/ 2821562 h 4331342"/>
                <a:gd name="connsiteX3989" fmla="*/ 645944 w 4753603"/>
                <a:gd name="connsiteY3989" fmla="*/ 2969524 h 4331342"/>
                <a:gd name="connsiteX3990" fmla="*/ 545238 w 4753603"/>
                <a:gd name="connsiteY3990" fmla="*/ 3099778 h 4331342"/>
                <a:gd name="connsiteX3991" fmla="*/ 465752 w 4753603"/>
                <a:gd name="connsiteY3991" fmla="*/ 3243215 h 4331342"/>
                <a:gd name="connsiteX3992" fmla="*/ 438020 w 4753603"/>
                <a:gd name="connsiteY3992" fmla="*/ 3340799 h 4331342"/>
                <a:gd name="connsiteX3993" fmla="*/ 432734 w 4753603"/>
                <a:gd name="connsiteY3993" fmla="*/ 3353819 h 4331342"/>
                <a:gd name="connsiteX3994" fmla="*/ 764754 w 4753603"/>
                <a:gd name="connsiteY3994" fmla="*/ 2614975 h 4331342"/>
                <a:gd name="connsiteX3995" fmla="*/ 779121 w 4753603"/>
                <a:gd name="connsiteY3995" fmla="*/ 2611431 h 4331342"/>
                <a:gd name="connsiteX3996" fmla="*/ 801197 w 4753603"/>
                <a:gd name="connsiteY3996" fmla="*/ 2625671 h 4331342"/>
                <a:gd name="connsiteX3997" fmla="*/ 790712 w 4753603"/>
                <a:gd name="connsiteY3997" fmla="*/ 2634891 h 4331342"/>
                <a:gd name="connsiteX3998" fmla="*/ 781299 w 4753603"/>
                <a:gd name="connsiteY3998" fmla="*/ 2630319 h 4331342"/>
                <a:gd name="connsiteX3999" fmla="*/ 764754 w 4753603"/>
                <a:gd name="connsiteY3999" fmla="*/ 2614975 h 4331342"/>
                <a:gd name="connsiteX4000" fmla="*/ 550956 w 4753603"/>
                <a:gd name="connsiteY4000" fmla="*/ 3420761 h 4331342"/>
                <a:gd name="connsiteX4001" fmla="*/ 541100 w 4753603"/>
                <a:gd name="connsiteY4001" fmla="*/ 3433515 h 4331342"/>
                <a:gd name="connsiteX4002" fmla="*/ 528848 w 4753603"/>
                <a:gd name="connsiteY4002" fmla="*/ 3419170 h 4331342"/>
                <a:gd name="connsiteX4003" fmla="*/ 529355 w 4753603"/>
                <a:gd name="connsiteY4003" fmla="*/ 3402178 h 4331342"/>
                <a:gd name="connsiteX4004" fmla="*/ 531789 w 4753603"/>
                <a:gd name="connsiteY4004" fmla="*/ 3373679 h 4331342"/>
                <a:gd name="connsiteX4005" fmla="*/ 516132 w 4753603"/>
                <a:gd name="connsiteY4005" fmla="*/ 3403959 h 4331342"/>
                <a:gd name="connsiteX4006" fmla="*/ 505005 w 4753603"/>
                <a:gd name="connsiteY4006" fmla="*/ 3378489 h 4331342"/>
                <a:gd name="connsiteX4007" fmla="*/ 504531 w 4753603"/>
                <a:gd name="connsiteY4007" fmla="*/ 3345923 h 4331342"/>
                <a:gd name="connsiteX4008" fmla="*/ 480874 w 4753603"/>
                <a:gd name="connsiteY4008" fmla="*/ 3384261 h 4331342"/>
                <a:gd name="connsiteX4009" fmla="*/ 480874 w 4753603"/>
                <a:gd name="connsiteY4009" fmla="*/ 3334617 h 4331342"/>
                <a:gd name="connsiteX4010" fmla="*/ 476962 w 4753603"/>
                <a:gd name="connsiteY4010" fmla="*/ 3334074 h 4331342"/>
                <a:gd name="connsiteX4011" fmla="*/ 467838 w 4753603"/>
                <a:gd name="connsiteY4011" fmla="*/ 3350905 h 4331342"/>
                <a:gd name="connsiteX4012" fmla="*/ 462388 w 4753603"/>
                <a:gd name="connsiteY4012" fmla="*/ 3357143 h 4331342"/>
                <a:gd name="connsiteX4013" fmla="*/ 456711 w 4753603"/>
                <a:gd name="connsiteY4013" fmla="*/ 3349238 h 4331342"/>
                <a:gd name="connsiteX4014" fmla="*/ 460747 w 4753603"/>
                <a:gd name="connsiteY4014" fmla="*/ 3314472 h 4331342"/>
                <a:gd name="connsiteX4015" fmla="*/ 531386 w 4753603"/>
                <a:gd name="connsiteY4015" fmla="*/ 3158195 h 4331342"/>
                <a:gd name="connsiteX4016" fmla="*/ 571610 w 4753603"/>
                <a:gd name="connsiteY4016" fmla="*/ 3092815 h 4331342"/>
                <a:gd name="connsiteX4017" fmla="*/ 646243 w 4753603"/>
                <a:gd name="connsiteY4017" fmla="*/ 2995489 h 4331342"/>
                <a:gd name="connsiteX4018" fmla="*/ 700957 w 4753603"/>
                <a:gd name="connsiteY4018" fmla="*/ 2932548 h 4331342"/>
                <a:gd name="connsiteX4019" fmla="*/ 789184 w 4753603"/>
                <a:gd name="connsiteY4019" fmla="*/ 2812561 h 4331342"/>
                <a:gd name="connsiteX4020" fmla="*/ 869970 w 4753603"/>
                <a:gd name="connsiteY4020" fmla="*/ 2687155 h 4331342"/>
                <a:gd name="connsiteX4021" fmla="*/ 886929 w 4753603"/>
                <a:gd name="connsiteY4021" fmla="*/ 2673525 h 4331342"/>
                <a:gd name="connsiteX4022" fmla="*/ 886474 w 4753603"/>
                <a:gd name="connsiteY4022" fmla="*/ 2698442 h 4331342"/>
                <a:gd name="connsiteX4023" fmla="*/ 881624 w 4753603"/>
                <a:gd name="connsiteY4023" fmla="*/ 2715825 h 4331342"/>
                <a:gd name="connsiteX4024" fmla="*/ 904340 w 4753603"/>
                <a:gd name="connsiteY4024" fmla="*/ 2723407 h 4331342"/>
                <a:gd name="connsiteX4025" fmla="*/ 914073 w 4753603"/>
                <a:gd name="connsiteY4025" fmla="*/ 2737485 h 4331342"/>
                <a:gd name="connsiteX4026" fmla="*/ 917458 w 4753603"/>
                <a:gd name="connsiteY4026" fmla="*/ 2758088 h 4331342"/>
                <a:gd name="connsiteX4027" fmla="*/ 898829 w 4753603"/>
                <a:gd name="connsiteY4027" fmla="*/ 2789663 h 4331342"/>
                <a:gd name="connsiteX4028" fmla="*/ 899015 w 4753603"/>
                <a:gd name="connsiteY4028" fmla="*/ 2799140 h 4331342"/>
                <a:gd name="connsiteX4029" fmla="*/ 906631 w 4753603"/>
                <a:gd name="connsiteY4029" fmla="*/ 2796645 h 4331342"/>
                <a:gd name="connsiteX4030" fmla="*/ 914249 w 4753603"/>
                <a:gd name="connsiteY4030" fmla="*/ 2791149 h 4331342"/>
                <a:gd name="connsiteX4031" fmla="*/ 921546 w 4753603"/>
                <a:gd name="connsiteY4031" fmla="*/ 2790482 h 4331342"/>
                <a:gd name="connsiteX4032" fmla="*/ 922465 w 4753603"/>
                <a:gd name="connsiteY4032" fmla="*/ 2798264 h 4331342"/>
                <a:gd name="connsiteX4033" fmla="*/ 908396 w 4753603"/>
                <a:gd name="connsiteY4033" fmla="*/ 2827277 h 4331342"/>
                <a:gd name="connsiteX4034" fmla="*/ 918222 w 4753603"/>
                <a:gd name="connsiteY4034" fmla="*/ 2826239 h 4331342"/>
                <a:gd name="connsiteX4035" fmla="*/ 928708 w 4753603"/>
                <a:gd name="connsiteY4035" fmla="*/ 2822867 h 4331342"/>
                <a:gd name="connsiteX4036" fmla="*/ 928090 w 4753603"/>
                <a:gd name="connsiteY4036" fmla="*/ 2837164 h 4331342"/>
                <a:gd name="connsiteX4037" fmla="*/ 853507 w 4753603"/>
                <a:gd name="connsiteY4037" fmla="*/ 2936453 h 4331342"/>
                <a:gd name="connsiteX4038" fmla="*/ 762142 w 4753603"/>
                <a:gd name="connsiteY4038" fmla="*/ 3040475 h 4331342"/>
                <a:gd name="connsiteX4039" fmla="*/ 705343 w 4753603"/>
                <a:gd name="connsiteY4039" fmla="*/ 3114504 h 4331342"/>
                <a:gd name="connsiteX4040" fmla="*/ 646749 w 4753603"/>
                <a:gd name="connsiteY4040" fmla="*/ 3199295 h 4331342"/>
                <a:gd name="connsiteX4041" fmla="*/ 564581 w 4753603"/>
                <a:gd name="connsiteY4041" fmla="*/ 3271428 h 4331342"/>
                <a:gd name="connsiteX4042" fmla="*/ 543070 w 4753603"/>
                <a:gd name="connsiteY4042" fmla="*/ 3283325 h 4331342"/>
                <a:gd name="connsiteX4043" fmla="*/ 531758 w 4753603"/>
                <a:gd name="connsiteY4043" fmla="*/ 3309985 h 4331342"/>
                <a:gd name="connsiteX4044" fmla="*/ 552990 w 4753603"/>
                <a:gd name="connsiteY4044" fmla="*/ 3395015 h 4331342"/>
                <a:gd name="connsiteX4045" fmla="*/ 550956 w 4753603"/>
                <a:gd name="connsiteY4045" fmla="*/ 3420761 h 4331342"/>
                <a:gd name="connsiteX4046" fmla="*/ 645747 w 4753603"/>
                <a:gd name="connsiteY4046" fmla="*/ 3483369 h 4331342"/>
                <a:gd name="connsiteX4047" fmla="*/ 628707 w 4753603"/>
                <a:gd name="connsiteY4047" fmla="*/ 3517021 h 4331342"/>
                <a:gd name="connsiteX4048" fmla="*/ 622473 w 4753603"/>
                <a:gd name="connsiteY4048" fmla="*/ 3524060 h 4331342"/>
                <a:gd name="connsiteX4049" fmla="*/ 619656 w 4753603"/>
                <a:gd name="connsiteY4049" fmla="*/ 3514916 h 4331342"/>
                <a:gd name="connsiteX4050" fmla="*/ 625961 w 4753603"/>
                <a:gd name="connsiteY4050" fmla="*/ 3496047 h 4331342"/>
                <a:gd name="connsiteX4051" fmla="*/ 627190 w 4753603"/>
                <a:gd name="connsiteY4051" fmla="*/ 3482540 h 4331342"/>
                <a:gd name="connsiteX4052" fmla="*/ 617612 w 4753603"/>
                <a:gd name="connsiteY4052" fmla="*/ 3491370 h 4331342"/>
                <a:gd name="connsiteX4053" fmla="*/ 609076 w 4753603"/>
                <a:gd name="connsiteY4053" fmla="*/ 3508134 h 4331342"/>
                <a:gd name="connsiteX4054" fmla="*/ 604286 w 4753603"/>
                <a:gd name="connsiteY4054" fmla="*/ 3484331 h 4331342"/>
                <a:gd name="connsiteX4055" fmla="*/ 603047 w 4753603"/>
                <a:gd name="connsiteY4055" fmla="*/ 3459804 h 4331342"/>
                <a:gd name="connsiteX4056" fmla="*/ 595379 w 4753603"/>
                <a:gd name="connsiteY4056" fmla="*/ 3473244 h 4331342"/>
                <a:gd name="connsiteX4057" fmla="*/ 589775 w 4753603"/>
                <a:gd name="connsiteY4057" fmla="*/ 3480854 h 4331342"/>
                <a:gd name="connsiteX4058" fmla="*/ 585420 w 4753603"/>
                <a:gd name="connsiteY4058" fmla="*/ 3471034 h 4331342"/>
                <a:gd name="connsiteX4059" fmla="*/ 583127 w 4753603"/>
                <a:gd name="connsiteY4059" fmla="*/ 3435839 h 4331342"/>
                <a:gd name="connsiteX4060" fmla="*/ 577234 w 4753603"/>
                <a:gd name="connsiteY4060" fmla="*/ 3427771 h 4331342"/>
                <a:gd name="connsiteX4061" fmla="*/ 572311 w 4753603"/>
                <a:gd name="connsiteY4061" fmla="*/ 3435839 h 4331342"/>
                <a:gd name="connsiteX4062" fmla="*/ 561927 w 4753603"/>
                <a:gd name="connsiteY4062" fmla="*/ 3457899 h 4331342"/>
                <a:gd name="connsiteX4063" fmla="*/ 575211 w 4753603"/>
                <a:gd name="connsiteY4063" fmla="*/ 3387576 h 4331342"/>
                <a:gd name="connsiteX4064" fmla="*/ 581197 w 4753603"/>
                <a:gd name="connsiteY4064" fmla="*/ 3383233 h 4331342"/>
                <a:gd name="connsiteX4065" fmla="*/ 629316 w 4753603"/>
                <a:gd name="connsiteY4065" fmla="*/ 3421285 h 4331342"/>
                <a:gd name="connsiteX4066" fmla="*/ 647245 w 4753603"/>
                <a:gd name="connsiteY4066" fmla="*/ 3463309 h 4331342"/>
                <a:gd name="connsiteX4067" fmla="*/ 645747 w 4753603"/>
                <a:gd name="connsiteY4067" fmla="*/ 3483369 h 4331342"/>
                <a:gd name="connsiteX4068" fmla="*/ 778451 w 4753603"/>
                <a:gd name="connsiteY4068" fmla="*/ 3543100 h 4331342"/>
                <a:gd name="connsiteX4069" fmla="*/ 737723 w 4753603"/>
                <a:gd name="connsiteY4069" fmla="*/ 3560169 h 4331342"/>
                <a:gd name="connsiteX4070" fmla="*/ 669323 w 4753603"/>
                <a:gd name="connsiteY4070" fmla="*/ 3572161 h 4331342"/>
                <a:gd name="connsiteX4071" fmla="*/ 658052 w 4753603"/>
                <a:gd name="connsiteY4071" fmla="*/ 3567398 h 4331342"/>
                <a:gd name="connsiteX4072" fmla="*/ 668920 w 4753603"/>
                <a:gd name="connsiteY4072" fmla="*/ 3561779 h 4331342"/>
                <a:gd name="connsiteX4073" fmla="*/ 712361 w 4753603"/>
                <a:gd name="connsiteY4073" fmla="*/ 3556921 h 4331342"/>
                <a:gd name="connsiteX4074" fmla="*/ 733572 w 4753603"/>
                <a:gd name="connsiteY4074" fmla="*/ 3543595 h 4331342"/>
                <a:gd name="connsiteX4075" fmla="*/ 691586 w 4753603"/>
                <a:gd name="connsiteY4075" fmla="*/ 3552320 h 4331342"/>
                <a:gd name="connsiteX4076" fmla="*/ 658628 w 4753603"/>
                <a:gd name="connsiteY4076" fmla="*/ 3547739 h 4331342"/>
                <a:gd name="connsiteX4077" fmla="*/ 653571 w 4753603"/>
                <a:gd name="connsiteY4077" fmla="*/ 3540614 h 4331342"/>
                <a:gd name="connsiteX4078" fmla="*/ 659599 w 4753603"/>
                <a:gd name="connsiteY4078" fmla="*/ 3534918 h 4331342"/>
                <a:gd name="connsiteX4079" fmla="*/ 676412 w 4753603"/>
                <a:gd name="connsiteY4079" fmla="*/ 3531203 h 4331342"/>
                <a:gd name="connsiteX4080" fmla="*/ 696529 w 4753603"/>
                <a:gd name="connsiteY4080" fmla="*/ 3530327 h 4331342"/>
                <a:gd name="connsiteX4081" fmla="*/ 714859 w 4753603"/>
                <a:gd name="connsiteY4081" fmla="*/ 3523498 h 4331342"/>
                <a:gd name="connsiteX4082" fmla="*/ 696260 w 4753603"/>
                <a:gd name="connsiteY4082" fmla="*/ 3518278 h 4331342"/>
                <a:gd name="connsiteX4083" fmla="*/ 674339 w 4753603"/>
                <a:gd name="connsiteY4083" fmla="*/ 3518278 h 4331342"/>
                <a:gd name="connsiteX4084" fmla="*/ 661591 w 4753603"/>
                <a:gd name="connsiteY4084" fmla="*/ 3513439 h 4331342"/>
                <a:gd name="connsiteX4085" fmla="*/ 671811 w 4753603"/>
                <a:gd name="connsiteY4085" fmla="*/ 3505095 h 4331342"/>
                <a:gd name="connsiteX4086" fmla="*/ 700803 w 4753603"/>
                <a:gd name="connsiteY4086" fmla="*/ 3496609 h 4331342"/>
                <a:gd name="connsiteX4087" fmla="*/ 679840 w 4753603"/>
                <a:gd name="connsiteY4087" fmla="*/ 3489379 h 4331342"/>
                <a:gd name="connsiteX4088" fmla="*/ 741365 w 4753603"/>
                <a:gd name="connsiteY4088" fmla="*/ 3484045 h 4331342"/>
                <a:gd name="connsiteX4089" fmla="*/ 757508 w 4753603"/>
                <a:gd name="connsiteY4089" fmla="*/ 3500247 h 4331342"/>
                <a:gd name="connsiteX4090" fmla="*/ 779225 w 4753603"/>
                <a:gd name="connsiteY4090" fmla="*/ 3530508 h 4331342"/>
                <a:gd name="connsiteX4091" fmla="*/ 778451 w 4753603"/>
                <a:gd name="connsiteY4091" fmla="*/ 3543100 h 4331342"/>
                <a:gd name="connsiteX4092" fmla="*/ 958968 w 4753603"/>
                <a:gd name="connsiteY4092" fmla="*/ 3555092 h 4331342"/>
                <a:gd name="connsiteX4093" fmla="*/ 958968 w 4753603"/>
                <a:gd name="connsiteY4093" fmla="*/ 3555159 h 4331342"/>
                <a:gd name="connsiteX4094" fmla="*/ 942787 w 4753603"/>
                <a:gd name="connsiteY4094" fmla="*/ 3545348 h 4331342"/>
                <a:gd name="connsiteX4095" fmla="*/ 909883 w 4753603"/>
                <a:gd name="connsiteY4095" fmla="*/ 3540805 h 4331342"/>
                <a:gd name="connsiteX4096" fmla="*/ 896435 w 4753603"/>
                <a:gd name="connsiteY4096" fmla="*/ 3542938 h 4331342"/>
                <a:gd name="connsiteX4097" fmla="*/ 883996 w 4753603"/>
                <a:gd name="connsiteY4097" fmla="*/ 3548291 h 4331342"/>
                <a:gd name="connsiteX4098" fmla="*/ 880766 w 4753603"/>
                <a:gd name="connsiteY4098" fmla="*/ 3549339 h 4331342"/>
                <a:gd name="connsiteX4099" fmla="*/ 827178 w 4753603"/>
                <a:gd name="connsiteY4099" fmla="*/ 3537033 h 4331342"/>
                <a:gd name="connsiteX4100" fmla="*/ 826941 w 4753603"/>
                <a:gd name="connsiteY4100" fmla="*/ 3536814 h 4331342"/>
                <a:gd name="connsiteX4101" fmla="*/ 821057 w 4753603"/>
                <a:gd name="connsiteY4101" fmla="*/ 3530841 h 4331342"/>
                <a:gd name="connsiteX4102" fmla="*/ 784003 w 4753603"/>
                <a:gd name="connsiteY4102" fmla="*/ 3490998 h 4331342"/>
                <a:gd name="connsiteX4103" fmla="*/ 752451 w 4753603"/>
                <a:gd name="connsiteY4103" fmla="*/ 3468338 h 4331342"/>
                <a:gd name="connsiteX4104" fmla="*/ 670055 w 4753603"/>
                <a:gd name="connsiteY4104" fmla="*/ 3451031 h 4331342"/>
                <a:gd name="connsiteX4105" fmla="*/ 653685 w 4753603"/>
                <a:gd name="connsiteY4105" fmla="*/ 3411112 h 4331342"/>
                <a:gd name="connsiteX4106" fmla="*/ 632681 w 4753603"/>
                <a:gd name="connsiteY4106" fmla="*/ 3374489 h 4331342"/>
                <a:gd name="connsiteX4107" fmla="*/ 575243 w 4753603"/>
                <a:gd name="connsiteY4107" fmla="*/ 3353010 h 4331342"/>
                <a:gd name="connsiteX4108" fmla="*/ 556622 w 4753603"/>
                <a:gd name="connsiteY4108" fmla="*/ 3330188 h 4331342"/>
                <a:gd name="connsiteX4109" fmla="*/ 567337 w 4753603"/>
                <a:gd name="connsiteY4109" fmla="*/ 3298631 h 4331342"/>
                <a:gd name="connsiteX4110" fmla="*/ 588123 w 4753603"/>
                <a:gd name="connsiteY4110" fmla="*/ 3286735 h 4331342"/>
                <a:gd name="connsiteX4111" fmla="*/ 613545 w 4753603"/>
                <a:gd name="connsiteY4111" fmla="*/ 3270923 h 4331342"/>
                <a:gd name="connsiteX4112" fmla="*/ 623001 w 4753603"/>
                <a:gd name="connsiteY4112" fmla="*/ 3265046 h 4331342"/>
                <a:gd name="connsiteX4113" fmla="*/ 623001 w 4753603"/>
                <a:gd name="connsiteY4113" fmla="*/ 3264922 h 4331342"/>
                <a:gd name="connsiteX4114" fmla="*/ 645655 w 4753603"/>
                <a:gd name="connsiteY4114" fmla="*/ 3259741 h 4331342"/>
                <a:gd name="connsiteX4115" fmla="*/ 714726 w 4753603"/>
                <a:gd name="connsiteY4115" fmla="*/ 3301937 h 4331342"/>
                <a:gd name="connsiteX4116" fmla="*/ 731528 w 4753603"/>
                <a:gd name="connsiteY4116" fmla="*/ 3312214 h 4331342"/>
                <a:gd name="connsiteX4117" fmla="*/ 751016 w 4753603"/>
                <a:gd name="connsiteY4117" fmla="*/ 3306813 h 4331342"/>
                <a:gd name="connsiteX4118" fmla="*/ 764227 w 4753603"/>
                <a:gd name="connsiteY4118" fmla="*/ 3289821 h 4331342"/>
                <a:gd name="connsiteX4119" fmla="*/ 802128 w 4753603"/>
                <a:gd name="connsiteY4119" fmla="*/ 3295764 h 4331342"/>
                <a:gd name="connsiteX4120" fmla="*/ 823998 w 4753603"/>
                <a:gd name="connsiteY4120" fmla="*/ 3301956 h 4331342"/>
                <a:gd name="connsiteX4121" fmla="*/ 823998 w 4753603"/>
                <a:gd name="connsiteY4121" fmla="*/ 3301765 h 4331342"/>
                <a:gd name="connsiteX4122" fmla="*/ 855520 w 4753603"/>
                <a:gd name="connsiteY4122" fmla="*/ 3332721 h 4331342"/>
                <a:gd name="connsiteX4123" fmla="*/ 880890 w 4753603"/>
                <a:gd name="connsiteY4123" fmla="*/ 3363487 h 4331342"/>
                <a:gd name="connsiteX4124" fmla="*/ 886835 w 4753603"/>
                <a:gd name="connsiteY4124" fmla="*/ 3364154 h 4331342"/>
                <a:gd name="connsiteX4125" fmla="*/ 923475 w 4753603"/>
                <a:gd name="connsiteY4125" fmla="*/ 3369517 h 4331342"/>
                <a:gd name="connsiteX4126" fmla="*/ 949104 w 4753603"/>
                <a:gd name="connsiteY4126" fmla="*/ 3396110 h 4331342"/>
                <a:gd name="connsiteX4127" fmla="*/ 984180 w 4753603"/>
                <a:gd name="connsiteY4127" fmla="*/ 3443878 h 4331342"/>
                <a:gd name="connsiteX4128" fmla="*/ 993629 w 4753603"/>
                <a:gd name="connsiteY4128" fmla="*/ 3449793 h 4331342"/>
                <a:gd name="connsiteX4129" fmla="*/ 1008859 w 4753603"/>
                <a:gd name="connsiteY4129" fmla="*/ 3479264 h 4331342"/>
                <a:gd name="connsiteX4130" fmla="*/ 1009050 w 4753603"/>
                <a:gd name="connsiteY4130" fmla="*/ 3512753 h 4331342"/>
                <a:gd name="connsiteX4131" fmla="*/ 996220 w 4753603"/>
                <a:gd name="connsiteY4131" fmla="*/ 3505686 h 4331342"/>
                <a:gd name="connsiteX4132" fmla="*/ 950786 w 4753603"/>
                <a:gd name="connsiteY4132" fmla="*/ 3462176 h 4331342"/>
                <a:gd name="connsiteX4133" fmla="*/ 940042 w 4753603"/>
                <a:gd name="connsiteY4133" fmla="*/ 3427657 h 4331342"/>
                <a:gd name="connsiteX4134" fmla="*/ 931961 w 4753603"/>
                <a:gd name="connsiteY4134" fmla="*/ 3414075 h 4331342"/>
                <a:gd name="connsiteX4135" fmla="*/ 924540 w 4753603"/>
                <a:gd name="connsiteY4135" fmla="*/ 3425123 h 4331342"/>
                <a:gd name="connsiteX4136" fmla="*/ 919481 w 4753603"/>
                <a:gd name="connsiteY4136" fmla="*/ 3438068 h 4331342"/>
                <a:gd name="connsiteX4137" fmla="*/ 860349 w 4753603"/>
                <a:gd name="connsiteY4137" fmla="*/ 3412589 h 4331342"/>
                <a:gd name="connsiteX4138" fmla="*/ 814430 w 4753603"/>
                <a:gd name="connsiteY4138" fmla="*/ 3353838 h 4331342"/>
                <a:gd name="connsiteX4139" fmla="*/ 805782 w 4753603"/>
                <a:gd name="connsiteY4139" fmla="*/ 3331683 h 4331342"/>
                <a:gd name="connsiteX4140" fmla="*/ 794954 w 4753603"/>
                <a:gd name="connsiteY4140" fmla="*/ 3333036 h 4331342"/>
                <a:gd name="connsiteX4141" fmla="*/ 792818 w 4753603"/>
                <a:gd name="connsiteY4141" fmla="*/ 3336608 h 4331342"/>
                <a:gd name="connsiteX4142" fmla="*/ 791889 w 4753603"/>
                <a:gd name="connsiteY4142" fmla="*/ 3341875 h 4331342"/>
                <a:gd name="connsiteX4143" fmla="*/ 795863 w 4753603"/>
                <a:gd name="connsiteY4143" fmla="*/ 3387881 h 4331342"/>
                <a:gd name="connsiteX4144" fmla="*/ 783002 w 4753603"/>
                <a:gd name="connsiteY4144" fmla="*/ 3382480 h 4331342"/>
                <a:gd name="connsiteX4145" fmla="*/ 724293 w 4753603"/>
                <a:gd name="connsiteY4145" fmla="*/ 3347447 h 4331342"/>
                <a:gd name="connsiteX4146" fmla="*/ 668940 w 4753603"/>
                <a:gd name="connsiteY4146" fmla="*/ 3315043 h 4331342"/>
                <a:gd name="connsiteX4147" fmla="*/ 633279 w 4753603"/>
                <a:gd name="connsiteY4147" fmla="*/ 3308614 h 4331342"/>
                <a:gd name="connsiteX4148" fmla="*/ 641568 w 4753603"/>
                <a:gd name="connsiteY4148" fmla="*/ 3327578 h 4331342"/>
                <a:gd name="connsiteX4149" fmla="*/ 667268 w 4753603"/>
                <a:gd name="connsiteY4149" fmla="*/ 3345933 h 4331342"/>
                <a:gd name="connsiteX4150" fmla="*/ 670416 w 4753603"/>
                <a:gd name="connsiteY4150" fmla="*/ 3348314 h 4331342"/>
                <a:gd name="connsiteX4151" fmla="*/ 714405 w 4753603"/>
                <a:gd name="connsiteY4151" fmla="*/ 3369869 h 4331342"/>
                <a:gd name="connsiteX4152" fmla="*/ 743254 w 4753603"/>
                <a:gd name="connsiteY4152" fmla="*/ 3382528 h 4331342"/>
                <a:gd name="connsiteX4153" fmla="*/ 745844 w 4753603"/>
                <a:gd name="connsiteY4153" fmla="*/ 3384852 h 4331342"/>
                <a:gd name="connsiteX4154" fmla="*/ 764238 w 4753603"/>
                <a:gd name="connsiteY4154" fmla="*/ 3400368 h 4331342"/>
                <a:gd name="connsiteX4155" fmla="*/ 770482 w 4753603"/>
                <a:gd name="connsiteY4155" fmla="*/ 3407016 h 4331342"/>
                <a:gd name="connsiteX4156" fmla="*/ 761347 w 4753603"/>
                <a:gd name="connsiteY4156" fmla="*/ 3413722 h 4331342"/>
                <a:gd name="connsiteX4157" fmla="*/ 712382 w 4753603"/>
                <a:gd name="connsiteY4157" fmla="*/ 3437039 h 4331342"/>
                <a:gd name="connsiteX4158" fmla="*/ 706160 w 4753603"/>
                <a:gd name="connsiteY4158" fmla="*/ 3446317 h 4331342"/>
                <a:gd name="connsiteX4159" fmla="*/ 716967 w 4753603"/>
                <a:gd name="connsiteY4159" fmla="*/ 3450365 h 4331342"/>
                <a:gd name="connsiteX4160" fmla="*/ 791549 w 4753603"/>
                <a:gd name="connsiteY4160" fmla="*/ 3433277 h 4331342"/>
                <a:gd name="connsiteX4161" fmla="*/ 880612 w 4753603"/>
                <a:gd name="connsiteY4161" fmla="*/ 3443450 h 4331342"/>
                <a:gd name="connsiteX4162" fmla="*/ 918677 w 4753603"/>
                <a:gd name="connsiteY4162" fmla="*/ 3470777 h 4331342"/>
                <a:gd name="connsiteX4163" fmla="*/ 923621 w 4753603"/>
                <a:gd name="connsiteY4163" fmla="*/ 3484340 h 4331342"/>
                <a:gd name="connsiteX4164" fmla="*/ 910719 w 4753603"/>
                <a:gd name="connsiteY4164" fmla="*/ 3487036 h 4331342"/>
                <a:gd name="connsiteX4165" fmla="*/ 903081 w 4753603"/>
                <a:gd name="connsiteY4165" fmla="*/ 3486684 h 4331342"/>
                <a:gd name="connsiteX4166" fmla="*/ 864406 w 4753603"/>
                <a:gd name="connsiteY4166" fmla="*/ 3496189 h 4331342"/>
                <a:gd name="connsiteX4167" fmla="*/ 853311 w 4753603"/>
                <a:gd name="connsiteY4167" fmla="*/ 3511601 h 4331342"/>
                <a:gd name="connsiteX4168" fmla="*/ 870475 w 4753603"/>
                <a:gd name="connsiteY4168" fmla="*/ 3517040 h 4331342"/>
                <a:gd name="connsiteX4169" fmla="*/ 913207 w 4753603"/>
                <a:gd name="connsiteY4169" fmla="*/ 3511191 h 4331342"/>
                <a:gd name="connsiteX4170" fmla="*/ 965968 w 4753603"/>
                <a:gd name="connsiteY4170" fmla="*/ 3515573 h 4331342"/>
                <a:gd name="connsiteX4171" fmla="*/ 968559 w 4753603"/>
                <a:gd name="connsiteY4171" fmla="*/ 3517783 h 4331342"/>
                <a:gd name="connsiteX4172" fmla="*/ 978218 w 4753603"/>
                <a:gd name="connsiteY4172" fmla="*/ 3523802 h 4331342"/>
                <a:gd name="connsiteX4173" fmla="*/ 1013393 w 4753603"/>
                <a:gd name="connsiteY4173" fmla="*/ 3554968 h 4331342"/>
                <a:gd name="connsiteX4174" fmla="*/ 1029653 w 4753603"/>
                <a:gd name="connsiteY4174" fmla="*/ 3576028 h 4331342"/>
                <a:gd name="connsiteX4175" fmla="*/ 1029538 w 4753603"/>
                <a:gd name="connsiteY4175" fmla="*/ 3584391 h 4331342"/>
                <a:gd name="connsiteX4176" fmla="*/ 1021147 w 4753603"/>
                <a:gd name="connsiteY4176" fmla="*/ 3583819 h 4331342"/>
                <a:gd name="connsiteX4177" fmla="*/ 990752 w 4753603"/>
                <a:gd name="connsiteY4177" fmla="*/ 3566998 h 4331342"/>
                <a:gd name="connsiteX4178" fmla="*/ 958968 w 4753603"/>
                <a:gd name="connsiteY4178" fmla="*/ 3555092 h 4331342"/>
                <a:gd name="connsiteX4179" fmla="*/ 902317 w 4753603"/>
                <a:gd name="connsiteY4179" fmla="*/ 3801875 h 4331342"/>
                <a:gd name="connsiteX4180" fmla="*/ 874831 w 4753603"/>
                <a:gd name="connsiteY4180" fmla="*/ 3792817 h 4331342"/>
                <a:gd name="connsiteX4181" fmla="*/ 865005 w 4753603"/>
                <a:gd name="connsiteY4181" fmla="*/ 3779092 h 4331342"/>
                <a:gd name="connsiteX4182" fmla="*/ 862683 w 4753603"/>
                <a:gd name="connsiteY4182" fmla="*/ 3771872 h 4331342"/>
                <a:gd name="connsiteX4183" fmla="*/ 850701 w 4753603"/>
                <a:gd name="connsiteY4183" fmla="*/ 3740287 h 4331342"/>
                <a:gd name="connsiteX4184" fmla="*/ 817681 w 4753603"/>
                <a:gd name="connsiteY4184" fmla="*/ 3737134 h 4331342"/>
                <a:gd name="connsiteX4185" fmla="*/ 805142 w 4753603"/>
                <a:gd name="connsiteY4185" fmla="*/ 3736810 h 4331342"/>
                <a:gd name="connsiteX4186" fmla="*/ 784324 w 4753603"/>
                <a:gd name="connsiteY4186" fmla="*/ 3702987 h 4331342"/>
                <a:gd name="connsiteX4187" fmla="*/ 786418 w 4753603"/>
                <a:gd name="connsiteY4187" fmla="*/ 3646665 h 4331342"/>
                <a:gd name="connsiteX4188" fmla="*/ 797927 w 4753603"/>
                <a:gd name="connsiteY4188" fmla="*/ 3635207 h 4331342"/>
                <a:gd name="connsiteX4189" fmla="*/ 841245 w 4753603"/>
                <a:gd name="connsiteY4189" fmla="*/ 3658895 h 4331342"/>
                <a:gd name="connsiteX4190" fmla="*/ 853023 w 4753603"/>
                <a:gd name="connsiteY4190" fmla="*/ 3666011 h 4331342"/>
                <a:gd name="connsiteX4191" fmla="*/ 890396 w 4753603"/>
                <a:gd name="connsiteY4191" fmla="*/ 3647513 h 4331342"/>
                <a:gd name="connsiteX4192" fmla="*/ 893059 w 4753603"/>
                <a:gd name="connsiteY4192" fmla="*/ 3643932 h 4331342"/>
                <a:gd name="connsiteX4193" fmla="*/ 893751 w 4753603"/>
                <a:gd name="connsiteY4193" fmla="*/ 3641636 h 4331342"/>
                <a:gd name="connsiteX4194" fmla="*/ 921556 w 4753603"/>
                <a:gd name="connsiteY4194" fmla="*/ 3641227 h 4331342"/>
                <a:gd name="connsiteX4195" fmla="*/ 928152 w 4753603"/>
                <a:gd name="connsiteY4195" fmla="*/ 3641703 h 4331342"/>
                <a:gd name="connsiteX4196" fmla="*/ 1001544 w 4753603"/>
                <a:gd name="connsiteY4196" fmla="*/ 3674840 h 4331342"/>
                <a:gd name="connsiteX4197" fmla="*/ 1019623 w 4753603"/>
                <a:gd name="connsiteY4197" fmla="*/ 3695614 h 4331342"/>
                <a:gd name="connsiteX4198" fmla="*/ 1020328 w 4753603"/>
                <a:gd name="connsiteY4198" fmla="*/ 3695414 h 4331342"/>
                <a:gd name="connsiteX4199" fmla="*/ 1021852 w 4753603"/>
                <a:gd name="connsiteY4199" fmla="*/ 3696624 h 4331342"/>
                <a:gd name="connsiteX4200" fmla="*/ 1036911 w 4753603"/>
                <a:gd name="connsiteY4200" fmla="*/ 3692843 h 4331342"/>
                <a:gd name="connsiteX4201" fmla="*/ 1056904 w 4753603"/>
                <a:gd name="connsiteY4201" fmla="*/ 3670630 h 4331342"/>
                <a:gd name="connsiteX4202" fmla="*/ 1068705 w 4753603"/>
                <a:gd name="connsiteY4202" fmla="*/ 3686728 h 4331342"/>
                <a:gd name="connsiteX4203" fmla="*/ 1075315 w 4753603"/>
                <a:gd name="connsiteY4203" fmla="*/ 3699434 h 4331342"/>
                <a:gd name="connsiteX4204" fmla="*/ 1144581 w 4753603"/>
                <a:gd name="connsiteY4204" fmla="*/ 3746792 h 4331342"/>
                <a:gd name="connsiteX4205" fmla="*/ 1157792 w 4753603"/>
                <a:gd name="connsiteY4205" fmla="*/ 3764994 h 4331342"/>
                <a:gd name="connsiteX4206" fmla="*/ 1158088 w 4753603"/>
                <a:gd name="connsiteY4206" fmla="*/ 3765166 h 4331342"/>
                <a:gd name="connsiteX4207" fmla="*/ 1169889 w 4753603"/>
                <a:gd name="connsiteY4207" fmla="*/ 3801542 h 4331342"/>
                <a:gd name="connsiteX4208" fmla="*/ 1280874 w 4753603"/>
                <a:gd name="connsiteY4208" fmla="*/ 3826221 h 4331342"/>
                <a:gd name="connsiteX4209" fmla="*/ 1286056 w 4753603"/>
                <a:gd name="connsiteY4209" fmla="*/ 3829012 h 4331342"/>
                <a:gd name="connsiteX4210" fmla="*/ 1301325 w 4753603"/>
                <a:gd name="connsiteY4210" fmla="*/ 3833898 h 4331342"/>
                <a:gd name="connsiteX4211" fmla="*/ 1279398 w 4753603"/>
                <a:gd name="connsiteY4211" fmla="*/ 3837908 h 4331342"/>
                <a:gd name="connsiteX4212" fmla="*/ 1273007 w 4753603"/>
                <a:gd name="connsiteY4212" fmla="*/ 3837908 h 4331342"/>
                <a:gd name="connsiteX4213" fmla="*/ 1225639 w 4753603"/>
                <a:gd name="connsiteY4213" fmla="*/ 3832546 h 4331342"/>
                <a:gd name="connsiteX4214" fmla="*/ 1148077 w 4753603"/>
                <a:gd name="connsiteY4214" fmla="*/ 3810629 h 4331342"/>
                <a:gd name="connsiteX4215" fmla="*/ 1119169 w 4753603"/>
                <a:gd name="connsiteY4215" fmla="*/ 3769024 h 4331342"/>
                <a:gd name="connsiteX4216" fmla="*/ 1087212 w 4753603"/>
                <a:gd name="connsiteY4216" fmla="*/ 3740011 h 4331342"/>
                <a:gd name="connsiteX4217" fmla="*/ 1094861 w 4753603"/>
                <a:gd name="connsiteY4217" fmla="*/ 3772595 h 4331342"/>
                <a:gd name="connsiteX4218" fmla="*/ 1095689 w 4753603"/>
                <a:gd name="connsiteY4218" fmla="*/ 3778853 h 4331342"/>
                <a:gd name="connsiteX4219" fmla="*/ 1090012 w 4753603"/>
                <a:gd name="connsiteY4219" fmla="*/ 3779568 h 4331342"/>
                <a:gd name="connsiteX4220" fmla="*/ 1059190 w 4753603"/>
                <a:gd name="connsiteY4220" fmla="*/ 3764690 h 4331342"/>
                <a:gd name="connsiteX4221" fmla="*/ 1025585 w 4753603"/>
                <a:gd name="connsiteY4221" fmla="*/ 3747049 h 4331342"/>
                <a:gd name="connsiteX4222" fmla="*/ 974398 w 4753603"/>
                <a:gd name="connsiteY4222" fmla="*/ 3699215 h 4331342"/>
                <a:gd name="connsiteX4223" fmla="*/ 934345 w 4753603"/>
                <a:gd name="connsiteY4223" fmla="*/ 3665887 h 4331342"/>
                <a:gd name="connsiteX4224" fmla="*/ 938020 w 4753603"/>
                <a:gd name="connsiteY4224" fmla="*/ 3678308 h 4331342"/>
                <a:gd name="connsiteX4225" fmla="*/ 940352 w 4753603"/>
                <a:gd name="connsiteY4225" fmla="*/ 3681155 h 4331342"/>
                <a:gd name="connsiteX4226" fmla="*/ 946699 w 4753603"/>
                <a:gd name="connsiteY4226" fmla="*/ 3693547 h 4331342"/>
                <a:gd name="connsiteX4227" fmla="*/ 949300 w 4753603"/>
                <a:gd name="connsiteY4227" fmla="*/ 3697320 h 4331342"/>
                <a:gd name="connsiteX4228" fmla="*/ 949920 w 4753603"/>
                <a:gd name="connsiteY4228" fmla="*/ 3699215 h 4331342"/>
                <a:gd name="connsiteX4229" fmla="*/ 961482 w 4753603"/>
                <a:gd name="connsiteY4229" fmla="*/ 3718112 h 4331342"/>
                <a:gd name="connsiteX4230" fmla="*/ 943416 w 4753603"/>
                <a:gd name="connsiteY4230" fmla="*/ 3715731 h 4331342"/>
                <a:gd name="connsiteX4231" fmla="*/ 902091 w 4753603"/>
                <a:gd name="connsiteY4231" fmla="*/ 3708216 h 4331342"/>
                <a:gd name="connsiteX4232" fmla="*/ 846406 w 4753603"/>
                <a:gd name="connsiteY4232" fmla="*/ 3703406 h 4331342"/>
                <a:gd name="connsiteX4233" fmla="*/ 834072 w 4753603"/>
                <a:gd name="connsiteY4233" fmla="*/ 3711969 h 4331342"/>
                <a:gd name="connsiteX4234" fmla="*/ 839956 w 4753603"/>
                <a:gd name="connsiteY4234" fmla="*/ 3715188 h 4331342"/>
                <a:gd name="connsiteX4235" fmla="*/ 840121 w 4753603"/>
                <a:gd name="connsiteY4235" fmla="*/ 3715398 h 4331342"/>
                <a:gd name="connsiteX4236" fmla="*/ 865460 w 4753603"/>
                <a:gd name="connsiteY4236" fmla="*/ 3721446 h 4331342"/>
                <a:gd name="connsiteX4237" fmla="*/ 949806 w 4753603"/>
                <a:gd name="connsiteY4237" fmla="*/ 3740391 h 4331342"/>
                <a:gd name="connsiteX4238" fmla="*/ 955167 w 4753603"/>
                <a:gd name="connsiteY4238" fmla="*/ 3748583 h 4331342"/>
                <a:gd name="connsiteX4239" fmla="*/ 947031 w 4753603"/>
                <a:gd name="connsiteY4239" fmla="*/ 3752622 h 4331342"/>
                <a:gd name="connsiteX4240" fmla="*/ 914516 w 4753603"/>
                <a:gd name="connsiteY4240" fmla="*/ 3766871 h 4331342"/>
                <a:gd name="connsiteX4241" fmla="*/ 906631 w 4753603"/>
                <a:gd name="connsiteY4241" fmla="*/ 3771767 h 4331342"/>
                <a:gd name="connsiteX4242" fmla="*/ 914516 w 4753603"/>
                <a:gd name="connsiteY4242" fmla="*/ 3778225 h 4331342"/>
                <a:gd name="connsiteX4243" fmla="*/ 940207 w 4753603"/>
                <a:gd name="connsiteY4243" fmla="*/ 3780587 h 4331342"/>
                <a:gd name="connsiteX4244" fmla="*/ 1015536 w 4753603"/>
                <a:gd name="connsiteY4244" fmla="*/ 3770471 h 4331342"/>
                <a:gd name="connsiteX4245" fmla="*/ 1031824 w 4753603"/>
                <a:gd name="connsiteY4245" fmla="*/ 3777348 h 4331342"/>
                <a:gd name="connsiteX4246" fmla="*/ 1068534 w 4753603"/>
                <a:gd name="connsiteY4246" fmla="*/ 3797675 h 4331342"/>
                <a:gd name="connsiteX4247" fmla="*/ 1066800 w 4753603"/>
                <a:gd name="connsiteY4247" fmla="*/ 3804266 h 4331342"/>
                <a:gd name="connsiteX4248" fmla="*/ 1045188 w 4753603"/>
                <a:gd name="connsiteY4248" fmla="*/ 3808400 h 4331342"/>
                <a:gd name="connsiteX4249" fmla="*/ 1038625 w 4753603"/>
                <a:gd name="connsiteY4249" fmla="*/ 3812896 h 4331342"/>
                <a:gd name="connsiteX4250" fmla="*/ 1044626 w 4753603"/>
                <a:gd name="connsiteY4250" fmla="*/ 3819801 h 4331342"/>
                <a:gd name="connsiteX4251" fmla="*/ 1088012 w 4753603"/>
                <a:gd name="connsiteY4251" fmla="*/ 3827317 h 4331342"/>
                <a:gd name="connsiteX4252" fmla="*/ 1132523 w 4753603"/>
                <a:gd name="connsiteY4252" fmla="*/ 3833689 h 4331342"/>
                <a:gd name="connsiteX4253" fmla="*/ 1188511 w 4753603"/>
                <a:gd name="connsiteY4253" fmla="*/ 3844214 h 4331342"/>
                <a:gd name="connsiteX4254" fmla="*/ 1197940 w 4753603"/>
                <a:gd name="connsiteY4254" fmla="*/ 3845138 h 4331342"/>
                <a:gd name="connsiteX4255" fmla="*/ 1222943 w 4753603"/>
                <a:gd name="connsiteY4255" fmla="*/ 3850586 h 4331342"/>
                <a:gd name="connsiteX4256" fmla="*/ 1222753 w 4753603"/>
                <a:gd name="connsiteY4256" fmla="*/ 3850539 h 4331342"/>
                <a:gd name="connsiteX4257" fmla="*/ 1259567 w 4753603"/>
                <a:gd name="connsiteY4257" fmla="*/ 3859483 h 4331342"/>
                <a:gd name="connsiteX4258" fmla="*/ 1219800 w 4753603"/>
                <a:gd name="connsiteY4258" fmla="*/ 3868941 h 4331342"/>
                <a:gd name="connsiteX4259" fmla="*/ 1146200 w 4753603"/>
                <a:gd name="connsiteY4259" fmla="*/ 3862921 h 4331342"/>
                <a:gd name="connsiteX4260" fmla="*/ 1104052 w 4753603"/>
                <a:gd name="connsiteY4260" fmla="*/ 3864902 h 4331342"/>
                <a:gd name="connsiteX4261" fmla="*/ 1064295 w 4753603"/>
                <a:gd name="connsiteY4261" fmla="*/ 3863626 h 4331342"/>
                <a:gd name="connsiteX4262" fmla="*/ 1015889 w 4753603"/>
                <a:gd name="connsiteY4262" fmla="*/ 3850691 h 4331342"/>
                <a:gd name="connsiteX4263" fmla="*/ 993658 w 4753603"/>
                <a:gd name="connsiteY4263" fmla="*/ 3827688 h 4331342"/>
                <a:gd name="connsiteX4264" fmla="*/ 983809 w 4753603"/>
                <a:gd name="connsiteY4264" fmla="*/ 3814182 h 4331342"/>
                <a:gd name="connsiteX4265" fmla="*/ 946287 w 4753603"/>
                <a:gd name="connsiteY4265" fmla="*/ 3807381 h 4331342"/>
                <a:gd name="connsiteX4266" fmla="*/ 902317 w 4753603"/>
                <a:gd name="connsiteY4266" fmla="*/ 3801875 h 4331342"/>
                <a:gd name="connsiteX4267" fmla="*/ 1184520 w 4753603"/>
                <a:gd name="connsiteY4267" fmla="*/ 3902593 h 4331342"/>
                <a:gd name="connsiteX4268" fmla="*/ 1176738 w 4753603"/>
                <a:gd name="connsiteY4268" fmla="*/ 3913051 h 4331342"/>
                <a:gd name="connsiteX4269" fmla="*/ 1111358 w 4753603"/>
                <a:gd name="connsiteY4269" fmla="*/ 3931349 h 4331342"/>
                <a:gd name="connsiteX4270" fmla="*/ 1074449 w 4753603"/>
                <a:gd name="connsiteY4270" fmla="*/ 3935006 h 4331342"/>
                <a:gd name="connsiteX4271" fmla="*/ 1062476 w 4753603"/>
                <a:gd name="connsiteY4271" fmla="*/ 3921919 h 4331342"/>
                <a:gd name="connsiteX4272" fmla="*/ 1115454 w 4753603"/>
                <a:gd name="connsiteY4272" fmla="*/ 3884086 h 4331342"/>
                <a:gd name="connsiteX4273" fmla="*/ 1175242 w 4753603"/>
                <a:gd name="connsiteY4273" fmla="*/ 3893277 h 4331342"/>
                <a:gd name="connsiteX4274" fmla="*/ 1184520 w 4753603"/>
                <a:gd name="connsiteY4274" fmla="*/ 3902593 h 4331342"/>
                <a:gd name="connsiteX4275" fmla="*/ 971740 w 4753603"/>
                <a:gd name="connsiteY4275" fmla="*/ 3923576 h 4331342"/>
                <a:gd name="connsiteX4276" fmla="*/ 974008 w 4753603"/>
                <a:gd name="connsiteY4276" fmla="*/ 3888258 h 4331342"/>
                <a:gd name="connsiteX4277" fmla="*/ 956377 w 4753603"/>
                <a:gd name="connsiteY4277" fmla="*/ 3908422 h 4331342"/>
                <a:gd name="connsiteX4278" fmla="*/ 955386 w 4753603"/>
                <a:gd name="connsiteY4278" fmla="*/ 3917337 h 4331342"/>
                <a:gd name="connsiteX4279" fmla="*/ 946112 w 4753603"/>
                <a:gd name="connsiteY4279" fmla="*/ 3927729 h 4331342"/>
                <a:gd name="connsiteX4280" fmla="*/ 940527 w 4753603"/>
                <a:gd name="connsiteY4280" fmla="*/ 3915109 h 4331342"/>
                <a:gd name="connsiteX4281" fmla="*/ 943778 w 4753603"/>
                <a:gd name="connsiteY4281" fmla="*/ 3885153 h 4331342"/>
                <a:gd name="connsiteX4282" fmla="*/ 939278 w 4753603"/>
                <a:gd name="connsiteY4282" fmla="*/ 3874227 h 4331342"/>
                <a:gd name="connsiteX4283" fmla="*/ 922764 w 4753603"/>
                <a:gd name="connsiteY4283" fmla="*/ 3906669 h 4331342"/>
                <a:gd name="connsiteX4284" fmla="*/ 934355 w 4753603"/>
                <a:gd name="connsiteY4284" fmla="*/ 3836870 h 4331342"/>
                <a:gd name="connsiteX4285" fmla="*/ 954224 w 4753603"/>
                <a:gd name="connsiteY4285" fmla="*/ 3826717 h 4331342"/>
                <a:gd name="connsiteX4286" fmla="*/ 969636 w 4753603"/>
                <a:gd name="connsiteY4286" fmla="*/ 3834775 h 4331342"/>
                <a:gd name="connsiteX4287" fmla="*/ 971731 w 4753603"/>
                <a:gd name="connsiteY4287" fmla="*/ 3838718 h 4331342"/>
                <a:gd name="connsiteX4288" fmla="*/ 1026700 w 4753603"/>
                <a:gd name="connsiteY4288" fmla="*/ 3872770 h 4331342"/>
                <a:gd name="connsiteX4289" fmla="*/ 1046255 w 4753603"/>
                <a:gd name="connsiteY4289" fmla="*/ 3875666 h 4331342"/>
                <a:gd name="connsiteX4290" fmla="*/ 1053256 w 4753603"/>
                <a:gd name="connsiteY4290" fmla="*/ 3885505 h 4331342"/>
                <a:gd name="connsiteX4291" fmla="*/ 1032720 w 4753603"/>
                <a:gd name="connsiteY4291" fmla="*/ 3936025 h 4331342"/>
                <a:gd name="connsiteX4292" fmla="*/ 1029757 w 4753603"/>
                <a:gd name="connsiteY4292" fmla="*/ 3924919 h 4331342"/>
                <a:gd name="connsiteX4293" fmla="*/ 1022766 w 4753603"/>
                <a:gd name="connsiteY4293" fmla="*/ 3914289 h 4331342"/>
                <a:gd name="connsiteX4294" fmla="*/ 1010117 w 4753603"/>
                <a:gd name="connsiteY4294" fmla="*/ 3925805 h 4331342"/>
                <a:gd name="connsiteX4295" fmla="*/ 1001639 w 4753603"/>
                <a:gd name="connsiteY4295" fmla="*/ 3939626 h 4331342"/>
                <a:gd name="connsiteX4296" fmla="*/ 991934 w 4753603"/>
                <a:gd name="connsiteY4296" fmla="*/ 3904107 h 4331342"/>
                <a:gd name="connsiteX4297" fmla="*/ 982723 w 4753603"/>
                <a:gd name="connsiteY4297" fmla="*/ 3925043 h 4331342"/>
                <a:gd name="connsiteX4298" fmla="*/ 975570 w 4753603"/>
                <a:gd name="connsiteY4298" fmla="*/ 3932816 h 4331342"/>
                <a:gd name="connsiteX4299" fmla="*/ 971740 w 4753603"/>
                <a:gd name="connsiteY4299" fmla="*/ 3923576 h 4331342"/>
                <a:gd name="connsiteX4300" fmla="*/ 1100509 w 4753603"/>
                <a:gd name="connsiteY4300" fmla="*/ 4081968 h 4331342"/>
                <a:gd name="connsiteX4301" fmla="*/ 1135542 w 4753603"/>
                <a:gd name="connsiteY4301" fmla="*/ 4068175 h 4331342"/>
                <a:gd name="connsiteX4302" fmla="*/ 1095308 w 4753603"/>
                <a:gd name="connsiteY4302" fmla="*/ 4068175 h 4331342"/>
                <a:gd name="connsiteX4303" fmla="*/ 1087060 w 4753603"/>
                <a:gd name="connsiteY4303" fmla="*/ 4067861 h 4331342"/>
                <a:gd name="connsiteX4304" fmla="*/ 1076887 w 4753603"/>
                <a:gd name="connsiteY4304" fmla="*/ 4062908 h 4331342"/>
                <a:gd name="connsiteX4305" fmla="*/ 1087060 w 4753603"/>
                <a:gd name="connsiteY4305" fmla="*/ 4056907 h 4331342"/>
                <a:gd name="connsiteX4306" fmla="*/ 1108853 w 4753603"/>
                <a:gd name="connsiteY4306" fmla="*/ 4049068 h 4331342"/>
                <a:gd name="connsiteX4307" fmla="*/ 1065333 w 4753603"/>
                <a:gd name="connsiteY4307" fmla="*/ 4036905 h 4331342"/>
                <a:gd name="connsiteX4308" fmla="*/ 1087907 w 4753603"/>
                <a:gd name="connsiteY4308" fmla="*/ 4027084 h 4331342"/>
                <a:gd name="connsiteX4309" fmla="*/ 1041035 w 4753603"/>
                <a:gd name="connsiteY4309" fmla="*/ 4020427 h 4331342"/>
                <a:gd name="connsiteX4310" fmla="*/ 1060552 w 4753603"/>
                <a:gd name="connsiteY4310" fmla="*/ 4008177 h 4331342"/>
                <a:gd name="connsiteX4311" fmla="*/ 1064933 w 4753603"/>
                <a:gd name="connsiteY4311" fmla="*/ 4002576 h 4331342"/>
                <a:gd name="connsiteX4312" fmla="*/ 1058599 w 4753603"/>
                <a:gd name="connsiteY4312" fmla="*/ 3998995 h 4331342"/>
                <a:gd name="connsiteX4313" fmla="*/ 1020975 w 4753603"/>
                <a:gd name="connsiteY4313" fmla="*/ 3999186 h 4331342"/>
                <a:gd name="connsiteX4314" fmla="*/ 997353 w 4753603"/>
                <a:gd name="connsiteY4314" fmla="*/ 3987737 h 4331342"/>
                <a:gd name="connsiteX4315" fmla="*/ 1046121 w 4753603"/>
                <a:gd name="connsiteY4315" fmla="*/ 3979069 h 4331342"/>
                <a:gd name="connsiteX4316" fmla="*/ 976008 w 4753603"/>
                <a:gd name="connsiteY4316" fmla="*/ 3966877 h 4331342"/>
                <a:gd name="connsiteX4317" fmla="*/ 1061018 w 4753603"/>
                <a:gd name="connsiteY4317" fmla="*/ 3952856 h 4331342"/>
                <a:gd name="connsiteX4318" fmla="*/ 1166003 w 4753603"/>
                <a:gd name="connsiteY4318" fmla="*/ 3939226 h 4331342"/>
                <a:gd name="connsiteX4319" fmla="*/ 1466564 w 4753603"/>
                <a:gd name="connsiteY4319" fmla="*/ 3853025 h 4331342"/>
                <a:gd name="connsiteX4320" fmla="*/ 1485338 w 4753603"/>
                <a:gd name="connsiteY4320" fmla="*/ 3847433 h 4331342"/>
                <a:gd name="connsiteX4321" fmla="*/ 1489662 w 4753603"/>
                <a:gd name="connsiteY4321" fmla="*/ 3944598 h 4331342"/>
                <a:gd name="connsiteX4322" fmla="*/ 1489729 w 4753603"/>
                <a:gd name="connsiteY4322" fmla="*/ 3960085 h 4331342"/>
                <a:gd name="connsiteX4323" fmla="*/ 1468126 w 4753603"/>
                <a:gd name="connsiteY4323" fmla="*/ 3995518 h 4331342"/>
                <a:gd name="connsiteX4324" fmla="*/ 1258615 w 4753603"/>
                <a:gd name="connsiteY4324" fmla="*/ 4054259 h 4331342"/>
                <a:gd name="connsiteX4325" fmla="*/ 1137742 w 4753603"/>
                <a:gd name="connsiteY4325" fmla="*/ 4078462 h 4331342"/>
                <a:gd name="connsiteX4326" fmla="*/ 1100509 w 4753603"/>
                <a:gd name="connsiteY4326" fmla="*/ 4081968 h 4331342"/>
                <a:gd name="connsiteX4327" fmla="*/ 1182100 w 4753603"/>
                <a:gd name="connsiteY4327" fmla="*/ 4165949 h 4331342"/>
                <a:gd name="connsiteX4328" fmla="*/ 1172375 w 4753603"/>
                <a:gd name="connsiteY4328" fmla="*/ 4160977 h 4331342"/>
                <a:gd name="connsiteX4329" fmla="*/ 1179138 w 4753603"/>
                <a:gd name="connsiteY4329" fmla="*/ 4153653 h 4331342"/>
                <a:gd name="connsiteX4330" fmla="*/ 1188463 w 4753603"/>
                <a:gd name="connsiteY4330" fmla="*/ 4145871 h 4331342"/>
                <a:gd name="connsiteX4331" fmla="*/ 1149315 w 4753603"/>
                <a:gd name="connsiteY4331" fmla="*/ 4133003 h 4331342"/>
                <a:gd name="connsiteX4332" fmla="*/ 1167041 w 4753603"/>
                <a:gd name="connsiteY4332" fmla="*/ 4127449 h 4331342"/>
                <a:gd name="connsiteX4333" fmla="*/ 1172375 w 4753603"/>
                <a:gd name="connsiteY4333" fmla="*/ 4122477 h 4331342"/>
                <a:gd name="connsiteX4334" fmla="*/ 1167860 w 4753603"/>
                <a:gd name="connsiteY4334" fmla="*/ 4117115 h 4331342"/>
                <a:gd name="connsiteX4335" fmla="*/ 1146239 w 4753603"/>
                <a:gd name="connsiteY4335" fmla="*/ 4113962 h 4331342"/>
                <a:gd name="connsiteX4336" fmla="*/ 1132561 w 4753603"/>
                <a:gd name="connsiteY4336" fmla="*/ 4112686 h 4331342"/>
                <a:gd name="connsiteX4337" fmla="*/ 1124417 w 4753603"/>
                <a:gd name="connsiteY4337" fmla="*/ 4104866 h 4331342"/>
                <a:gd name="connsiteX4338" fmla="*/ 1132875 w 4753603"/>
                <a:gd name="connsiteY4338" fmla="*/ 4099408 h 4331342"/>
                <a:gd name="connsiteX4339" fmla="*/ 1210694 w 4753603"/>
                <a:gd name="connsiteY4339" fmla="*/ 4084453 h 4331342"/>
                <a:gd name="connsiteX4340" fmla="*/ 1354865 w 4753603"/>
                <a:gd name="connsiteY4340" fmla="*/ 4053231 h 4331342"/>
                <a:gd name="connsiteX4341" fmla="*/ 1472565 w 4753603"/>
                <a:gd name="connsiteY4341" fmla="*/ 4017178 h 4331342"/>
                <a:gd name="connsiteX4342" fmla="*/ 1490577 w 4753603"/>
                <a:gd name="connsiteY4342" fmla="*/ 4028437 h 4331342"/>
                <a:gd name="connsiteX4343" fmla="*/ 1490815 w 4753603"/>
                <a:gd name="connsiteY4343" fmla="*/ 4115362 h 4331342"/>
                <a:gd name="connsiteX4344" fmla="*/ 1472556 w 4753603"/>
                <a:gd name="connsiteY4344" fmla="*/ 4136079 h 4331342"/>
                <a:gd name="connsiteX4345" fmla="*/ 1331176 w 4753603"/>
                <a:gd name="connsiteY4345" fmla="*/ 4166159 h 4331342"/>
                <a:gd name="connsiteX4346" fmla="*/ 1207122 w 4753603"/>
                <a:gd name="connsiteY4346" fmla="*/ 4178494 h 4331342"/>
                <a:gd name="connsiteX4347" fmla="*/ 1193816 w 4753603"/>
                <a:gd name="connsiteY4347" fmla="*/ 4177799 h 4331342"/>
                <a:gd name="connsiteX4348" fmla="*/ 1204941 w 4753603"/>
                <a:gd name="connsiteY4348" fmla="*/ 4168978 h 4331342"/>
                <a:gd name="connsiteX4349" fmla="*/ 1182100 w 4753603"/>
                <a:gd name="connsiteY4349" fmla="*/ 4165949 h 4331342"/>
                <a:gd name="connsiteX4350" fmla="*/ 1778689 w 4753603"/>
                <a:gd name="connsiteY4350" fmla="*/ 4196601 h 4331342"/>
                <a:gd name="connsiteX4351" fmla="*/ 1622917 w 4753603"/>
                <a:gd name="connsiteY4351" fmla="*/ 4241254 h 4331342"/>
                <a:gd name="connsiteX4352" fmla="*/ 1547451 w 4753603"/>
                <a:gd name="connsiteY4352" fmla="*/ 4257971 h 4331342"/>
                <a:gd name="connsiteX4353" fmla="*/ 1444209 w 4753603"/>
                <a:gd name="connsiteY4353" fmla="*/ 4273449 h 4331342"/>
                <a:gd name="connsiteX4354" fmla="*/ 1303944 w 4753603"/>
                <a:gd name="connsiteY4354" fmla="*/ 4279450 h 4331342"/>
                <a:gd name="connsiteX4355" fmla="*/ 1283370 w 4753603"/>
                <a:gd name="connsiteY4355" fmla="*/ 4267572 h 4331342"/>
                <a:gd name="connsiteX4356" fmla="*/ 1251118 w 4753603"/>
                <a:gd name="connsiteY4356" fmla="*/ 4256027 h 4331342"/>
                <a:gd name="connsiteX4357" fmla="*/ 1271245 w 4753603"/>
                <a:gd name="connsiteY4357" fmla="*/ 4245407 h 4331342"/>
                <a:gd name="connsiteX4358" fmla="*/ 1251357 w 4753603"/>
                <a:gd name="connsiteY4358" fmla="*/ 4239225 h 4331342"/>
                <a:gd name="connsiteX4359" fmla="*/ 1224810 w 4753603"/>
                <a:gd name="connsiteY4359" fmla="*/ 4232682 h 4331342"/>
                <a:gd name="connsiteX4360" fmla="*/ 1252471 w 4753603"/>
                <a:gd name="connsiteY4360" fmla="*/ 4222680 h 4331342"/>
                <a:gd name="connsiteX4361" fmla="*/ 1206732 w 4753603"/>
                <a:gd name="connsiteY4361" fmla="*/ 4211174 h 4331342"/>
                <a:gd name="connsiteX4362" fmla="*/ 1277912 w 4753603"/>
                <a:gd name="connsiteY4362" fmla="*/ 4192648 h 4331342"/>
                <a:gd name="connsiteX4363" fmla="*/ 1413282 w 4753603"/>
                <a:gd name="connsiteY4363" fmla="*/ 4165502 h 4331342"/>
                <a:gd name="connsiteX4364" fmla="*/ 1554128 w 4753603"/>
                <a:gd name="connsiteY4364" fmla="*/ 4157968 h 4331342"/>
                <a:gd name="connsiteX4365" fmla="*/ 1719967 w 4753603"/>
                <a:gd name="connsiteY4365" fmla="*/ 4172302 h 4331342"/>
                <a:gd name="connsiteX4366" fmla="*/ 1778089 w 4753603"/>
                <a:gd name="connsiteY4366" fmla="*/ 4182523 h 4331342"/>
                <a:gd name="connsiteX4367" fmla="*/ 1787271 w 4753603"/>
                <a:gd name="connsiteY4367" fmla="*/ 4189305 h 4331342"/>
                <a:gd name="connsiteX4368" fmla="*/ 1778689 w 4753603"/>
                <a:gd name="connsiteY4368" fmla="*/ 4196601 h 4331342"/>
                <a:gd name="connsiteX4369" fmla="*/ 1811188 w 4753603"/>
                <a:gd name="connsiteY4369" fmla="*/ 4087320 h 4331342"/>
                <a:gd name="connsiteX4370" fmla="*/ 1824438 w 4753603"/>
                <a:gd name="connsiteY4370" fmla="*/ 4091159 h 4331342"/>
                <a:gd name="connsiteX4371" fmla="*/ 1833039 w 4753603"/>
                <a:gd name="connsiteY4371" fmla="*/ 4101589 h 4331342"/>
                <a:gd name="connsiteX4372" fmla="*/ 1820247 w 4753603"/>
                <a:gd name="connsiteY4372" fmla="*/ 4103532 h 4331342"/>
                <a:gd name="connsiteX4373" fmla="*/ 1795082 w 4753603"/>
                <a:gd name="connsiteY4373" fmla="*/ 4097045 h 4331342"/>
                <a:gd name="connsiteX4374" fmla="*/ 1782318 w 4753603"/>
                <a:gd name="connsiteY4374" fmla="*/ 4102094 h 4331342"/>
                <a:gd name="connsiteX4375" fmla="*/ 1791938 w 4753603"/>
                <a:gd name="connsiteY4375" fmla="*/ 4112333 h 4331342"/>
                <a:gd name="connsiteX4376" fmla="*/ 1820151 w 4753603"/>
                <a:gd name="connsiteY4376" fmla="*/ 4124344 h 4331342"/>
                <a:gd name="connsiteX4377" fmla="*/ 1794377 w 4753603"/>
                <a:gd name="connsiteY4377" fmla="*/ 4127164 h 4331342"/>
                <a:gd name="connsiteX4378" fmla="*/ 1780566 w 4753603"/>
                <a:gd name="connsiteY4378" fmla="*/ 4126173 h 4331342"/>
                <a:gd name="connsiteX4379" fmla="*/ 1772336 w 4753603"/>
                <a:gd name="connsiteY4379" fmla="*/ 4132031 h 4331342"/>
                <a:gd name="connsiteX4380" fmla="*/ 1778118 w 4753603"/>
                <a:gd name="connsiteY4380" fmla="*/ 4140403 h 4331342"/>
                <a:gd name="connsiteX4381" fmla="*/ 1799939 w 4753603"/>
                <a:gd name="connsiteY4381" fmla="*/ 4151967 h 4331342"/>
                <a:gd name="connsiteX4382" fmla="*/ 1807426 w 4753603"/>
                <a:gd name="connsiteY4382" fmla="*/ 4158415 h 4331342"/>
                <a:gd name="connsiteX4383" fmla="*/ 1797625 w 4753603"/>
                <a:gd name="connsiteY4383" fmla="*/ 4162511 h 4331342"/>
                <a:gd name="connsiteX4384" fmla="*/ 1704451 w 4753603"/>
                <a:gd name="connsiteY4384" fmla="*/ 4155167 h 4331342"/>
                <a:gd name="connsiteX4385" fmla="*/ 1582055 w 4753603"/>
                <a:gd name="connsiteY4385" fmla="*/ 4140499 h 4331342"/>
                <a:gd name="connsiteX4386" fmla="*/ 1548193 w 4753603"/>
                <a:gd name="connsiteY4386" fmla="*/ 4135660 h 4331342"/>
                <a:gd name="connsiteX4387" fmla="*/ 1598305 w 4753603"/>
                <a:gd name="connsiteY4387" fmla="*/ 4110028 h 4331342"/>
                <a:gd name="connsiteX4388" fmla="*/ 1724454 w 4753603"/>
                <a:gd name="connsiteY4388" fmla="*/ 4073719 h 4331342"/>
                <a:gd name="connsiteX4389" fmla="*/ 1807931 w 4753603"/>
                <a:gd name="connsiteY4389" fmla="*/ 4065308 h 4331342"/>
                <a:gd name="connsiteX4390" fmla="*/ 1835191 w 4753603"/>
                <a:gd name="connsiteY4390" fmla="*/ 4075452 h 4331342"/>
                <a:gd name="connsiteX4391" fmla="*/ 1817065 w 4753603"/>
                <a:gd name="connsiteY4391" fmla="*/ 4073624 h 4331342"/>
                <a:gd name="connsiteX4392" fmla="*/ 1803444 w 4753603"/>
                <a:gd name="connsiteY4392" fmla="*/ 4075567 h 4331342"/>
                <a:gd name="connsiteX4393" fmla="*/ 1811188 w 4753603"/>
                <a:gd name="connsiteY4393" fmla="*/ 4087320 h 4331342"/>
                <a:gd name="connsiteX4394" fmla="*/ 2889257 w 4753603"/>
                <a:gd name="connsiteY4394" fmla="*/ 4034038 h 4331342"/>
                <a:gd name="connsiteX4395" fmla="*/ 2717159 w 4753603"/>
                <a:gd name="connsiteY4395" fmla="*/ 4018055 h 4331342"/>
                <a:gd name="connsiteX4396" fmla="*/ 2621833 w 4753603"/>
                <a:gd name="connsiteY4396" fmla="*/ 4013940 h 4331342"/>
                <a:gd name="connsiteX4397" fmla="*/ 2338407 w 4753603"/>
                <a:gd name="connsiteY4397" fmla="*/ 4010444 h 4331342"/>
                <a:gd name="connsiteX4398" fmla="*/ 2042970 w 4753603"/>
                <a:gd name="connsiteY4398" fmla="*/ 4020188 h 4331342"/>
                <a:gd name="connsiteX4399" fmla="*/ 1864938 w 4753603"/>
                <a:gd name="connsiteY4399" fmla="*/ 4029837 h 4331342"/>
                <a:gd name="connsiteX4400" fmla="*/ 1728569 w 4753603"/>
                <a:gd name="connsiteY4400" fmla="*/ 4049020 h 4331342"/>
                <a:gd name="connsiteX4401" fmla="*/ 1633795 w 4753603"/>
                <a:gd name="connsiteY4401" fmla="*/ 4077205 h 4331342"/>
                <a:gd name="connsiteX4402" fmla="*/ 1553280 w 4753603"/>
                <a:gd name="connsiteY4402" fmla="*/ 4097379 h 4331342"/>
                <a:gd name="connsiteX4403" fmla="*/ 1540564 w 4753603"/>
                <a:gd name="connsiteY4403" fmla="*/ 4095836 h 4331342"/>
                <a:gd name="connsiteX4404" fmla="*/ 1546955 w 4753603"/>
                <a:gd name="connsiteY4404" fmla="*/ 4084806 h 4331342"/>
                <a:gd name="connsiteX4405" fmla="*/ 1562843 w 4753603"/>
                <a:gd name="connsiteY4405" fmla="*/ 4070566 h 4331342"/>
                <a:gd name="connsiteX4406" fmla="*/ 1555128 w 4753603"/>
                <a:gd name="connsiteY4406" fmla="*/ 4066489 h 4331342"/>
                <a:gd name="connsiteX4407" fmla="*/ 1547965 w 4753603"/>
                <a:gd name="connsiteY4407" fmla="*/ 4062317 h 4331342"/>
                <a:gd name="connsiteX4408" fmla="*/ 1552356 w 4753603"/>
                <a:gd name="connsiteY4408" fmla="*/ 4053431 h 4331342"/>
                <a:gd name="connsiteX4409" fmla="*/ 1549594 w 4753603"/>
                <a:gd name="connsiteY4409" fmla="*/ 4036447 h 4331342"/>
                <a:gd name="connsiteX4410" fmla="*/ 1547965 w 4753603"/>
                <a:gd name="connsiteY4410" fmla="*/ 4029942 h 4331342"/>
                <a:gd name="connsiteX4411" fmla="*/ 1556366 w 4753603"/>
                <a:gd name="connsiteY4411" fmla="*/ 4023255 h 4331342"/>
                <a:gd name="connsiteX4412" fmla="*/ 1561290 w 4753603"/>
                <a:gd name="connsiteY4412" fmla="*/ 4014664 h 4331342"/>
                <a:gd name="connsiteX4413" fmla="*/ 1550518 w 4753603"/>
                <a:gd name="connsiteY4413" fmla="*/ 4012235 h 4331342"/>
                <a:gd name="connsiteX4414" fmla="*/ 1537859 w 4753603"/>
                <a:gd name="connsiteY4414" fmla="*/ 4012092 h 4331342"/>
                <a:gd name="connsiteX4415" fmla="*/ 1555699 w 4753603"/>
                <a:gd name="connsiteY4415" fmla="*/ 3994499 h 4331342"/>
                <a:gd name="connsiteX4416" fmla="*/ 1560700 w 4753603"/>
                <a:gd name="connsiteY4416" fmla="*/ 3985012 h 4331342"/>
                <a:gd name="connsiteX4417" fmla="*/ 1549698 w 4753603"/>
                <a:gd name="connsiteY4417" fmla="*/ 3982031 h 4331342"/>
                <a:gd name="connsiteX4418" fmla="*/ 1535887 w 4753603"/>
                <a:gd name="connsiteY4418" fmla="*/ 3981136 h 4331342"/>
                <a:gd name="connsiteX4419" fmla="*/ 1545746 w 4753603"/>
                <a:gd name="connsiteY4419" fmla="*/ 3968877 h 4331342"/>
                <a:gd name="connsiteX4420" fmla="*/ 1611106 w 4753603"/>
                <a:gd name="connsiteY4420" fmla="*/ 3942112 h 4331342"/>
                <a:gd name="connsiteX4421" fmla="*/ 1683182 w 4753603"/>
                <a:gd name="connsiteY4421" fmla="*/ 3922833 h 4331342"/>
                <a:gd name="connsiteX4422" fmla="*/ 1834982 w 4753603"/>
                <a:gd name="connsiteY4422" fmla="*/ 3896602 h 4331342"/>
                <a:gd name="connsiteX4423" fmla="*/ 2084489 w 4753603"/>
                <a:gd name="connsiteY4423" fmla="*/ 3869503 h 4331342"/>
                <a:gd name="connsiteX4424" fmla="*/ 2160918 w 4753603"/>
                <a:gd name="connsiteY4424" fmla="*/ 3865550 h 4331342"/>
                <a:gd name="connsiteX4425" fmla="*/ 2367953 w 4753603"/>
                <a:gd name="connsiteY4425" fmla="*/ 3854872 h 4331342"/>
                <a:gd name="connsiteX4426" fmla="*/ 2571093 w 4753603"/>
                <a:gd name="connsiteY4426" fmla="*/ 3856901 h 4331342"/>
                <a:gd name="connsiteX4427" fmla="*/ 2723274 w 4753603"/>
                <a:gd name="connsiteY4427" fmla="*/ 3868912 h 4331342"/>
                <a:gd name="connsiteX4428" fmla="*/ 2869626 w 4753603"/>
                <a:gd name="connsiteY4428" fmla="*/ 3890229 h 4331342"/>
                <a:gd name="connsiteX4429" fmla="*/ 2985945 w 4753603"/>
                <a:gd name="connsiteY4429" fmla="*/ 3917747 h 4331342"/>
                <a:gd name="connsiteX4430" fmla="*/ 3145165 w 4753603"/>
                <a:gd name="connsiteY4430" fmla="*/ 3970325 h 4331342"/>
                <a:gd name="connsiteX4431" fmla="*/ 3206610 w 4753603"/>
                <a:gd name="connsiteY4431" fmla="*/ 4001605 h 4331342"/>
                <a:gd name="connsiteX4432" fmla="*/ 3215116 w 4753603"/>
                <a:gd name="connsiteY4432" fmla="*/ 4010949 h 4331342"/>
                <a:gd name="connsiteX4433" fmla="*/ 3203524 w 4753603"/>
                <a:gd name="connsiteY4433" fmla="*/ 4015540 h 4331342"/>
                <a:gd name="connsiteX4434" fmla="*/ 3186541 w 4753603"/>
                <a:gd name="connsiteY4434" fmla="*/ 4017655 h 4331342"/>
                <a:gd name="connsiteX4435" fmla="*/ 3200143 w 4753603"/>
                <a:gd name="connsiteY4435" fmla="*/ 4027370 h 4331342"/>
                <a:gd name="connsiteX4436" fmla="*/ 3210373 w 4753603"/>
                <a:gd name="connsiteY4436" fmla="*/ 4037667 h 4331342"/>
                <a:gd name="connsiteX4437" fmla="*/ 3199171 w 4753603"/>
                <a:gd name="connsiteY4437" fmla="*/ 4043829 h 4331342"/>
                <a:gd name="connsiteX4438" fmla="*/ 3196752 w 4753603"/>
                <a:gd name="connsiteY4438" fmla="*/ 4052716 h 4331342"/>
                <a:gd name="connsiteX4439" fmla="*/ 3209430 w 4753603"/>
                <a:gd name="connsiteY4439" fmla="*/ 4069547 h 4331342"/>
                <a:gd name="connsiteX4440" fmla="*/ 3181179 w 4753603"/>
                <a:gd name="connsiteY4440" fmla="*/ 4068175 h 4331342"/>
                <a:gd name="connsiteX4441" fmla="*/ 3214850 w 4753603"/>
                <a:gd name="connsiteY4441" fmla="*/ 4100903 h 4331342"/>
                <a:gd name="connsiteX4442" fmla="*/ 3164500 w 4753603"/>
                <a:gd name="connsiteY4442" fmla="*/ 4094369 h 4331342"/>
                <a:gd name="connsiteX4443" fmla="*/ 2992365 w 4753603"/>
                <a:gd name="connsiteY4443" fmla="*/ 4049440 h 4331342"/>
                <a:gd name="connsiteX4444" fmla="*/ 2889257 w 4753603"/>
                <a:gd name="connsiteY4444" fmla="*/ 4034038 h 4331342"/>
                <a:gd name="connsiteX4445" fmla="*/ 1540574 w 4753603"/>
                <a:gd name="connsiteY4445" fmla="*/ 4039934 h 4331342"/>
                <a:gd name="connsiteX4446" fmla="*/ 1541583 w 4753603"/>
                <a:gd name="connsiteY4446" fmla="*/ 4039229 h 4331342"/>
                <a:gd name="connsiteX4447" fmla="*/ 1542431 w 4753603"/>
                <a:gd name="connsiteY4447" fmla="*/ 4039934 h 4331342"/>
                <a:gd name="connsiteX4448" fmla="*/ 1541583 w 4753603"/>
                <a:gd name="connsiteY4448" fmla="*/ 4040524 h 4331342"/>
                <a:gd name="connsiteX4449" fmla="*/ 1540574 w 4753603"/>
                <a:gd name="connsiteY4449" fmla="*/ 4039934 h 4331342"/>
                <a:gd name="connsiteX4450" fmla="*/ 2966990 w 4753603"/>
                <a:gd name="connsiteY4450" fmla="*/ 4176636 h 4331342"/>
                <a:gd name="connsiteX4451" fmla="*/ 2973248 w 4753603"/>
                <a:gd name="connsiteY4451" fmla="*/ 4167873 h 4331342"/>
                <a:gd name="connsiteX4452" fmla="*/ 3010472 w 4753603"/>
                <a:gd name="connsiteY4452" fmla="*/ 4151176 h 4331342"/>
                <a:gd name="connsiteX4453" fmla="*/ 2980230 w 4753603"/>
                <a:gd name="connsiteY4453" fmla="*/ 4150233 h 4331342"/>
                <a:gd name="connsiteX4454" fmla="*/ 2964123 w 4753603"/>
                <a:gd name="connsiteY4454" fmla="*/ 4148938 h 4331342"/>
                <a:gd name="connsiteX4455" fmla="*/ 2975400 w 4753603"/>
                <a:gd name="connsiteY4455" fmla="*/ 4136527 h 4331342"/>
                <a:gd name="connsiteX4456" fmla="*/ 2997032 w 4753603"/>
                <a:gd name="connsiteY4456" fmla="*/ 4123401 h 4331342"/>
                <a:gd name="connsiteX4457" fmla="*/ 2953674 w 4753603"/>
                <a:gd name="connsiteY4457" fmla="*/ 4119391 h 4331342"/>
                <a:gd name="connsiteX4458" fmla="*/ 2994622 w 4753603"/>
                <a:gd name="connsiteY4458" fmla="*/ 4091216 h 4331342"/>
                <a:gd name="connsiteX4459" fmla="*/ 2964666 w 4753603"/>
                <a:gd name="connsiteY4459" fmla="*/ 4089149 h 4331342"/>
                <a:gd name="connsiteX4460" fmla="*/ 3018196 w 4753603"/>
                <a:gd name="connsiteY4460" fmla="*/ 4080120 h 4331342"/>
                <a:gd name="connsiteX4461" fmla="*/ 3074270 w 4753603"/>
                <a:gd name="connsiteY4461" fmla="*/ 4097703 h 4331342"/>
                <a:gd name="connsiteX4462" fmla="*/ 3159262 w 4753603"/>
                <a:gd name="connsiteY4462" fmla="*/ 4120649 h 4331342"/>
                <a:gd name="connsiteX4463" fmla="*/ 3194457 w 4753603"/>
                <a:gd name="connsiteY4463" fmla="*/ 4139279 h 4331342"/>
                <a:gd name="connsiteX4464" fmla="*/ 3191637 w 4753603"/>
                <a:gd name="connsiteY4464" fmla="*/ 4152719 h 4331342"/>
                <a:gd name="connsiteX4465" fmla="*/ 3165615 w 4753603"/>
                <a:gd name="connsiteY4465" fmla="*/ 4157082 h 4331342"/>
                <a:gd name="connsiteX4466" fmla="*/ 2976534 w 4753603"/>
                <a:gd name="connsiteY4466" fmla="*/ 4179160 h 4331342"/>
                <a:gd name="connsiteX4467" fmla="*/ 2966990 w 4753603"/>
                <a:gd name="connsiteY4467" fmla="*/ 4176636 h 4331342"/>
                <a:gd name="connsiteX4468" fmla="*/ 3523688 w 4753603"/>
                <a:gd name="connsiteY4468" fmla="*/ 4275135 h 4331342"/>
                <a:gd name="connsiteX4469" fmla="*/ 3477768 w 4753603"/>
                <a:gd name="connsiteY4469" fmla="*/ 4282393 h 4331342"/>
                <a:gd name="connsiteX4470" fmla="*/ 3503143 w 4753603"/>
                <a:gd name="connsiteY4470" fmla="*/ 4296223 h 4331342"/>
                <a:gd name="connsiteX4471" fmla="*/ 3449974 w 4753603"/>
                <a:gd name="connsiteY4471" fmla="*/ 4308224 h 4331342"/>
                <a:gd name="connsiteX4472" fmla="*/ 3334627 w 4753603"/>
                <a:gd name="connsiteY4472" fmla="*/ 4303700 h 4331342"/>
                <a:gd name="connsiteX4473" fmla="*/ 3188389 w 4753603"/>
                <a:gd name="connsiteY4473" fmla="*/ 4277268 h 4331342"/>
                <a:gd name="connsiteX4474" fmla="*/ 3091882 w 4753603"/>
                <a:gd name="connsiteY4474" fmla="*/ 4253208 h 4331342"/>
                <a:gd name="connsiteX4475" fmla="*/ 2987345 w 4753603"/>
                <a:gd name="connsiteY4475" fmla="*/ 4219518 h 4331342"/>
                <a:gd name="connsiteX4476" fmla="*/ 2977696 w 4753603"/>
                <a:gd name="connsiteY4476" fmla="*/ 4211489 h 4331342"/>
                <a:gd name="connsiteX4477" fmla="*/ 2986545 w 4753603"/>
                <a:gd name="connsiteY4477" fmla="*/ 4201840 h 4331342"/>
                <a:gd name="connsiteX4478" fmla="*/ 3065583 w 4753603"/>
                <a:gd name="connsiteY4478" fmla="*/ 4182018 h 4331342"/>
                <a:gd name="connsiteX4479" fmla="*/ 3215373 w 4753603"/>
                <a:gd name="connsiteY4479" fmla="*/ 4184819 h 4331342"/>
                <a:gd name="connsiteX4480" fmla="*/ 3314300 w 4753603"/>
                <a:gd name="connsiteY4480" fmla="*/ 4204307 h 4331342"/>
                <a:gd name="connsiteX4481" fmla="*/ 3390119 w 4753603"/>
                <a:gd name="connsiteY4481" fmla="*/ 4219518 h 4331342"/>
                <a:gd name="connsiteX4482" fmla="*/ 3490455 w 4753603"/>
                <a:gd name="connsiteY4482" fmla="*/ 4242035 h 4331342"/>
                <a:gd name="connsiteX4483" fmla="*/ 3517383 w 4753603"/>
                <a:gd name="connsiteY4483" fmla="*/ 4247512 h 4331342"/>
                <a:gd name="connsiteX4484" fmla="*/ 3496151 w 4753603"/>
                <a:gd name="connsiteY4484" fmla="*/ 4258637 h 4331342"/>
                <a:gd name="connsiteX4485" fmla="*/ 3523069 w 4753603"/>
                <a:gd name="connsiteY4485" fmla="*/ 4264495 h 4331342"/>
                <a:gd name="connsiteX4486" fmla="*/ 3530051 w 4753603"/>
                <a:gd name="connsiteY4486" fmla="*/ 4269915 h 4331342"/>
                <a:gd name="connsiteX4487" fmla="*/ 3523688 w 4753603"/>
                <a:gd name="connsiteY4487" fmla="*/ 4275135 h 4331342"/>
                <a:gd name="connsiteX4488" fmla="*/ 3583076 w 4753603"/>
                <a:gd name="connsiteY4488" fmla="*/ 4145918 h 4331342"/>
                <a:gd name="connsiteX4489" fmla="*/ 3602755 w 4753603"/>
                <a:gd name="connsiteY4489" fmla="*/ 4162654 h 4331342"/>
                <a:gd name="connsiteX4490" fmla="*/ 3559083 w 4753603"/>
                <a:gd name="connsiteY4490" fmla="*/ 4172302 h 4331342"/>
                <a:gd name="connsiteX4491" fmla="*/ 3582400 w 4753603"/>
                <a:gd name="connsiteY4491" fmla="*/ 4186428 h 4331342"/>
                <a:gd name="connsiteX4492" fmla="*/ 3541614 w 4753603"/>
                <a:gd name="connsiteY4492" fmla="*/ 4190267 h 4331342"/>
                <a:gd name="connsiteX4493" fmla="*/ 3567303 w 4753603"/>
                <a:gd name="connsiteY4493" fmla="*/ 4203783 h 4331342"/>
                <a:gd name="connsiteX4494" fmla="*/ 3542157 w 4753603"/>
                <a:gd name="connsiteY4494" fmla="*/ 4204488 h 4331342"/>
                <a:gd name="connsiteX4495" fmla="*/ 3527879 w 4753603"/>
                <a:gd name="connsiteY4495" fmla="*/ 4207031 h 4331342"/>
                <a:gd name="connsiteX4496" fmla="*/ 3538604 w 4753603"/>
                <a:gd name="connsiteY4496" fmla="*/ 4212555 h 4331342"/>
                <a:gd name="connsiteX4497" fmla="*/ 3560521 w 4753603"/>
                <a:gd name="connsiteY4497" fmla="*/ 4219528 h 4331342"/>
                <a:gd name="connsiteX4498" fmla="*/ 3537280 w 4753603"/>
                <a:gd name="connsiteY4498" fmla="*/ 4226157 h 4331342"/>
                <a:gd name="connsiteX4499" fmla="*/ 3426295 w 4753603"/>
                <a:gd name="connsiteY4499" fmla="*/ 4210679 h 4331342"/>
                <a:gd name="connsiteX4500" fmla="*/ 3284115 w 4753603"/>
                <a:gd name="connsiteY4500" fmla="*/ 4176265 h 4331342"/>
                <a:gd name="connsiteX4501" fmla="*/ 3262103 w 4753603"/>
                <a:gd name="connsiteY4501" fmla="*/ 4170483 h 4331342"/>
                <a:gd name="connsiteX4502" fmla="*/ 3254940 w 4753603"/>
                <a:gd name="connsiteY4502" fmla="*/ 4160977 h 4331342"/>
                <a:gd name="connsiteX4503" fmla="*/ 3258169 w 4753603"/>
                <a:gd name="connsiteY4503" fmla="*/ 4041219 h 4331342"/>
                <a:gd name="connsiteX4504" fmla="*/ 3272171 w 4753603"/>
                <a:gd name="connsiteY4504" fmla="*/ 4033495 h 4331342"/>
                <a:gd name="connsiteX4505" fmla="*/ 3430038 w 4753603"/>
                <a:gd name="connsiteY4505" fmla="*/ 4084453 h 4331342"/>
                <a:gd name="connsiteX4506" fmla="*/ 3523564 w 4753603"/>
                <a:gd name="connsiteY4506" fmla="*/ 4101018 h 4331342"/>
                <a:gd name="connsiteX4507" fmla="*/ 3646465 w 4753603"/>
                <a:gd name="connsiteY4507" fmla="*/ 4121106 h 4331342"/>
                <a:gd name="connsiteX4508" fmla="*/ 3583076 w 4753603"/>
                <a:gd name="connsiteY4508" fmla="*/ 4145918 h 4331342"/>
                <a:gd name="connsiteX4509" fmla="*/ 3788788 w 4753603"/>
                <a:gd name="connsiteY4509" fmla="*/ 4000281 h 4331342"/>
                <a:gd name="connsiteX4510" fmla="*/ 3745363 w 4753603"/>
                <a:gd name="connsiteY4510" fmla="*/ 4001319 h 4331342"/>
                <a:gd name="connsiteX4511" fmla="*/ 3719008 w 4753603"/>
                <a:gd name="connsiteY4511" fmla="*/ 4006301 h 4331342"/>
                <a:gd name="connsiteX4512" fmla="*/ 3748011 w 4753603"/>
                <a:gd name="connsiteY4512" fmla="*/ 4025694 h 4331342"/>
                <a:gd name="connsiteX4513" fmla="*/ 3706978 w 4753603"/>
                <a:gd name="connsiteY4513" fmla="*/ 4025027 h 4331342"/>
                <a:gd name="connsiteX4514" fmla="*/ 3730485 w 4753603"/>
                <a:gd name="connsiteY4514" fmla="*/ 4039562 h 4331342"/>
                <a:gd name="connsiteX4515" fmla="*/ 3684870 w 4753603"/>
                <a:gd name="connsiteY4515" fmla="*/ 4039705 h 4331342"/>
                <a:gd name="connsiteX4516" fmla="*/ 3684546 w 4753603"/>
                <a:gd name="connsiteY4516" fmla="*/ 4042334 h 4331342"/>
                <a:gd name="connsiteX4517" fmla="*/ 3706292 w 4753603"/>
                <a:gd name="connsiteY4517" fmla="*/ 4053640 h 4331342"/>
                <a:gd name="connsiteX4518" fmla="*/ 3706035 w 4753603"/>
                <a:gd name="connsiteY4518" fmla="*/ 4055993 h 4331342"/>
                <a:gd name="connsiteX4519" fmla="*/ 3660982 w 4753603"/>
                <a:gd name="connsiteY4519" fmla="*/ 4055993 h 4331342"/>
                <a:gd name="connsiteX4520" fmla="*/ 3690042 w 4753603"/>
                <a:gd name="connsiteY4520" fmla="*/ 4072728 h 4331342"/>
                <a:gd name="connsiteX4521" fmla="*/ 3646323 w 4753603"/>
                <a:gd name="connsiteY4521" fmla="*/ 4077729 h 4331342"/>
                <a:gd name="connsiteX4522" fmla="*/ 3675250 w 4753603"/>
                <a:gd name="connsiteY4522" fmla="*/ 4096169 h 4331342"/>
                <a:gd name="connsiteX4523" fmla="*/ 3639969 w 4753603"/>
                <a:gd name="connsiteY4523" fmla="*/ 4100532 h 4331342"/>
                <a:gd name="connsiteX4524" fmla="*/ 3444497 w 4753603"/>
                <a:gd name="connsiteY4524" fmla="*/ 4067975 h 4331342"/>
                <a:gd name="connsiteX4525" fmla="*/ 3279305 w 4753603"/>
                <a:gd name="connsiteY4525" fmla="*/ 4007034 h 4331342"/>
                <a:gd name="connsiteX4526" fmla="*/ 3262293 w 4753603"/>
                <a:gd name="connsiteY4526" fmla="*/ 3960905 h 4331342"/>
                <a:gd name="connsiteX4527" fmla="*/ 3268094 w 4753603"/>
                <a:gd name="connsiteY4527" fmla="*/ 3895820 h 4331342"/>
                <a:gd name="connsiteX4528" fmla="*/ 3272666 w 4753603"/>
                <a:gd name="connsiteY4528" fmla="*/ 3869084 h 4331342"/>
                <a:gd name="connsiteX4529" fmla="*/ 3349581 w 4753603"/>
                <a:gd name="connsiteY4529" fmla="*/ 3902831 h 4331342"/>
                <a:gd name="connsiteX4530" fmla="*/ 3478073 w 4753603"/>
                <a:gd name="connsiteY4530" fmla="*/ 3941664 h 4331342"/>
                <a:gd name="connsiteX4531" fmla="*/ 3581495 w 4753603"/>
                <a:gd name="connsiteY4531" fmla="*/ 3961314 h 4331342"/>
                <a:gd name="connsiteX4532" fmla="*/ 3672345 w 4753603"/>
                <a:gd name="connsiteY4532" fmla="*/ 3975297 h 4331342"/>
                <a:gd name="connsiteX4533" fmla="*/ 3787892 w 4753603"/>
                <a:gd name="connsiteY4533" fmla="*/ 3990699 h 4331342"/>
                <a:gd name="connsiteX4534" fmla="*/ 3794036 w 4753603"/>
                <a:gd name="connsiteY4534" fmla="*/ 3994499 h 4331342"/>
                <a:gd name="connsiteX4535" fmla="*/ 3788788 w 4753603"/>
                <a:gd name="connsiteY4535" fmla="*/ 4000281 h 4331342"/>
                <a:gd name="connsiteX4536" fmla="*/ 3579247 w 4753603"/>
                <a:gd name="connsiteY4536" fmla="*/ 3927101 h 4331342"/>
                <a:gd name="connsiteX4537" fmla="*/ 3590401 w 4753603"/>
                <a:gd name="connsiteY4537" fmla="*/ 3915756 h 4331342"/>
                <a:gd name="connsiteX4538" fmla="*/ 3671478 w 4753603"/>
                <a:gd name="connsiteY4538" fmla="*/ 3911794 h 4331342"/>
                <a:gd name="connsiteX4539" fmla="*/ 3689614 w 4753603"/>
                <a:gd name="connsiteY4539" fmla="*/ 3915947 h 4331342"/>
                <a:gd name="connsiteX4540" fmla="*/ 3713712 w 4753603"/>
                <a:gd name="connsiteY4540" fmla="*/ 3951285 h 4331342"/>
                <a:gd name="connsiteX4541" fmla="*/ 3695291 w 4753603"/>
                <a:gd name="connsiteY4541" fmla="*/ 3960581 h 4331342"/>
                <a:gd name="connsiteX4542" fmla="*/ 3589782 w 4753603"/>
                <a:gd name="connsiteY4542" fmla="*/ 3938397 h 4331342"/>
                <a:gd name="connsiteX4543" fmla="*/ 3579247 w 4753603"/>
                <a:gd name="connsiteY4543" fmla="*/ 3927101 h 4331342"/>
                <a:gd name="connsiteX4544" fmla="*/ 3842242 w 4753603"/>
                <a:gd name="connsiteY4544" fmla="*/ 3957285 h 4331342"/>
                <a:gd name="connsiteX4545" fmla="*/ 3821964 w 4753603"/>
                <a:gd name="connsiteY4545" fmla="*/ 3968877 h 4331342"/>
                <a:gd name="connsiteX4546" fmla="*/ 3781349 w 4753603"/>
                <a:gd name="connsiteY4546" fmla="*/ 3969115 h 4331342"/>
                <a:gd name="connsiteX4547" fmla="*/ 3760861 w 4753603"/>
                <a:gd name="connsiteY4547" fmla="*/ 3969258 h 4331342"/>
                <a:gd name="connsiteX4548" fmla="*/ 3736143 w 4753603"/>
                <a:gd name="connsiteY4548" fmla="*/ 3968449 h 4331342"/>
                <a:gd name="connsiteX4549" fmla="*/ 3731457 w 4753603"/>
                <a:gd name="connsiteY4549" fmla="*/ 3946646 h 4331342"/>
                <a:gd name="connsiteX4550" fmla="*/ 3727380 w 4753603"/>
                <a:gd name="connsiteY4550" fmla="*/ 3889629 h 4331342"/>
                <a:gd name="connsiteX4551" fmla="*/ 3743963 w 4753603"/>
                <a:gd name="connsiteY4551" fmla="*/ 3879704 h 4331342"/>
                <a:gd name="connsiteX4552" fmla="*/ 3824811 w 4753603"/>
                <a:gd name="connsiteY4552" fmla="*/ 3882514 h 4331342"/>
                <a:gd name="connsiteX4553" fmla="*/ 3839499 w 4753603"/>
                <a:gd name="connsiteY4553" fmla="*/ 3893496 h 4331342"/>
                <a:gd name="connsiteX4554" fmla="*/ 3842242 w 4753603"/>
                <a:gd name="connsiteY4554" fmla="*/ 3957285 h 4331342"/>
                <a:gd name="connsiteX4555" fmla="*/ 3832460 w 4753603"/>
                <a:gd name="connsiteY4555" fmla="*/ 3669554 h 4331342"/>
                <a:gd name="connsiteX4556" fmla="*/ 3850472 w 4753603"/>
                <a:gd name="connsiteY4556" fmla="*/ 3664020 h 4331342"/>
                <a:gd name="connsiteX4557" fmla="*/ 3863616 w 4753603"/>
                <a:gd name="connsiteY4557" fmla="*/ 3663248 h 4331342"/>
                <a:gd name="connsiteX4558" fmla="*/ 3858187 w 4753603"/>
                <a:gd name="connsiteY4558" fmla="*/ 3676002 h 4331342"/>
                <a:gd name="connsiteX4559" fmla="*/ 3858187 w 4753603"/>
                <a:gd name="connsiteY4559" fmla="*/ 3676145 h 4331342"/>
                <a:gd name="connsiteX4560" fmla="*/ 3854710 w 4753603"/>
                <a:gd name="connsiteY4560" fmla="*/ 3694281 h 4331342"/>
                <a:gd name="connsiteX4561" fmla="*/ 3915670 w 4753603"/>
                <a:gd name="connsiteY4561" fmla="*/ 3676622 h 4331342"/>
                <a:gd name="connsiteX4562" fmla="*/ 3928872 w 4753603"/>
                <a:gd name="connsiteY4562" fmla="*/ 3669211 h 4331342"/>
                <a:gd name="connsiteX4563" fmla="*/ 3963486 w 4753603"/>
                <a:gd name="connsiteY4563" fmla="*/ 3682213 h 4331342"/>
                <a:gd name="connsiteX4564" fmla="*/ 3959057 w 4753603"/>
                <a:gd name="connsiteY4564" fmla="*/ 3746192 h 4331342"/>
                <a:gd name="connsiteX4565" fmla="*/ 3939111 w 4753603"/>
                <a:gd name="connsiteY4565" fmla="*/ 3771033 h 4331342"/>
                <a:gd name="connsiteX4566" fmla="*/ 3908736 w 4753603"/>
                <a:gd name="connsiteY4566" fmla="*/ 3787035 h 4331342"/>
                <a:gd name="connsiteX4567" fmla="*/ 3893001 w 4753603"/>
                <a:gd name="connsiteY4567" fmla="*/ 3789979 h 4331342"/>
                <a:gd name="connsiteX4568" fmla="*/ 3855025 w 4753603"/>
                <a:gd name="connsiteY4568" fmla="*/ 3793417 h 4331342"/>
                <a:gd name="connsiteX4569" fmla="*/ 3855120 w 4753603"/>
                <a:gd name="connsiteY4569" fmla="*/ 3811600 h 4331342"/>
                <a:gd name="connsiteX4570" fmla="*/ 3877247 w 4753603"/>
                <a:gd name="connsiteY4570" fmla="*/ 3817706 h 4331342"/>
                <a:gd name="connsiteX4571" fmla="*/ 3879942 w 4753603"/>
                <a:gd name="connsiteY4571" fmla="*/ 3820840 h 4331342"/>
                <a:gd name="connsiteX4572" fmla="*/ 3882533 w 4753603"/>
                <a:gd name="connsiteY4572" fmla="*/ 3824754 h 4331342"/>
                <a:gd name="connsiteX4573" fmla="*/ 3882885 w 4753603"/>
                <a:gd name="connsiteY4573" fmla="*/ 3829212 h 4331342"/>
                <a:gd name="connsiteX4574" fmla="*/ 3882476 w 4753603"/>
                <a:gd name="connsiteY4574" fmla="*/ 3833736 h 4331342"/>
                <a:gd name="connsiteX4575" fmla="*/ 3842414 w 4753603"/>
                <a:gd name="connsiteY4575" fmla="*/ 3849186 h 4331342"/>
                <a:gd name="connsiteX4576" fmla="*/ 3729200 w 4753603"/>
                <a:gd name="connsiteY4576" fmla="*/ 3854549 h 4331342"/>
                <a:gd name="connsiteX4577" fmla="*/ 3707644 w 4753603"/>
                <a:gd name="connsiteY4577" fmla="*/ 3882924 h 4331342"/>
                <a:gd name="connsiteX4578" fmla="*/ 3674488 w 4753603"/>
                <a:gd name="connsiteY4578" fmla="*/ 3892925 h 4331342"/>
                <a:gd name="connsiteX4579" fmla="*/ 3610470 w 4753603"/>
                <a:gd name="connsiteY4579" fmla="*/ 3879933 h 4331342"/>
                <a:gd name="connsiteX4580" fmla="*/ 3537995 w 4753603"/>
                <a:gd name="connsiteY4580" fmla="*/ 3880333 h 4331342"/>
                <a:gd name="connsiteX4581" fmla="*/ 3531432 w 4753603"/>
                <a:gd name="connsiteY4581" fmla="*/ 3877142 h 4331342"/>
                <a:gd name="connsiteX4582" fmla="*/ 3525603 w 4753603"/>
                <a:gd name="connsiteY4582" fmla="*/ 3875970 h 4331342"/>
                <a:gd name="connsiteX4583" fmla="*/ 3515506 w 4753603"/>
                <a:gd name="connsiteY4583" fmla="*/ 3864197 h 4331342"/>
                <a:gd name="connsiteX4584" fmla="*/ 3541195 w 4753603"/>
                <a:gd name="connsiteY4584" fmla="*/ 3855882 h 4331342"/>
                <a:gd name="connsiteX4585" fmla="*/ 3563303 w 4753603"/>
                <a:gd name="connsiteY4585" fmla="*/ 3865026 h 4331342"/>
                <a:gd name="connsiteX4586" fmla="*/ 3584972 w 4753603"/>
                <a:gd name="connsiteY4586" fmla="*/ 3848786 h 4331342"/>
                <a:gd name="connsiteX4587" fmla="*/ 3658057 w 4753603"/>
                <a:gd name="connsiteY4587" fmla="*/ 3837318 h 4331342"/>
                <a:gd name="connsiteX4588" fmla="*/ 3673259 w 4753603"/>
                <a:gd name="connsiteY4588" fmla="*/ 3848786 h 4331342"/>
                <a:gd name="connsiteX4589" fmla="*/ 3682460 w 4753603"/>
                <a:gd name="connsiteY4589" fmla="*/ 3854910 h 4331342"/>
                <a:gd name="connsiteX4590" fmla="*/ 3682460 w 4753603"/>
                <a:gd name="connsiteY4590" fmla="*/ 3854872 h 4331342"/>
                <a:gd name="connsiteX4591" fmla="*/ 3688528 w 4753603"/>
                <a:gd name="connsiteY4591" fmla="*/ 3855549 h 4331342"/>
                <a:gd name="connsiteX4592" fmla="*/ 3688280 w 4753603"/>
                <a:gd name="connsiteY4592" fmla="*/ 3835137 h 4331342"/>
                <a:gd name="connsiteX4593" fmla="*/ 3692071 w 4753603"/>
                <a:gd name="connsiteY4593" fmla="*/ 3817811 h 4331342"/>
                <a:gd name="connsiteX4594" fmla="*/ 3751498 w 4753603"/>
                <a:gd name="connsiteY4594" fmla="*/ 3817668 h 4331342"/>
                <a:gd name="connsiteX4595" fmla="*/ 3791988 w 4753603"/>
                <a:gd name="connsiteY4595" fmla="*/ 3825821 h 4331342"/>
                <a:gd name="connsiteX4596" fmla="*/ 3824354 w 4753603"/>
                <a:gd name="connsiteY4596" fmla="*/ 3818582 h 4331342"/>
                <a:gd name="connsiteX4597" fmla="*/ 3781663 w 4753603"/>
                <a:gd name="connsiteY4597" fmla="*/ 3799580 h 4331342"/>
                <a:gd name="connsiteX4598" fmla="*/ 3777586 w 4753603"/>
                <a:gd name="connsiteY4598" fmla="*/ 3778577 h 4331342"/>
                <a:gd name="connsiteX4599" fmla="*/ 3832650 w 4753603"/>
                <a:gd name="connsiteY4599" fmla="*/ 3750040 h 4331342"/>
                <a:gd name="connsiteX4600" fmla="*/ 3901145 w 4753603"/>
                <a:gd name="connsiteY4600" fmla="*/ 3728152 h 4331342"/>
                <a:gd name="connsiteX4601" fmla="*/ 3910232 w 4753603"/>
                <a:gd name="connsiteY4601" fmla="*/ 3718198 h 4331342"/>
                <a:gd name="connsiteX4602" fmla="*/ 3897354 w 4753603"/>
                <a:gd name="connsiteY4602" fmla="*/ 3716141 h 4331342"/>
                <a:gd name="connsiteX4603" fmla="*/ 3789721 w 4753603"/>
                <a:gd name="connsiteY4603" fmla="*/ 3725685 h 4331342"/>
                <a:gd name="connsiteX4604" fmla="*/ 3780977 w 4753603"/>
                <a:gd name="connsiteY4604" fmla="*/ 3739039 h 4331342"/>
                <a:gd name="connsiteX4605" fmla="*/ 3780854 w 4753603"/>
                <a:gd name="connsiteY4605" fmla="*/ 3739115 h 4331342"/>
                <a:gd name="connsiteX4606" fmla="*/ 3770167 w 4753603"/>
                <a:gd name="connsiteY4606" fmla="*/ 3753755 h 4331342"/>
                <a:gd name="connsiteX4607" fmla="*/ 3738772 w 4753603"/>
                <a:gd name="connsiteY4607" fmla="*/ 3780996 h 4331342"/>
                <a:gd name="connsiteX4608" fmla="*/ 3729209 w 4753603"/>
                <a:gd name="connsiteY4608" fmla="*/ 3786826 h 4331342"/>
                <a:gd name="connsiteX4609" fmla="*/ 3726409 w 4753603"/>
                <a:gd name="connsiteY4609" fmla="*/ 3787416 h 4331342"/>
                <a:gd name="connsiteX4610" fmla="*/ 3685870 w 4753603"/>
                <a:gd name="connsiteY4610" fmla="*/ 3799408 h 4331342"/>
                <a:gd name="connsiteX4611" fmla="*/ 3684775 w 4753603"/>
                <a:gd name="connsiteY4611" fmla="*/ 3793360 h 4331342"/>
                <a:gd name="connsiteX4612" fmla="*/ 3702472 w 4753603"/>
                <a:gd name="connsiteY4612" fmla="*/ 3759041 h 4331342"/>
                <a:gd name="connsiteX4613" fmla="*/ 3662553 w 4753603"/>
                <a:gd name="connsiteY4613" fmla="*/ 3783101 h 4331342"/>
                <a:gd name="connsiteX4614" fmla="*/ 3648151 w 4753603"/>
                <a:gd name="connsiteY4614" fmla="*/ 3793512 h 4331342"/>
                <a:gd name="connsiteX4615" fmla="*/ 3604212 w 4753603"/>
                <a:gd name="connsiteY4615" fmla="*/ 3818306 h 4331342"/>
                <a:gd name="connsiteX4616" fmla="*/ 3604098 w 4753603"/>
                <a:gd name="connsiteY4616" fmla="*/ 3818468 h 4331342"/>
                <a:gd name="connsiteX4617" fmla="*/ 3583696 w 4753603"/>
                <a:gd name="connsiteY4617" fmla="*/ 3822306 h 4331342"/>
                <a:gd name="connsiteX4618" fmla="*/ 3590563 w 4753603"/>
                <a:gd name="connsiteY4618" fmla="*/ 3805647 h 4331342"/>
                <a:gd name="connsiteX4619" fmla="*/ 3596707 w 4753603"/>
                <a:gd name="connsiteY4619" fmla="*/ 3773262 h 4331342"/>
                <a:gd name="connsiteX4620" fmla="*/ 3607270 w 4753603"/>
                <a:gd name="connsiteY4620" fmla="*/ 3765518 h 4331342"/>
                <a:gd name="connsiteX4621" fmla="*/ 3667011 w 4753603"/>
                <a:gd name="connsiteY4621" fmla="*/ 3745316 h 4331342"/>
                <a:gd name="connsiteX4622" fmla="*/ 3732953 w 4753603"/>
                <a:gd name="connsiteY4622" fmla="*/ 3727237 h 4331342"/>
                <a:gd name="connsiteX4623" fmla="*/ 3764194 w 4753603"/>
                <a:gd name="connsiteY4623" fmla="*/ 3712893 h 4331342"/>
                <a:gd name="connsiteX4624" fmla="*/ 3832460 w 4753603"/>
                <a:gd name="connsiteY4624" fmla="*/ 3669554 h 4331342"/>
                <a:gd name="connsiteX4625" fmla="*/ 3949599 w 4753603"/>
                <a:gd name="connsiteY4625" fmla="*/ 3567703 h 4331342"/>
                <a:gd name="connsiteX4626" fmla="*/ 3898030 w 4753603"/>
                <a:gd name="connsiteY4626" fmla="*/ 3568817 h 4331342"/>
                <a:gd name="connsiteX4627" fmla="*/ 3876170 w 4753603"/>
                <a:gd name="connsiteY4627" fmla="*/ 3571266 h 4331342"/>
                <a:gd name="connsiteX4628" fmla="*/ 3830374 w 4753603"/>
                <a:gd name="connsiteY4628" fmla="*/ 3565493 h 4331342"/>
                <a:gd name="connsiteX4629" fmla="*/ 3814077 w 4753603"/>
                <a:gd name="connsiteY4629" fmla="*/ 3558912 h 4331342"/>
                <a:gd name="connsiteX4630" fmla="*/ 3795475 w 4753603"/>
                <a:gd name="connsiteY4630" fmla="*/ 3589230 h 4331342"/>
                <a:gd name="connsiteX4631" fmla="*/ 3773272 w 4753603"/>
                <a:gd name="connsiteY4631" fmla="*/ 3602212 h 4331342"/>
                <a:gd name="connsiteX4632" fmla="*/ 3773481 w 4753603"/>
                <a:gd name="connsiteY4632" fmla="*/ 3602146 h 4331342"/>
                <a:gd name="connsiteX4633" fmla="*/ 3739953 w 4753603"/>
                <a:gd name="connsiteY4633" fmla="*/ 3604060 h 4331342"/>
                <a:gd name="connsiteX4634" fmla="*/ 3744811 w 4753603"/>
                <a:gd name="connsiteY4634" fmla="*/ 3589230 h 4331342"/>
                <a:gd name="connsiteX4635" fmla="*/ 3802780 w 4753603"/>
                <a:gd name="connsiteY4635" fmla="*/ 3535080 h 4331342"/>
                <a:gd name="connsiteX4636" fmla="*/ 3830307 w 4753603"/>
                <a:gd name="connsiteY4636" fmla="*/ 3516144 h 4331342"/>
                <a:gd name="connsiteX4637" fmla="*/ 3905079 w 4753603"/>
                <a:gd name="connsiteY4637" fmla="*/ 3523774 h 4331342"/>
                <a:gd name="connsiteX4638" fmla="*/ 3928901 w 4753603"/>
                <a:gd name="connsiteY4638" fmla="*/ 3538614 h 4331342"/>
                <a:gd name="connsiteX4639" fmla="*/ 3901154 w 4753603"/>
                <a:gd name="connsiteY4639" fmla="*/ 3492818 h 4331342"/>
                <a:gd name="connsiteX4640" fmla="*/ 3902174 w 4753603"/>
                <a:gd name="connsiteY4640" fmla="*/ 3475253 h 4331342"/>
                <a:gd name="connsiteX4641" fmla="*/ 3960028 w 4753603"/>
                <a:gd name="connsiteY4641" fmla="*/ 3453660 h 4331342"/>
                <a:gd name="connsiteX4642" fmla="*/ 4000957 w 4753603"/>
                <a:gd name="connsiteY4642" fmla="*/ 3470539 h 4331342"/>
                <a:gd name="connsiteX4643" fmla="*/ 4028742 w 4753603"/>
                <a:gd name="connsiteY4643" fmla="*/ 3472882 h 4331342"/>
                <a:gd name="connsiteX4644" fmla="*/ 4036114 w 4753603"/>
                <a:gd name="connsiteY4644" fmla="*/ 3465967 h 4331342"/>
                <a:gd name="connsiteX4645" fmla="*/ 4029266 w 4753603"/>
                <a:gd name="connsiteY4645" fmla="*/ 3461014 h 4331342"/>
                <a:gd name="connsiteX4646" fmla="*/ 3977735 w 4753603"/>
                <a:gd name="connsiteY4646" fmla="*/ 3436287 h 4331342"/>
                <a:gd name="connsiteX4647" fmla="*/ 4039257 w 4753603"/>
                <a:gd name="connsiteY4647" fmla="*/ 3410188 h 4331342"/>
                <a:gd name="connsiteX4648" fmla="*/ 4099779 w 4753603"/>
                <a:gd name="connsiteY4648" fmla="*/ 3380727 h 4331342"/>
                <a:gd name="connsiteX4649" fmla="*/ 4112390 w 4753603"/>
                <a:gd name="connsiteY4649" fmla="*/ 3364678 h 4331342"/>
                <a:gd name="connsiteX4650" fmla="*/ 4087197 w 4753603"/>
                <a:gd name="connsiteY4650" fmla="*/ 3358753 h 4331342"/>
                <a:gd name="connsiteX4651" fmla="*/ 4046915 w 4753603"/>
                <a:gd name="connsiteY4651" fmla="*/ 3378489 h 4331342"/>
                <a:gd name="connsiteX4652" fmla="*/ 4043029 w 4753603"/>
                <a:gd name="connsiteY4652" fmla="*/ 3386004 h 4331342"/>
                <a:gd name="connsiteX4653" fmla="*/ 4014711 w 4753603"/>
                <a:gd name="connsiteY4653" fmla="*/ 3397882 h 4331342"/>
                <a:gd name="connsiteX4654" fmla="*/ 3974983 w 4753603"/>
                <a:gd name="connsiteY4654" fmla="*/ 3409236 h 4331342"/>
                <a:gd name="connsiteX4655" fmla="*/ 3970477 w 4753603"/>
                <a:gd name="connsiteY4655" fmla="*/ 3382309 h 4331342"/>
                <a:gd name="connsiteX4656" fmla="*/ 3961524 w 4753603"/>
                <a:gd name="connsiteY4656" fmla="*/ 3379918 h 4331342"/>
                <a:gd name="connsiteX4657" fmla="*/ 3942693 w 4753603"/>
                <a:gd name="connsiteY4657" fmla="*/ 3410798 h 4331342"/>
                <a:gd name="connsiteX4658" fmla="*/ 3930063 w 4753603"/>
                <a:gd name="connsiteY4658" fmla="*/ 3432524 h 4331342"/>
                <a:gd name="connsiteX4659" fmla="*/ 3896173 w 4753603"/>
                <a:gd name="connsiteY4659" fmla="*/ 3454013 h 4331342"/>
                <a:gd name="connsiteX4660" fmla="*/ 3883019 w 4753603"/>
                <a:gd name="connsiteY4660" fmla="*/ 3460318 h 4331342"/>
                <a:gd name="connsiteX4661" fmla="*/ 3826545 w 4753603"/>
                <a:gd name="connsiteY4661" fmla="*/ 3497447 h 4331342"/>
                <a:gd name="connsiteX4662" fmla="*/ 3760356 w 4753603"/>
                <a:gd name="connsiteY4662" fmla="*/ 3541843 h 4331342"/>
                <a:gd name="connsiteX4663" fmla="*/ 3729228 w 4753603"/>
                <a:gd name="connsiteY4663" fmla="*/ 3528689 h 4331342"/>
                <a:gd name="connsiteX4664" fmla="*/ 3747307 w 4753603"/>
                <a:gd name="connsiteY4664" fmla="*/ 3503276 h 4331342"/>
                <a:gd name="connsiteX4665" fmla="*/ 3757489 w 4753603"/>
                <a:gd name="connsiteY4665" fmla="*/ 3497533 h 4331342"/>
                <a:gd name="connsiteX4666" fmla="*/ 3767214 w 4753603"/>
                <a:gd name="connsiteY4666" fmla="*/ 3497656 h 4331342"/>
                <a:gd name="connsiteX4667" fmla="*/ 3798465 w 4753603"/>
                <a:gd name="connsiteY4667" fmla="*/ 3494628 h 4331342"/>
                <a:gd name="connsiteX4668" fmla="*/ 3822983 w 4753603"/>
                <a:gd name="connsiteY4668" fmla="*/ 3456003 h 4331342"/>
                <a:gd name="connsiteX4669" fmla="*/ 3849310 w 4753603"/>
                <a:gd name="connsiteY4669" fmla="*/ 3411474 h 4331342"/>
                <a:gd name="connsiteX4670" fmla="*/ 3864969 w 4753603"/>
                <a:gd name="connsiteY4670" fmla="*/ 3407369 h 4331342"/>
                <a:gd name="connsiteX4671" fmla="*/ 3886953 w 4753603"/>
                <a:gd name="connsiteY4671" fmla="*/ 3414141 h 4331342"/>
                <a:gd name="connsiteX4672" fmla="*/ 3913441 w 4753603"/>
                <a:gd name="connsiteY4672" fmla="*/ 3399949 h 4331342"/>
                <a:gd name="connsiteX4673" fmla="*/ 3980002 w 4753603"/>
                <a:gd name="connsiteY4673" fmla="*/ 3342580 h 4331342"/>
                <a:gd name="connsiteX4674" fmla="*/ 4004196 w 4753603"/>
                <a:gd name="connsiteY4674" fmla="*/ 3331283 h 4331342"/>
                <a:gd name="connsiteX4675" fmla="*/ 4016759 w 4753603"/>
                <a:gd name="connsiteY4675" fmla="*/ 3342580 h 4331342"/>
                <a:gd name="connsiteX4676" fmla="*/ 4030513 w 4753603"/>
                <a:gd name="connsiteY4676" fmla="*/ 3360982 h 4331342"/>
                <a:gd name="connsiteX4677" fmla="*/ 4074471 w 4753603"/>
                <a:gd name="connsiteY4677" fmla="*/ 3340456 h 4331342"/>
                <a:gd name="connsiteX4678" fmla="*/ 4101646 w 4753603"/>
                <a:gd name="connsiteY4678" fmla="*/ 3317929 h 4331342"/>
                <a:gd name="connsiteX4679" fmla="*/ 4139565 w 4753603"/>
                <a:gd name="connsiteY4679" fmla="*/ 3319329 h 4331342"/>
                <a:gd name="connsiteX4680" fmla="*/ 4159034 w 4753603"/>
                <a:gd name="connsiteY4680" fmla="*/ 3330140 h 4331342"/>
                <a:gd name="connsiteX4681" fmla="*/ 4196658 w 4753603"/>
                <a:gd name="connsiteY4681" fmla="*/ 3362230 h 4331342"/>
                <a:gd name="connsiteX4682" fmla="*/ 4193505 w 4753603"/>
                <a:gd name="connsiteY4682" fmla="*/ 3373708 h 4331342"/>
                <a:gd name="connsiteX4683" fmla="*/ 4190591 w 4753603"/>
                <a:gd name="connsiteY4683" fmla="*/ 3379651 h 4331342"/>
                <a:gd name="connsiteX4684" fmla="*/ 4136974 w 4753603"/>
                <a:gd name="connsiteY4684" fmla="*/ 3403854 h 4331342"/>
                <a:gd name="connsiteX4685" fmla="*/ 4134164 w 4753603"/>
                <a:gd name="connsiteY4685" fmla="*/ 3404550 h 4331342"/>
                <a:gd name="connsiteX4686" fmla="*/ 4093121 w 4753603"/>
                <a:gd name="connsiteY4686" fmla="*/ 3416570 h 4331342"/>
                <a:gd name="connsiteX4687" fmla="*/ 4090273 w 4753603"/>
                <a:gd name="connsiteY4687" fmla="*/ 3416960 h 4331342"/>
                <a:gd name="connsiteX4688" fmla="*/ 4089473 w 4753603"/>
                <a:gd name="connsiteY4688" fmla="*/ 3418180 h 4331342"/>
                <a:gd name="connsiteX4689" fmla="*/ 4071223 w 4753603"/>
                <a:gd name="connsiteY4689" fmla="*/ 3447355 h 4331342"/>
                <a:gd name="connsiteX4690" fmla="*/ 4074490 w 4753603"/>
                <a:gd name="connsiteY4690" fmla="*/ 3450574 h 4331342"/>
                <a:gd name="connsiteX4691" fmla="*/ 4088054 w 4753603"/>
                <a:gd name="connsiteY4691" fmla="*/ 3453613 h 4331342"/>
                <a:gd name="connsiteX4692" fmla="*/ 4092197 w 4753603"/>
                <a:gd name="connsiteY4692" fmla="*/ 3476768 h 4331342"/>
                <a:gd name="connsiteX4693" fmla="*/ 4077624 w 4753603"/>
                <a:gd name="connsiteY4693" fmla="*/ 3497390 h 4331342"/>
                <a:gd name="connsiteX4694" fmla="*/ 4033533 w 4753603"/>
                <a:gd name="connsiteY4694" fmla="*/ 3518107 h 4331342"/>
                <a:gd name="connsiteX4695" fmla="*/ 3995233 w 4753603"/>
                <a:gd name="connsiteY4695" fmla="*/ 3521764 h 4331342"/>
                <a:gd name="connsiteX4696" fmla="*/ 3976335 w 4753603"/>
                <a:gd name="connsiteY4696" fmla="*/ 3525203 h 4331342"/>
                <a:gd name="connsiteX4697" fmla="*/ 3977250 w 4753603"/>
                <a:gd name="connsiteY4697" fmla="*/ 3535747 h 4331342"/>
                <a:gd name="connsiteX4698" fmla="*/ 3955294 w 4753603"/>
                <a:gd name="connsiteY4698" fmla="*/ 3562674 h 4331342"/>
                <a:gd name="connsiteX4699" fmla="*/ 3949599 w 4753603"/>
                <a:gd name="connsiteY4699" fmla="*/ 3567703 h 4331342"/>
                <a:gd name="connsiteX4700" fmla="*/ 4066318 w 4753603"/>
                <a:gd name="connsiteY4700" fmla="*/ 3618595 h 4331342"/>
                <a:gd name="connsiteX4701" fmla="*/ 3980240 w 4753603"/>
                <a:gd name="connsiteY4701" fmla="*/ 3594164 h 4331342"/>
                <a:gd name="connsiteX4702" fmla="*/ 3970430 w 4753603"/>
                <a:gd name="connsiteY4702" fmla="*/ 3583686 h 4331342"/>
                <a:gd name="connsiteX4703" fmla="*/ 3977707 w 4753603"/>
                <a:gd name="connsiteY4703" fmla="*/ 3575904 h 4331342"/>
                <a:gd name="connsiteX4704" fmla="*/ 4044124 w 4753603"/>
                <a:gd name="connsiteY4704" fmla="*/ 3540224 h 4331342"/>
                <a:gd name="connsiteX4705" fmla="*/ 4073262 w 4753603"/>
                <a:gd name="connsiteY4705" fmla="*/ 3523774 h 4331342"/>
                <a:gd name="connsiteX4706" fmla="*/ 4095093 w 4753603"/>
                <a:gd name="connsiteY4706" fmla="*/ 3527498 h 4331342"/>
                <a:gd name="connsiteX4707" fmla="*/ 4089569 w 4753603"/>
                <a:gd name="connsiteY4707" fmla="*/ 3546729 h 4331342"/>
                <a:gd name="connsiteX4708" fmla="*/ 4089569 w 4753603"/>
                <a:gd name="connsiteY4708" fmla="*/ 3556730 h 4331342"/>
                <a:gd name="connsiteX4709" fmla="*/ 4100970 w 4753603"/>
                <a:gd name="connsiteY4709" fmla="*/ 3563503 h 4331342"/>
                <a:gd name="connsiteX4710" fmla="*/ 4081110 w 4753603"/>
                <a:gd name="connsiteY4710" fmla="*/ 3566970 h 4331342"/>
                <a:gd name="connsiteX4711" fmla="*/ 4069166 w 4753603"/>
                <a:gd name="connsiteY4711" fmla="*/ 3564722 h 4331342"/>
                <a:gd name="connsiteX4712" fmla="*/ 4054859 w 4753603"/>
                <a:gd name="connsiteY4712" fmla="*/ 3570875 h 4331342"/>
                <a:gd name="connsiteX4713" fmla="*/ 4067880 w 4753603"/>
                <a:gd name="connsiteY4713" fmla="*/ 3577381 h 4331342"/>
                <a:gd name="connsiteX4714" fmla="*/ 4099903 w 4753603"/>
                <a:gd name="connsiteY4714" fmla="*/ 3583543 h 4331342"/>
                <a:gd name="connsiteX4715" fmla="*/ 4106504 w 4753603"/>
                <a:gd name="connsiteY4715" fmla="*/ 3587944 h 4331342"/>
                <a:gd name="connsiteX4716" fmla="*/ 4098741 w 4753603"/>
                <a:gd name="connsiteY4716" fmla="*/ 3590935 h 4331342"/>
                <a:gd name="connsiteX4717" fmla="*/ 4048811 w 4753603"/>
                <a:gd name="connsiteY4717" fmla="*/ 3589553 h 4331342"/>
                <a:gd name="connsiteX4718" fmla="*/ 4032485 w 4753603"/>
                <a:gd name="connsiteY4718" fmla="*/ 3590649 h 4331342"/>
                <a:gd name="connsiteX4719" fmla="*/ 4112638 w 4753603"/>
                <a:gd name="connsiteY4719" fmla="*/ 3616290 h 4331342"/>
                <a:gd name="connsiteX4720" fmla="*/ 4066318 w 4753603"/>
                <a:gd name="connsiteY4720" fmla="*/ 3618595 h 4331342"/>
                <a:gd name="connsiteX4721" fmla="*/ 4211755 w 4753603"/>
                <a:gd name="connsiteY4721" fmla="*/ 3507591 h 4331342"/>
                <a:gd name="connsiteX4722" fmla="*/ 4203649 w 4753603"/>
                <a:gd name="connsiteY4722" fmla="*/ 3497894 h 4331342"/>
                <a:gd name="connsiteX4723" fmla="*/ 4191610 w 4753603"/>
                <a:gd name="connsiteY4723" fmla="*/ 3479854 h 4331342"/>
                <a:gd name="connsiteX4724" fmla="*/ 4189981 w 4753603"/>
                <a:gd name="connsiteY4724" fmla="*/ 3503371 h 4331342"/>
                <a:gd name="connsiteX4725" fmla="*/ 4193819 w 4753603"/>
                <a:gd name="connsiteY4725" fmla="*/ 3529489 h 4331342"/>
                <a:gd name="connsiteX4726" fmla="*/ 4185742 w 4753603"/>
                <a:gd name="connsiteY4726" fmla="*/ 3539090 h 4331342"/>
                <a:gd name="connsiteX4727" fmla="*/ 4179132 w 4753603"/>
                <a:gd name="connsiteY4727" fmla="*/ 3527879 h 4331342"/>
                <a:gd name="connsiteX4728" fmla="*/ 4174112 w 4753603"/>
                <a:gd name="connsiteY4728" fmla="*/ 3508677 h 4331342"/>
                <a:gd name="connsiteX4729" fmla="*/ 4164178 w 4753603"/>
                <a:gd name="connsiteY4729" fmla="*/ 3501524 h 4331342"/>
                <a:gd name="connsiteX4730" fmla="*/ 4158987 w 4753603"/>
                <a:gd name="connsiteY4730" fmla="*/ 3514468 h 4331342"/>
                <a:gd name="connsiteX4731" fmla="*/ 4165026 w 4753603"/>
                <a:gd name="connsiteY4731" fmla="*/ 3538214 h 4331342"/>
                <a:gd name="connsiteX4732" fmla="*/ 4161091 w 4753603"/>
                <a:gd name="connsiteY4732" fmla="*/ 3555063 h 4331342"/>
                <a:gd name="connsiteX4733" fmla="*/ 4147452 w 4753603"/>
                <a:gd name="connsiteY4733" fmla="*/ 3523783 h 4331342"/>
                <a:gd name="connsiteX4734" fmla="*/ 4137660 w 4753603"/>
                <a:gd name="connsiteY4734" fmla="*/ 3516316 h 4331342"/>
                <a:gd name="connsiteX4735" fmla="*/ 4132898 w 4753603"/>
                <a:gd name="connsiteY4735" fmla="*/ 3529041 h 4331342"/>
                <a:gd name="connsiteX4736" fmla="*/ 4139536 w 4753603"/>
                <a:gd name="connsiteY4736" fmla="*/ 3550853 h 4331342"/>
                <a:gd name="connsiteX4737" fmla="*/ 4137479 w 4753603"/>
                <a:gd name="connsiteY4737" fmla="*/ 3570237 h 4331342"/>
                <a:gd name="connsiteX4738" fmla="*/ 4113419 w 4753603"/>
                <a:gd name="connsiteY4738" fmla="*/ 3522174 h 4331342"/>
                <a:gd name="connsiteX4739" fmla="*/ 4115181 w 4753603"/>
                <a:gd name="connsiteY4739" fmla="*/ 3438249 h 4331342"/>
                <a:gd name="connsiteX4740" fmla="*/ 4119782 w 4753603"/>
                <a:gd name="connsiteY4740" fmla="*/ 3430648 h 4331342"/>
                <a:gd name="connsiteX4741" fmla="*/ 4185428 w 4753603"/>
                <a:gd name="connsiteY4741" fmla="*/ 3416379 h 4331342"/>
                <a:gd name="connsiteX4742" fmla="*/ 4197249 w 4753603"/>
                <a:gd name="connsiteY4742" fmla="*/ 3422018 h 4331342"/>
                <a:gd name="connsiteX4743" fmla="*/ 4218061 w 4753603"/>
                <a:gd name="connsiteY4743" fmla="*/ 3494818 h 4331342"/>
                <a:gd name="connsiteX4744" fmla="*/ 4211755 w 4753603"/>
                <a:gd name="connsiteY4744" fmla="*/ 3507591 h 4331342"/>
                <a:gd name="connsiteX4745" fmla="*/ 4312663 w 4753603"/>
                <a:gd name="connsiteY4745" fmla="*/ 3414827 h 4331342"/>
                <a:gd name="connsiteX4746" fmla="*/ 4305614 w 4753603"/>
                <a:gd name="connsiteY4746" fmla="*/ 3407940 h 4331342"/>
                <a:gd name="connsiteX4747" fmla="*/ 4299928 w 4753603"/>
                <a:gd name="connsiteY4747" fmla="*/ 3398339 h 4331342"/>
                <a:gd name="connsiteX4748" fmla="*/ 4294185 w 4753603"/>
                <a:gd name="connsiteY4748" fmla="*/ 3424038 h 4331342"/>
                <a:gd name="connsiteX4749" fmla="*/ 4290422 w 4753603"/>
                <a:gd name="connsiteY4749" fmla="*/ 3436401 h 4331342"/>
                <a:gd name="connsiteX4750" fmla="*/ 4279468 w 4753603"/>
                <a:gd name="connsiteY4750" fmla="*/ 3427581 h 4331342"/>
                <a:gd name="connsiteX4751" fmla="*/ 4273496 w 4753603"/>
                <a:gd name="connsiteY4751" fmla="*/ 3418561 h 4331342"/>
                <a:gd name="connsiteX4752" fmla="*/ 4265781 w 4753603"/>
                <a:gd name="connsiteY4752" fmla="*/ 3442002 h 4331342"/>
                <a:gd name="connsiteX4753" fmla="*/ 4260904 w 4753603"/>
                <a:gd name="connsiteY4753" fmla="*/ 3448927 h 4331342"/>
                <a:gd name="connsiteX4754" fmla="*/ 4254427 w 4753603"/>
                <a:gd name="connsiteY4754" fmla="*/ 3442926 h 4331342"/>
                <a:gd name="connsiteX4755" fmla="*/ 4251608 w 4753603"/>
                <a:gd name="connsiteY4755" fmla="*/ 3435830 h 4331342"/>
                <a:gd name="connsiteX4756" fmla="*/ 4244245 w 4753603"/>
                <a:gd name="connsiteY4756" fmla="*/ 3430172 h 4331342"/>
                <a:gd name="connsiteX4757" fmla="*/ 4243245 w 4753603"/>
                <a:gd name="connsiteY4757" fmla="*/ 3437849 h 4331342"/>
                <a:gd name="connsiteX4758" fmla="*/ 4242797 w 4753603"/>
                <a:gd name="connsiteY4758" fmla="*/ 3469919 h 4331342"/>
                <a:gd name="connsiteX4759" fmla="*/ 4230643 w 4753603"/>
                <a:gd name="connsiteY4759" fmla="*/ 3457289 h 4331342"/>
                <a:gd name="connsiteX4760" fmla="*/ 4217565 w 4753603"/>
                <a:gd name="connsiteY4760" fmla="*/ 3379013 h 4331342"/>
                <a:gd name="connsiteX4761" fmla="*/ 4175808 w 4753603"/>
                <a:gd name="connsiteY4761" fmla="*/ 3324406 h 4331342"/>
                <a:gd name="connsiteX4762" fmla="*/ 4146166 w 4753603"/>
                <a:gd name="connsiteY4762" fmla="*/ 3299041 h 4331342"/>
                <a:gd name="connsiteX4763" fmla="*/ 4125744 w 4753603"/>
                <a:gd name="connsiteY4763" fmla="*/ 3264808 h 4331342"/>
                <a:gd name="connsiteX4764" fmla="*/ 4102808 w 4753603"/>
                <a:gd name="connsiteY4764" fmla="*/ 3222069 h 4331342"/>
                <a:gd name="connsiteX4765" fmla="*/ 4074052 w 4753603"/>
                <a:gd name="connsiteY4765" fmla="*/ 3176130 h 4331342"/>
                <a:gd name="connsiteX4766" fmla="*/ 4073833 w 4753603"/>
                <a:gd name="connsiteY4766" fmla="*/ 3176130 h 4331342"/>
                <a:gd name="connsiteX4767" fmla="*/ 4066727 w 4753603"/>
                <a:gd name="connsiteY4767" fmla="*/ 3182065 h 4331342"/>
                <a:gd name="connsiteX4768" fmla="*/ 4110981 w 4753603"/>
                <a:gd name="connsiteY4768" fmla="*/ 3257417 h 4331342"/>
                <a:gd name="connsiteX4769" fmla="*/ 4102675 w 4753603"/>
                <a:gd name="connsiteY4769" fmla="*/ 3290221 h 4331342"/>
                <a:gd name="connsiteX4770" fmla="*/ 4056612 w 4753603"/>
                <a:gd name="connsiteY4770" fmla="*/ 3326159 h 4331342"/>
                <a:gd name="connsiteX4771" fmla="*/ 4029790 w 4753603"/>
                <a:gd name="connsiteY4771" fmla="*/ 3321053 h 4331342"/>
                <a:gd name="connsiteX4772" fmla="*/ 4002586 w 4753603"/>
                <a:gd name="connsiteY4772" fmla="*/ 3299651 h 4331342"/>
                <a:gd name="connsiteX4773" fmla="*/ 3961553 w 4753603"/>
                <a:gd name="connsiteY4773" fmla="*/ 3246006 h 4331342"/>
                <a:gd name="connsiteX4774" fmla="*/ 3945246 w 4753603"/>
                <a:gd name="connsiteY4774" fmla="*/ 3184903 h 4331342"/>
                <a:gd name="connsiteX4775" fmla="*/ 3938130 w 4753603"/>
                <a:gd name="connsiteY4775" fmla="*/ 3174835 h 4331342"/>
                <a:gd name="connsiteX4776" fmla="*/ 3925395 w 4753603"/>
                <a:gd name="connsiteY4776" fmla="*/ 3143422 h 4331342"/>
                <a:gd name="connsiteX4777" fmla="*/ 3939054 w 4753603"/>
                <a:gd name="connsiteY4777" fmla="*/ 3083919 h 4331342"/>
                <a:gd name="connsiteX4778" fmla="*/ 3903383 w 4753603"/>
                <a:gd name="connsiteY4778" fmla="*/ 3034256 h 4331342"/>
                <a:gd name="connsiteX4779" fmla="*/ 3869398 w 4753603"/>
                <a:gd name="connsiteY4779" fmla="*/ 3011576 h 4331342"/>
                <a:gd name="connsiteX4780" fmla="*/ 3854120 w 4753603"/>
                <a:gd name="connsiteY4780" fmla="*/ 3007005 h 4331342"/>
                <a:gd name="connsiteX4781" fmla="*/ 3835784 w 4753603"/>
                <a:gd name="connsiteY4781" fmla="*/ 3010081 h 4331342"/>
                <a:gd name="connsiteX4782" fmla="*/ 3802018 w 4753603"/>
                <a:gd name="connsiteY4782" fmla="*/ 2975258 h 4331342"/>
                <a:gd name="connsiteX4783" fmla="*/ 3817411 w 4753603"/>
                <a:gd name="connsiteY4783" fmla="*/ 2985059 h 4331342"/>
                <a:gd name="connsiteX4784" fmla="*/ 3815658 w 4753603"/>
                <a:gd name="connsiteY4784" fmla="*/ 2962647 h 4331342"/>
                <a:gd name="connsiteX4785" fmla="*/ 3800599 w 4753603"/>
                <a:gd name="connsiteY4785" fmla="*/ 2930747 h 4331342"/>
                <a:gd name="connsiteX4786" fmla="*/ 3805171 w 4753603"/>
                <a:gd name="connsiteY4786" fmla="*/ 2917403 h 4331342"/>
                <a:gd name="connsiteX4787" fmla="*/ 3815277 w 4753603"/>
                <a:gd name="connsiteY4787" fmla="*/ 2925290 h 4331342"/>
                <a:gd name="connsiteX4788" fmla="*/ 3827698 w 4753603"/>
                <a:gd name="connsiteY4788" fmla="*/ 2944168 h 4331342"/>
                <a:gd name="connsiteX4789" fmla="*/ 3828336 w 4753603"/>
                <a:gd name="connsiteY4789" fmla="*/ 2919089 h 4331342"/>
                <a:gd name="connsiteX4790" fmla="*/ 3814620 w 4753603"/>
                <a:gd name="connsiteY4790" fmla="*/ 2888247 h 4331342"/>
                <a:gd name="connsiteX4791" fmla="*/ 3818430 w 4753603"/>
                <a:gd name="connsiteY4791" fmla="*/ 2873150 h 4331342"/>
                <a:gd name="connsiteX4792" fmla="*/ 3829050 w 4753603"/>
                <a:gd name="connsiteY4792" fmla="*/ 2880684 h 4331342"/>
                <a:gd name="connsiteX4793" fmla="*/ 3847795 w 4753603"/>
                <a:gd name="connsiteY4793" fmla="*/ 2904649 h 4331342"/>
                <a:gd name="connsiteX4794" fmla="*/ 3854853 w 4753603"/>
                <a:gd name="connsiteY4794" fmla="*/ 2910640 h 4331342"/>
                <a:gd name="connsiteX4795" fmla="*/ 3843623 w 4753603"/>
                <a:gd name="connsiteY4795" fmla="*/ 2874093 h 4331342"/>
                <a:gd name="connsiteX4796" fmla="*/ 3833975 w 4753603"/>
                <a:gd name="connsiteY4796" fmla="*/ 2846480 h 4331342"/>
                <a:gd name="connsiteX4797" fmla="*/ 3834908 w 4753603"/>
                <a:gd name="connsiteY4797" fmla="*/ 2838222 h 4331342"/>
                <a:gd name="connsiteX4798" fmla="*/ 3842623 w 4753603"/>
                <a:gd name="connsiteY4798" fmla="*/ 2843460 h 4331342"/>
                <a:gd name="connsiteX4799" fmla="*/ 3881609 w 4753603"/>
                <a:gd name="connsiteY4799" fmla="*/ 2925032 h 4331342"/>
                <a:gd name="connsiteX4800" fmla="*/ 3924729 w 4753603"/>
                <a:gd name="connsiteY4800" fmla="*/ 2996765 h 4331342"/>
                <a:gd name="connsiteX4801" fmla="*/ 3983869 w 4753603"/>
                <a:gd name="connsiteY4801" fmla="*/ 3078204 h 4331342"/>
                <a:gd name="connsiteX4802" fmla="*/ 4024922 w 4753603"/>
                <a:gd name="connsiteY4802" fmla="*/ 3129296 h 4331342"/>
                <a:gd name="connsiteX4803" fmla="*/ 4065641 w 4753603"/>
                <a:gd name="connsiteY4803" fmla="*/ 3181750 h 4331342"/>
                <a:gd name="connsiteX4804" fmla="*/ 4073805 w 4753603"/>
                <a:gd name="connsiteY4804" fmla="*/ 3176130 h 4331342"/>
                <a:gd name="connsiteX4805" fmla="*/ 4074052 w 4753603"/>
                <a:gd name="connsiteY4805" fmla="*/ 3175997 h 4331342"/>
                <a:gd name="connsiteX4806" fmla="*/ 4074147 w 4753603"/>
                <a:gd name="connsiteY4806" fmla="*/ 3176130 h 4331342"/>
                <a:gd name="connsiteX4807" fmla="*/ 4037914 w 4753603"/>
                <a:gd name="connsiteY4807" fmla="*/ 3121285 h 4331342"/>
                <a:gd name="connsiteX4808" fmla="*/ 4032247 w 4753603"/>
                <a:gd name="connsiteY4808" fmla="*/ 3114056 h 4331342"/>
                <a:gd name="connsiteX4809" fmla="*/ 3968163 w 4753603"/>
                <a:gd name="connsiteY4809" fmla="*/ 3016720 h 4331342"/>
                <a:gd name="connsiteX4810" fmla="*/ 3921500 w 4753603"/>
                <a:gd name="connsiteY4810" fmla="*/ 2944940 h 4331342"/>
                <a:gd name="connsiteX4811" fmla="*/ 3884352 w 4753603"/>
                <a:gd name="connsiteY4811" fmla="*/ 2884446 h 4331342"/>
                <a:gd name="connsiteX4812" fmla="*/ 3850024 w 4753603"/>
                <a:gd name="connsiteY4812" fmla="*/ 2806103 h 4331342"/>
                <a:gd name="connsiteX4813" fmla="*/ 3849967 w 4753603"/>
                <a:gd name="connsiteY4813" fmla="*/ 2790863 h 4331342"/>
                <a:gd name="connsiteX4814" fmla="*/ 3860749 w 4753603"/>
                <a:gd name="connsiteY4814" fmla="*/ 2796293 h 4331342"/>
                <a:gd name="connsiteX4815" fmla="*/ 3871484 w 4753603"/>
                <a:gd name="connsiteY4815" fmla="*/ 2798102 h 4331342"/>
                <a:gd name="connsiteX4816" fmla="*/ 3867788 w 4753603"/>
                <a:gd name="connsiteY4816" fmla="*/ 2787120 h 4331342"/>
                <a:gd name="connsiteX4817" fmla="*/ 3863597 w 4753603"/>
                <a:gd name="connsiteY4817" fmla="*/ 2781338 h 4331342"/>
                <a:gd name="connsiteX4818" fmla="*/ 3863550 w 4753603"/>
                <a:gd name="connsiteY4818" fmla="*/ 2781529 h 4331342"/>
                <a:gd name="connsiteX4819" fmla="*/ 3862626 w 4753603"/>
                <a:gd name="connsiteY4819" fmla="*/ 2780891 h 4331342"/>
                <a:gd name="connsiteX4820" fmla="*/ 3863550 w 4753603"/>
                <a:gd name="connsiteY4820" fmla="*/ 2781338 h 4331342"/>
                <a:gd name="connsiteX4821" fmla="*/ 3877790 w 4753603"/>
                <a:gd name="connsiteY4821" fmla="*/ 2753820 h 4331342"/>
                <a:gd name="connsiteX4822" fmla="*/ 3879466 w 4753603"/>
                <a:gd name="connsiteY4822" fmla="*/ 2730275 h 4331342"/>
                <a:gd name="connsiteX4823" fmla="*/ 3882933 w 4753603"/>
                <a:gd name="connsiteY4823" fmla="*/ 2720816 h 4331342"/>
                <a:gd name="connsiteX4824" fmla="*/ 3891391 w 4753603"/>
                <a:gd name="connsiteY4824" fmla="*/ 2726065 h 4331342"/>
                <a:gd name="connsiteX4825" fmla="*/ 3921081 w 4753603"/>
                <a:gd name="connsiteY4825" fmla="*/ 2757497 h 4331342"/>
                <a:gd name="connsiteX4826" fmla="*/ 3926024 w 4753603"/>
                <a:gd name="connsiteY4826" fmla="*/ 2737980 h 4331342"/>
                <a:gd name="connsiteX4827" fmla="*/ 3966048 w 4753603"/>
                <a:gd name="connsiteY4827" fmla="*/ 2795959 h 4331342"/>
                <a:gd name="connsiteX4828" fmla="*/ 4096198 w 4753603"/>
                <a:gd name="connsiteY4828" fmla="*/ 2984030 h 4331342"/>
                <a:gd name="connsiteX4829" fmla="*/ 4198582 w 4753603"/>
                <a:gd name="connsiteY4829" fmla="*/ 3137564 h 4331342"/>
                <a:gd name="connsiteX4830" fmla="*/ 4251636 w 4753603"/>
                <a:gd name="connsiteY4830" fmla="*/ 3232804 h 4331342"/>
                <a:gd name="connsiteX4831" fmla="*/ 4314540 w 4753603"/>
                <a:gd name="connsiteY4831" fmla="*/ 3397082 h 4331342"/>
                <a:gd name="connsiteX4832" fmla="*/ 4312663 w 4753603"/>
                <a:gd name="connsiteY4832" fmla="*/ 3414827 h 4331342"/>
                <a:gd name="connsiteX4833" fmla="*/ 4429716 w 4753603"/>
                <a:gd name="connsiteY4833" fmla="*/ 2966304 h 4331342"/>
                <a:gd name="connsiteX4834" fmla="*/ 4480989 w 4753603"/>
                <a:gd name="connsiteY4834" fmla="*/ 2959427 h 4331342"/>
                <a:gd name="connsiteX4835" fmla="*/ 4490962 w 4753603"/>
                <a:gd name="connsiteY4835" fmla="*/ 2949950 h 4331342"/>
                <a:gd name="connsiteX4836" fmla="*/ 4519803 w 4753603"/>
                <a:gd name="connsiteY4836" fmla="*/ 2947388 h 4331342"/>
                <a:gd name="connsiteX4837" fmla="*/ 4532024 w 4753603"/>
                <a:gd name="connsiteY4837" fmla="*/ 2953712 h 4331342"/>
                <a:gd name="connsiteX4838" fmla="*/ 4544616 w 4753603"/>
                <a:gd name="connsiteY4838" fmla="*/ 2965780 h 4331342"/>
                <a:gd name="connsiteX4839" fmla="*/ 4540920 w 4753603"/>
                <a:gd name="connsiteY4839" fmla="*/ 3009043 h 4331342"/>
                <a:gd name="connsiteX4840" fmla="*/ 4494333 w 4753603"/>
                <a:gd name="connsiteY4840" fmla="*/ 3031150 h 4331342"/>
                <a:gd name="connsiteX4841" fmla="*/ 4489447 w 4753603"/>
                <a:gd name="connsiteY4841" fmla="*/ 3064840 h 4331342"/>
                <a:gd name="connsiteX4842" fmla="*/ 4470873 w 4753603"/>
                <a:gd name="connsiteY4842" fmla="*/ 3101607 h 4331342"/>
                <a:gd name="connsiteX4843" fmla="*/ 4424906 w 4753603"/>
                <a:gd name="connsiteY4843" fmla="*/ 3121324 h 4331342"/>
                <a:gd name="connsiteX4844" fmla="*/ 4412161 w 4753603"/>
                <a:gd name="connsiteY4844" fmla="*/ 3126372 h 4331342"/>
                <a:gd name="connsiteX4845" fmla="*/ 4381672 w 4753603"/>
                <a:gd name="connsiteY4845" fmla="*/ 3148022 h 4331342"/>
                <a:gd name="connsiteX4846" fmla="*/ 4372785 w 4753603"/>
                <a:gd name="connsiteY4846" fmla="*/ 3160281 h 4331342"/>
                <a:gd name="connsiteX4847" fmla="*/ 4360812 w 4753603"/>
                <a:gd name="connsiteY4847" fmla="*/ 3149965 h 4331342"/>
                <a:gd name="connsiteX4848" fmla="*/ 4343943 w 4753603"/>
                <a:gd name="connsiteY4848" fmla="*/ 3105522 h 4331342"/>
                <a:gd name="connsiteX4849" fmla="*/ 4368756 w 4753603"/>
                <a:gd name="connsiteY4849" fmla="*/ 3077051 h 4331342"/>
                <a:gd name="connsiteX4850" fmla="*/ 4427211 w 4753603"/>
                <a:gd name="connsiteY4850" fmla="*/ 3080109 h 4331342"/>
                <a:gd name="connsiteX4851" fmla="*/ 4446356 w 4753603"/>
                <a:gd name="connsiteY4851" fmla="*/ 3072822 h 4331342"/>
                <a:gd name="connsiteX4852" fmla="*/ 4426001 w 4753603"/>
                <a:gd name="connsiteY4852" fmla="*/ 3058392 h 4331342"/>
                <a:gd name="connsiteX4853" fmla="*/ 4398417 w 4753603"/>
                <a:gd name="connsiteY4853" fmla="*/ 3057106 h 4331342"/>
                <a:gd name="connsiteX4854" fmla="*/ 4459977 w 4753603"/>
                <a:gd name="connsiteY4854" fmla="*/ 3027864 h 4331342"/>
                <a:gd name="connsiteX4855" fmla="*/ 4498553 w 4753603"/>
                <a:gd name="connsiteY4855" fmla="*/ 3006262 h 4331342"/>
                <a:gd name="connsiteX4856" fmla="*/ 4502268 w 4753603"/>
                <a:gd name="connsiteY4856" fmla="*/ 2997356 h 4331342"/>
                <a:gd name="connsiteX4857" fmla="*/ 4492628 w 4753603"/>
                <a:gd name="connsiteY4857" fmla="*/ 2993651 h 4331342"/>
                <a:gd name="connsiteX4858" fmla="*/ 4466816 w 4753603"/>
                <a:gd name="connsiteY4858" fmla="*/ 2996908 h 4331342"/>
                <a:gd name="connsiteX4859" fmla="*/ 4453528 w 4753603"/>
                <a:gd name="connsiteY4859" fmla="*/ 3003309 h 4331342"/>
                <a:gd name="connsiteX4860" fmla="*/ 4453528 w 4753603"/>
                <a:gd name="connsiteY4860" fmla="*/ 3003280 h 4331342"/>
                <a:gd name="connsiteX4861" fmla="*/ 4431383 w 4753603"/>
                <a:gd name="connsiteY4861" fmla="*/ 3014986 h 4331342"/>
                <a:gd name="connsiteX4862" fmla="*/ 4410475 w 4753603"/>
                <a:gd name="connsiteY4862" fmla="*/ 3024540 h 4331342"/>
                <a:gd name="connsiteX4863" fmla="*/ 4399102 w 4753603"/>
                <a:gd name="connsiteY4863" fmla="*/ 3026959 h 4331342"/>
                <a:gd name="connsiteX4864" fmla="*/ 4398397 w 4753603"/>
                <a:gd name="connsiteY4864" fmla="*/ 3012624 h 4331342"/>
                <a:gd name="connsiteX4865" fmla="*/ 4400236 w 4753603"/>
                <a:gd name="connsiteY4865" fmla="*/ 2995975 h 4331342"/>
                <a:gd name="connsiteX4866" fmla="*/ 4391168 w 4753603"/>
                <a:gd name="connsiteY4866" fmla="*/ 2979791 h 4331342"/>
                <a:gd name="connsiteX4867" fmla="*/ 4381005 w 4753603"/>
                <a:gd name="connsiteY4867" fmla="*/ 2990622 h 4331342"/>
                <a:gd name="connsiteX4868" fmla="*/ 4371975 w 4753603"/>
                <a:gd name="connsiteY4868" fmla="*/ 3019301 h 4331342"/>
                <a:gd name="connsiteX4869" fmla="*/ 4371413 w 4753603"/>
                <a:gd name="connsiteY4869" fmla="*/ 3021063 h 4331342"/>
                <a:gd name="connsiteX4870" fmla="*/ 4362831 w 4753603"/>
                <a:gd name="connsiteY4870" fmla="*/ 3034208 h 4331342"/>
                <a:gd name="connsiteX4871" fmla="*/ 4353392 w 4753603"/>
                <a:gd name="connsiteY4871" fmla="*/ 3046095 h 4331342"/>
                <a:gd name="connsiteX4872" fmla="*/ 4331722 w 4753603"/>
                <a:gd name="connsiteY4872" fmla="*/ 3038999 h 4331342"/>
                <a:gd name="connsiteX4873" fmla="*/ 4317502 w 4753603"/>
                <a:gd name="connsiteY4873" fmla="*/ 3033713 h 4331342"/>
                <a:gd name="connsiteX4874" fmla="*/ 4306843 w 4753603"/>
                <a:gd name="connsiteY4874" fmla="*/ 3033579 h 4331342"/>
                <a:gd name="connsiteX4875" fmla="*/ 4306843 w 4753603"/>
                <a:gd name="connsiteY4875" fmla="*/ 3023292 h 4331342"/>
                <a:gd name="connsiteX4876" fmla="*/ 4337009 w 4753603"/>
                <a:gd name="connsiteY4876" fmla="*/ 2997137 h 4331342"/>
                <a:gd name="connsiteX4877" fmla="*/ 4388187 w 4753603"/>
                <a:gd name="connsiteY4877" fmla="*/ 2964190 h 4331342"/>
                <a:gd name="connsiteX4878" fmla="*/ 4429716 w 4753603"/>
                <a:gd name="connsiteY4878" fmla="*/ 2966304 h 4331342"/>
                <a:gd name="connsiteX4879" fmla="*/ 4212517 w 4753603"/>
                <a:gd name="connsiteY4879" fmla="*/ 2835983 h 4331342"/>
                <a:gd name="connsiteX4880" fmla="*/ 4240359 w 4753603"/>
                <a:gd name="connsiteY4880" fmla="*/ 2792263 h 4331342"/>
                <a:gd name="connsiteX4881" fmla="*/ 4256780 w 4753603"/>
                <a:gd name="connsiteY4881" fmla="*/ 2787196 h 4331342"/>
                <a:gd name="connsiteX4882" fmla="*/ 4296299 w 4753603"/>
                <a:gd name="connsiteY4882" fmla="*/ 2768794 h 4331342"/>
                <a:gd name="connsiteX4883" fmla="*/ 4325179 w 4753603"/>
                <a:gd name="connsiteY4883" fmla="*/ 2723245 h 4331342"/>
                <a:gd name="connsiteX4884" fmla="*/ 4334590 w 4753603"/>
                <a:gd name="connsiteY4884" fmla="*/ 2718711 h 4331342"/>
                <a:gd name="connsiteX4885" fmla="*/ 4371413 w 4753603"/>
                <a:gd name="connsiteY4885" fmla="*/ 2719254 h 4331342"/>
                <a:gd name="connsiteX4886" fmla="*/ 4383939 w 4753603"/>
                <a:gd name="connsiteY4886" fmla="*/ 2726008 h 4331342"/>
                <a:gd name="connsiteX4887" fmla="*/ 4409723 w 4753603"/>
                <a:gd name="connsiteY4887" fmla="*/ 2700833 h 4331342"/>
                <a:gd name="connsiteX4888" fmla="*/ 4419867 w 4753603"/>
                <a:gd name="connsiteY4888" fmla="*/ 2690117 h 4331342"/>
                <a:gd name="connsiteX4889" fmla="*/ 4420353 w 4753603"/>
                <a:gd name="connsiteY4889" fmla="*/ 2690003 h 4331342"/>
                <a:gd name="connsiteX4890" fmla="*/ 4431145 w 4753603"/>
                <a:gd name="connsiteY4890" fmla="*/ 2681878 h 4331342"/>
                <a:gd name="connsiteX4891" fmla="*/ 4430973 w 4753603"/>
                <a:gd name="connsiteY4891" fmla="*/ 2682088 h 4331342"/>
                <a:gd name="connsiteX4892" fmla="*/ 4509164 w 4753603"/>
                <a:gd name="connsiteY4892" fmla="*/ 2685479 h 4331342"/>
                <a:gd name="connsiteX4893" fmla="*/ 4515279 w 4753603"/>
                <a:gd name="connsiteY4893" fmla="*/ 2710339 h 4331342"/>
                <a:gd name="connsiteX4894" fmla="*/ 4497124 w 4753603"/>
                <a:gd name="connsiteY4894" fmla="*/ 2747610 h 4331342"/>
                <a:gd name="connsiteX4895" fmla="*/ 4496839 w 4753603"/>
                <a:gd name="connsiteY4895" fmla="*/ 2749439 h 4331342"/>
                <a:gd name="connsiteX4896" fmla="*/ 4453195 w 4753603"/>
                <a:gd name="connsiteY4896" fmla="*/ 2787149 h 4331342"/>
                <a:gd name="connsiteX4897" fmla="*/ 4443241 w 4753603"/>
                <a:gd name="connsiteY4897" fmla="*/ 2799569 h 4331342"/>
                <a:gd name="connsiteX4898" fmla="*/ 4462939 w 4753603"/>
                <a:gd name="connsiteY4898" fmla="*/ 2817752 h 4331342"/>
                <a:gd name="connsiteX4899" fmla="*/ 4459691 w 4753603"/>
                <a:gd name="connsiteY4899" fmla="*/ 2836640 h 4331342"/>
                <a:gd name="connsiteX4900" fmla="*/ 4444080 w 4753603"/>
                <a:gd name="connsiteY4900" fmla="*/ 2852147 h 4331342"/>
                <a:gd name="connsiteX4901" fmla="*/ 4441089 w 4753603"/>
                <a:gd name="connsiteY4901" fmla="*/ 2855176 h 4331342"/>
                <a:gd name="connsiteX4902" fmla="*/ 4441089 w 4753603"/>
                <a:gd name="connsiteY4902" fmla="*/ 2855128 h 4331342"/>
                <a:gd name="connsiteX4903" fmla="*/ 4434640 w 4753603"/>
                <a:gd name="connsiteY4903" fmla="*/ 2867473 h 4331342"/>
                <a:gd name="connsiteX4904" fmla="*/ 4384672 w 4753603"/>
                <a:gd name="connsiteY4904" fmla="*/ 2894952 h 4331342"/>
                <a:gd name="connsiteX4905" fmla="*/ 4384110 w 4753603"/>
                <a:gd name="connsiteY4905" fmla="*/ 2895362 h 4331342"/>
                <a:gd name="connsiteX4906" fmla="*/ 4382138 w 4753603"/>
                <a:gd name="connsiteY4906" fmla="*/ 2897229 h 4331342"/>
                <a:gd name="connsiteX4907" fmla="*/ 4375195 w 4753603"/>
                <a:gd name="connsiteY4907" fmla="*/ 2898315 h 4331342"/>
                <a:gd name="connsiteX4908" fmla="*/ 4367803 w 4753603"/>
                <a:gd name="connsiteY4908" fmla="*/ 2933567 h 4331342"/>
                <a:gd name="connsiteX4909" fmla="*/ 4362803 w 4753603"/>
                <a:gd name="connsiteY4909" fmla="*/ 2951321 h 4331342"/>
                <a:gd name="connsiteX4910" fmla="*/ 4294756 w 4753603"/>
                <a:gd name="connsiteY4910" fmla="*/ 2995108 h 4331342"/>
                <a:gd name="connsiteX4911" fmla="*/ 4280783 w 4753603"/>
                <a:gd name="connsiteY4911" fmla="*/ 2990926 h 4331342"/>
                <a:gd name="connsiteX4912" fmla="*/ 4274163 w 4753603"/>
                <a:gd name="connsiteY4912" fmla="*/ 2984869 h 4331342"/>
                <a:gd name="connsiteX4913" fmla="*/ 4252960 w 4753603"/>
                <a:gd name="connsiteY4913" fmla="*/ 2938901 h 4331342"/>
                <a:gd name="connsiteX4914" fmla="*/ 4326179 w 4753603"/>
                <a:gd name="connsiteY4914" fmla="*/ 2932195 h 4331342"/>
                <a:gd name="connsiteX4915" fmla="*/ 4330580 w 4753603"/>
                <a:gd name="connsiteY4915" fmla="*/ 2926318 h 4331342"/>
                <a:gd name="connsiteX4916" fmla="*/ 4279992 w 4753603"/>
                <a:gd name="connsiteY4916" fmla="*/ 2915927 h 4331342"/>
                <a:gd name="connsiteX4917" fmla="*/ 4277487 w 4753603"/>
                <a:gd name="connsiteY4917" fmla="*/ 2901048 h 4331342"/>
                <a:gd name="connsiteX4918" fmla="*/ 4330751 w 4753603"/>
                <a:gd name="connsiteY4918" fmla="*/ 2854652 h 4331342"/>
                <a:gd name="connsiteX4919" fmla="*/ 4357955 w 4753603"/>
                <a:gd name="connsiteY4919" fmla="*/ 2852166 h 4331342"/>
                <a:gd name="connsiteX4920" fmla="*/ 4418581 w 4753603"/>
                <a:gd name="connsiteY4920" fmla="*/ 2848613 h 4331342"/>
                <a:gd name="connsiteX4921" fmla="*/ 4418105 w 4753603"/>
                <a:gd name="connsiteY4921" fmla="*/ 2834154 h 4331342"/>
                <a:gd name="connsiteX4922" fmla="*/ 4390711 w 4753603"/>
                <a:gd name="connsiteY4922" fmla="*/ 2830316 h 4331342"/>
                <a:gd name="connsiteX4923" fmla="*/ 4346782 w 4753603"/>
                <a:gd name="connsiteY4923" fmla="*/ 2830316 h 4331342"/>
                <a:gd name="connsiteX4924" fmla="*/ 4406351 w 4753603"/>
                <a:gd name="connsiteY4924" fmla="*/ 2781024 h 4331342"/>
                <a:gd name="connsiteX4925" fmla="*/ 4448489 w 4753603"/>
                <a:gd name="connsiteY4925" fmla="*/ 2732361 h 4331342"/>
                <a:gd name="connsiteX4926" fmla="*/ 4448013 w 4753603"/>
                <a:gd name="connsiteY4926" fmla="*/ 2719140 h 4331342"/>
                <a:gd name="connsiteX4927" fmla="*/ 4422010 w 4753603"/>
                <a:gd name="connsiteY4927" fmla="*/ 2737695 h 4331342"/>
                <a:gd name="connsiteX4928" fmla="*/ 4359516 w 4753603"/>
                <a:gd name="connsiteY4928" fmla="*/ 2786882 h 4331342"/>
                <a:gd name="connsiteX4929" fmla="*/ 4346553 w 4753603"/>
                <a:gd name="connsiteY4929" fmla="*/ 2791559 h 4331342"/>
                <a:gd name="connsiteX4930" fmla="*/ 4343476 w 4753603"/>
                <a:gd name="connsiteY4930" fmla="*/ 2777404 h 4331342"/>
                <a:gd name="connsiteX4931" fmla="*/ 4345582 w 4753603"/>
                <a:gd name="connsiteY4931" fmla="*/ 2766003 h 4331342"/>
                <a:gd name="connsiteX4932" fmla="*/ 4333113 w 4753603"/>
                <a:gd name="connsiteY4932" fmla="*/ 2753763 h 4331342"/>
                <a:gd name="connsiteX4933" fmla="*/ 4322007 w 4753603"/>
                <a:gd name="connsiteY4933" fmla="*/ 2768889 h 4331342"/>
                <a:gd name="connsiteX4934" fmla="*/ 4312768 w 4753603"/>
                <a:gd name="connsiteY4934" fmla="*/ 2800131 h 4331342"/>
                <a:gd name="connsiteX4935" fmla="*/ 4313539 w 4753603"/>
                <a:gd name="connsiteY4935" fmla="*/ 2800941 h 4331342"/>
                <a:gd name="connsiteX4936" fmla="*/ 4312311 w 4753603"/>
                <a:gd name="connsiteY4936" fmla="*/ 2802769 h 4331342"/>
                <a:gd name="connsiteX4937" fmla="*/ 4311701 w 4753603"/>
                <a:gd name="connsiteY4937" fmla="*/ 2805589 h 4331342"/>
                <a:gd name="connsiteX4938" fmla="*/ 4274420 w 4753603"/>
                <a:gd name="connsiteY4938" fmla="*/ 2871492 h 4331342"/>
                <a:gd name="connsiteX4939" fmla="*/ 4261676 w 4753603"/>
                <a:gd name="connsiteY4939" fmla="*/ 2867578 h 4331342"/>
                <a:gd name="connsiteX4940" fmla="*/ 4252227 w 4753603"/>
                <a:gd name="connsiteY4940" fmla="*/ 2844889 h 4331342"/>
                <a:gd name="connsiteX4941" fmla="*/ 4245940 w 4753603"/>
                <a:gd name="connsiteY4941" fmla="*/ 2843136 h 4331342"/>
                <a:gd name="connsiteX4942" fmla="*/ 4236396 w 4753603"/>
                <a:gd name="connsiteY4942" fmla="*/ 2905525 h 4331342"/>
                <a:gd name="connsiteX4943" fmla="*/ 4220899 w 4753603"/>
                <a:gd name="connsiteY4943" fmla="*/ 2898391 h 4331342"/>
                <a:gd name="connsiteX4944" fmla="*/ 4221071 w 4753603"/>
                <a:gd name="connsiteY4944" fmla="*/ 2898391 h 4331342"/>
                <a:gd name="connsiteX4945" fmla="*/ 4218032 w 4753603"/>
                <a:gd name="connsiteY4945" fmla="*/ 2895562 h 4331342"/>
                <a:gd name="connsiteX4946" fmla="*/ 4211384 w 4753603"/>
                <a:gd name="connsiteY4946" fmla="*/ 2886275 h 4331342"/>
                <a:gd name="connsiteX4947" fmla="*/ 4212517 w 4753603"/>
                <a:gd name="connsiteY4947" fmla="*/ 2835983 h 4331342"/>
                <a:gd name="connsiteX4948" fmla="*/ 4269810 w 4753603"/>
                <a:gd name="connsiteY4948" fmla="*/ 3019016 h 4331342"/>
                <a:gd name="connsiteX4949" fmla="*/ 4366498 w 4753603"/>
                <a:gd name="connsiteY4949" fmla="*/ 3207820 h 4331342"/>
                <a:gd name="connsiteX4950" fmla="*/ 4404675 w 4753603"/>
                <a:gd name="connsiteY4950" fmla="*/ 3313900 h 4331342"/>
                <a:gd name="connsiteX4951" fmla="*/ 4409961 w 4753603"/>
                <a:gd name="connsiteY4951" fmla="*/ 3341846 h 4331342"/>
                <a:gd name="connsiteX4952" fmla="*/ 4395340 w 4753603"/>
                <a:gd name="connsiteY4952" fmla="*/ 3324835 h 4331342"/>
                <a:gd name="connsiteX4953" fmla="*/ 4385834 w 4753603"/>
                <a:gd name="connsiteY4953" fmla="*/ 3371050 h 4331342"/>
                <a:gd name="connsiteX4954" fmla="*/ 4369794 w 4753603"/>
                <a:gd name="connsiteY4954" fmla="*/ 3339979 h 4331342"/>
                <a:gd name="connsiteX4955" fmla="*/ 4369794 w 4753603"/>
                <a:gd name="connsiteY4955" fmla="*/ 3385461 h 4331342"/>
                <a:gd name="connsiteX4956" fmla="*/ 4351782 w 4753603"/>
                <a:gd name="connsiteY4956" fmla="*/ 3362868 h 4331342"/>
                <a:gd name="connsiteX4957" fmla="*/ 4344296 w 4753603"/>
                <a:gd name="connsiteY4957" fmla="*/ 3406350 h 4331342"/>
                <a:gd name="connsiteX4958" fmla="*/ 4300300 w 4753603"/>
                <a:gd name="connsiteY4958" fmla="*/ 3301260 h 4331342"/>
                <a:gd name="connsiteX4959" fmla="*/ 4151271 w 4753603"/>
                <a:gd name="connsiteY4959" fmla="*/ 3027998 h 4331342"/>
                <a:gd name="connsiteX4960" fmla="*/ 4004367 w 4753603"/>
                <a:gd name="connsiteY4960" fmla="*/ 2825458 h 4331342"/>
                <a:gd name="connsiteX4961" fmla="*/ 3928891 w 4753603"/>
                <a:gd name="connsiteY4961" fmla="*/ 2678297 h 4331342"/>
                <a:gd name="connsiteX4962" fmla="*/ 3923757 w 4753603"/>
                <a:gd name="connsiteY4962" fmla="*/ 2639987 h 4331342"/>
                <a:gd name="connsiteX4963" fmla="*/ 3946598 w 4753603"/>
                <a:gd name="connsiteY4963" fmla="*/ 2643921 h 4331342"/>
                <a:gd name="connsiteX4964" fmla="*/ 3944198 w 4753603"/>
                <a:gd name="connsiteY4964" fmla="*/ 2619623 h 4331342"/>
                <a:gd name="connsiteX4965" fmla="*/ 3952589 w 4753603"/>
                <a:gd name="connsiteY4965" fmla="*/ 2608298 h 4331342"/>
                <a:gd name="connsiteX4966" fmla="*/ 3958704 w 4753603"/>
                <a:gd name="connsiteY4966" fmla="*/ 2600335 h 4331342"/>
                <a:gd name="connsiteX4967" fmla="*/ 3952208 w 4753603"/>
                <a:gd name="connsiteY4967" fmla="*/ 2562577 h 4331342"/>
                <a:gd name="connsiteX4968" fmla="*/ 3972925 w 4753603"/>
                <a:gd name="connsiteY4968" fmla="*/ 2574446 h 4331342"/>
                <a:gd name="connsiteX4969" fmla="*/ 3960857 w 4753603"/>
                <a:gd name="connsiteY4969" fmla="*/ 2529954 h 4331342"/>
                <a:gd name="connsiteX4970" fmla="*/ 3984460 w 4753603"/>
                <a:gd name="connsiteY4970" fmla="*/ 2546833 h 4331342"/>
                <a:gd name="connsiteX4971" fmla="*/ 3968944 w 4753603"/>
                <a:gd name="connsiteY4971" fmla="*/ 2445858 h 4331342"/>
                <a:gd name="connsiteX4972" fmla="*/ 4043382 w 4753603"/>
                <a:gd name="connsiteY4972" fmla="*/ 2639225 h 4331342"/>
                <a:gd name="connsiteX4973" fmla="*/ 3988965 w 4753603"/>
                <a:gd name="connsiteY4973" fmla="*/ 2642102 h 4331342"/>
                <a:gd name="connsiteX4974" fmla="*/ 3951732 w 4753603"/>
                <a:gd name="connsiteY4974" fmla="*/ 2691327 h 4331342"/>
                <a:gd name="connsiteX4975" fmla="*/ 3975459 w 4753603"/>
                <a:gd name="connsiteY4975" fmla="*/ 2713596 h 4331342"/>
                <a:gd name="connsiteX4976" fmla="*/ 4040762 w 4753603"/>
                <a:gd name="connsiteY4976" fmla="*/ 2712187 h 4331342"/>
                <a:gd name="connsiteX4977" fmla="*/ 4061746 w 4753603"/>
                <a:gd name="connsiteY4977" fmla="*/ 2707881 h 4331342"/>
                <a:gd name="connsiteX4978" fmla="*/ 4086111 w 4753603"/>
                <a:gd name="connsiteY4978" fmla="*/ 2719188 h 4331342"/>
                <a:gd name="connsiteX4979" fmla="*/ 4172779 w 4753603"/>
                <a:gd name="connsiteY4979" fmla="*/ 2859176 h 4331342"/>
                <a:gd name="connsiteX4980" fmla="*/ 4269810 w 4753603"/>
                <a:gd name="connsiteY4980" fmla="*/ 3019016 h 4331342"/>
                <a:gd name="connsiteX4981" fmla="*/ 4043125 w 4753603"/>
                <a:gd name="connsiteY4981" fmla="*/ 2685221 h 4331342"/>
                <a:gd name="connsiteX4982" fmla="*/ 4029618 w 4753603"/>
                <a:gd name="connsiteY4982" fmla="*/ 2694432 h 4331342"/>
                <a:gd name="connsiteX4983" fmla="*/ 3993556 w 4753603"/>
                <a:gd name="connsiteY4983" fmla="*/ 2694556 h 4331342"/>
                <a:gd name="connsiteX4984" fmla="*/ 3985555 w 4753603"/>
                <a:gd name="connsiteY4984" fmla="*/ 2675525 h 4331342"/>
                <a:gd name="connsiteX4985" fmla="*/ 4034057 w 4753603"/>
                <a:gd name="connsiteY4985" fmla="*/ 2673582 h 4331342"/>
                <a:gd name="connsiteX4986" fmla="*/ 4043125 w 4753603"/>
                <a:gd name="connsiteY4986" fmla="*/ 2685221 h 4331342"/>
                <a:gd name="connsiteX4987" fmla="*/ 4243197 w 4753603"/>
                <a:gd name="connsiteY4987" fmla="*/ 2482006 h 4331342"/>
                <a:gd name="connsiteX4988" fmla="*/ 4236044 w 4753603"/>
                <a:gd name="connsiteY4988" fmla="*/ 2490492 h 4331342"/>
                <a:gd name="connsiteX4989" fmla="*/ 4228738 w 4753603"/>
                <a:gd name="connsiteY4989" fmla="*/ 2501113 h 4331342"/>
                <a:gd name="connsiteX4990" fmla="*/ 4228129 w 4753603"/>
                <a:gd name="connsiteY4990" fmla="*/ 2500941 h 4331342"/>
                <a:gd name="connsiteX4991" fmla="*/ 4240159 w 4753603"/>
                <a:gd name="connsiteY4991" fmla="*/ 2534050 h 4331342"/>
                <a:gd name="connsiteX4992" fmla="*/ 4250751 w 4753603"/>
                <a:gd name="connsiteY4992" fmla="*/ 2541623 h 4331342"/>
                <a:gd name="connsiteX4993" fmla="*/ 4250751 w 4753603"/>
                <a:gd name="connsiteY4993" fmla="*/ 2542918 h 4331342"/>
                <a:gd name="connsiteX4994" fmla="*/ 4258132 w 4753603"/>
                <a:gd name="connsiteY4994" fmla="*/ 2592296 h 4331342"/>
                <a:gd name="connsiteX4995" fmla="*/ 4239473 w 4753603"/>
                <a:gd name="connsiteY4995" fmla="*/ 2631481 h 4331342"/>
                <a:gd name="connsiteX4996" fmla="*/ 4246540 w 4753603"/>
                <a:gd name="connsiteY4996" fmla="*/ 2580466 h 4331342"/>
                <a:gd name="connsiteX4997" fmla="*/ 4235187 w 4753603"/>
                <a:gd name="connsiteY4997" fmla="*/ 2572131 h 4331342"/>
                <a:gd name="connsiteX4998" fmla="*/ 4220852 w 4753603"/>
                <a:gd name="connsiteY4998" fmla="*/ 2560701 h 4331342"/>
                <a:gd name="connsiteX4999" fmla="*/ 4220756 w 4753603"/>
                <a:gd name="connsiteY4999" fmla="*/ 2391356 h 4331342"/>
                <a:gd name="connsiteX5000" fmla="*/ 4220099 w 4753603"/>
                <a:gd name="connsiteY5000" fmla="*/ 2382536 h 4331342"/>
                <a:gd name="connsiteX5001" fmla="*/ 4202440 w 4753603"/>
                <a:gd name="connsiteY5001" fmla="*/ 2420826 h 4331342"/>
                <a:gd name="connsiteX5002" fmla="*/ 4197963 w 4753603"/>
                <a:gd name="connsiteY5002" fmla="*/ 2428075 h 4331342"/>
                <a:gd name="connsiteX5003" fmla="*/ 4190857 w 4753603"/>
                <a:gd name="connsiteY5003" fmla="*/ 2422770 h 4331342"/>
                <a:gd name="connsiteX5004" fmla="*/ 4145223 w 4753603"/>
                <a:gd name="connsiteY5004" fmla="*/ 2300383 h 4331342"/>
                <a:gd name="connsiteX5005" fmla="*/ 4138546 w 4753603"/>
                <a:gd name="connsiteY5005" fmla="*/ 2238127 h 4331342"/>
                <a:gd name="connsiteX5006" fmla="*/ 4126668 w 4753603"/>
                <a:gd name="connsiteY5006" fmla="*/ 2240947 h 4331342"/>
                <a:gd name="connsiteX5007" fmla="*/ 4119925 w 4753603"/>
                <a:gd name="connsiteY5007" fmla="*/ 2289496 h 4331342"/>
                <a:gd name="connsiteX5008" fmla="*/ 4110600 w 4753603"/>
                <a:gd name="connsiteY5008" fmla="*/ 2281552 h 4331342"/>
                <a:gd name="connsiteX5009" fmla="*/ 4088664 w 4753603"/>
                <a:gd name="connsiteY5009" fmla="*/ 2250815 h 4331342"/>
                <a:gd name="connsiteX5010" fmla="*/ 4062718 w 4753603"/>
                <a:gd name="connsiteY5010" fmla="*/ 2182978 h 4331342"/>
                <a:gd name="connsiteX5011" fmla="*/ 4044953 w 4753603"/>
                <a:gd name="connsiteY5011" fmla="*/ 2164842 h 4331342"/>
                <a:gd name="connsiteX5012" fmla="*/ 4039524 w 4753603"/>
                <a:gd name="connsiteY5012" fmla="*/ 2175034 h 4331342"/>
                <a:gd name="connsiteX5013" fmla="*/ 4047696 w 4753603"/>
                <a:gd name="connsiteY5013" fmla="*/ 2207905 h 4331342"/>
                <a:gd name="connsiteX5014" fmla="*/ 4048239 w 4753603"/>
                <a:gd name="connsiteY5014" fmla="*/ 2210305 h 4331342"/>
                <a:gd name="connsiteX5015" fmla="*/ 4050849 w 4753603"/>
                <a:gd name="connsiteY5015" fmla="*/ 2213924 h 4331342"/>
                <a:gd name="connsiteX5016" fmla="*/ 4051326 w 4753603"/>
                <a:gd name="connsiteY5016" fmla="*/ 2216058 h 4331342"/>
                <a:gd name="connsiteX5017" fmla="*/ 4064099 w 4753603"/>
                <a:gd name="connsiteY5017" fmla="*/ 2244347 h 4331342"/>
                <a:gd name="connsiteX5018" fmla="*/ 4079777 w 4753603"/>
                <a:gd name="connsiteY5018" fmla="*/ 2268998 h 4331342"/>
                <a:gd name="connsiteX5019" fmla="*/ 4085873 w 4753603"/>
                <a:gd name="connsiteY5019" fmla="*/ 2281361 h 4331342"/>
                <a:gd name="connsiteX5020" fmla="*/ 4085873 w 4753603"/>
                <a:gd name="connsiteY5020" fmla="*/ 2281419 h 4331342"/>
                <a:gd name="connsiteX5021" fmla="*/ 4092674 w 4753603"/>
                <a:gd name="connsiteY5021" fmla="*/ 2296897 h 4331342"/>
                <a:gd name="connsiteX5022" fmla="*/ 4094350 w 4753603"/>
                <a:gd name="connsiteY5022" fmla="*/ 2297459 h 4331342"/>
                <a:gd name="connsiteX5023" fmla="*/ 4101599 w 4753603"/>
                <a:gd name="connsiteY5023" fmla="*/ 2309146 h 4331342"/>
                <a:gd name="connsiteX5024" fmla="*/ 4104732 w 4753603"/>
                <a:gd name="connsiteY5024" fmla="*/ 2312165 h 4331342"/>
                <a:gd name="connsiteX5025" fmla="*/ 4112743 w 4753603"/>
                <a:gd name="connsiteY5025" fmla="*/ 2326453 h 4331342"/>
                <a:gd name="connsiteX5026" fmla="*/ 4098741 w 4753603"/>
                <a:gd name="connsiteY5026" fmla="*/ 2324110 h 4331342"/>
                <a:gd name="connsiteX5027" fmla="*/ 4095083 w 4753603"/>
                <a:gd name="connsiteY5027" fmla="*/ 2321919 h 4331342"/>
                <a:gd name="connsiteX5028" fmla="*/ 4088664 w 4753603"/>
                <a:gd name="connsiteY5028" fmla="*/ 2318423 h 4331342"/>
                <a:gd name="connsiteX5029" fmla="*/ 4085796 w 4753603"/>
                <a:gd name="connsiteY5029" fmla="*/ 2315709 h 4331342"/>
                <a:gd name="connsiteX5030" fmla="*/ 4079396 w 4753603"/>
                <a:gd name="connsiteY5030" fmla="*/ 2312603 h 4331342"/>
                <a:gd name="connsiteX5031" fmla="*/ 4057841 w 4753603"/>
                <a:gd name="connsiteY5031" fmla="*/ 2292953 h 4331342"/>
                <a:gd name="connsiteX5032" fmla="*/ 4040019 w 4753603"/>
                <a:gd name="connsiteY5032" fmla="*/ 2288600 h 4331342"/>
                <a:gd name="connsiteX5033" fmla="*/ 4070137 w 4753603"/>
                <a:gd name="connsiteY5033" fmla="*/ 2331520 h 4331342"/>
                <a:gd name="connsiteX5034" fmla="*/ 4091702 w 4753603"/>
                <a:gd name="connsiteY5034" fmla="*/ 2348665 h 4331342"/>
                <a:gd name="connsiteX5035" fmla="*/ 4133088 w 4753603"/>
                <a:gd name="connsiteY5035" fmla="*/ 2374449 h 4331342"/>
                <a:gd name="connsiteX5036" fmla="*/ 4179056 w 4753603"/>
                <a:gd name="connsiteY5036" fmla="*/ 2447173 h 4331342"/>
                <a:gd name="connsiteX5037" fmla="*/ 4180666 w 4753603"/>
                <a:gd name="connsiteY5037" fmla="*/ 2451249 h 4331342"/>
                <a:gd name="connsiteX5038" fmla="*/ 4187085 w 4753603"/>
                <a:gd name="connsiteY5038" fmla="*/ 2479396 h 4331342"/>
                <a:gd name="connsiteX5039" fmla="*/ 4170388 w 4753603"/>
                <a:gd name="connsiteY5039" fmla="*/ 2469718 h 4331342"/>
                <a:gd name="connsiteX5040" fmla="*/ 4168016 w 4753603"/>
                <a:gd name="connsiteY5040" fmla="*/ 2469128 h 4331342"/>
                <a:gd name="connsiteX5041" fmla="*/ 4164054 w 4753603"/>
                <a:gd name="connsiteY5041" fmla="*/ 2466661 h 4331342"/>
                <a:gd name="connsiteX5042" fmla="*/ 4154300 w 4753603"/>
                <a:gd name="connsiteY5042" fmla="*/ 2460479 h 4331342"/>
                <a:gd name="connsiteX5043" fmla="*/ 4148423 w 4753603"/>
                <a:gd name="connsiteY5043" fmla="*/ 2457536 h 4331342"/>
                <a:gd name="connsiteX5044" fmla="*/ 4148452 w 4753603"/>
                <a:gd name="connsiteY5044" fmla="*/ 2457564 h 4331342"/>
                <a:gd name="connsiteX5045" fmla="*/ 4117401 w 4753603"/>
                <a:gd name="connsiteY5045" fmla="*/ 2459889 h 4331342"/>
                <a:gd name="connsiteX5046" fmla="*/ 4113705 w 4753603"/>
                <a:gd name="connsiteY5046" fmla="*/ 2463775 h 4331342"/>
                <a:gd name="connsiteX5047" fmla="*/ 4148871 w 4753603"/>
                <a:gd name="connsiteY5047" fmla="*/ 2484939 h 4331342"/>
                <a:gd name="connsiteX5048" fmla="*/ 4161215 w 4753603"/>
                <a:gd name="connsiteY5048" fmla="*/ 2491169 h 4331342"/>
                <a:gd name="connsiteX5049" fmla="*/ 4179456 w 4753603"/>
                <a:gd name="connsiteY5049" fmla="*/ 2509800 h 4331342"/>
                <a:gd name="connsiteX5050" fmla="*/ 4180237 w 4753603"/>
                <a:gd name="connsiteY5050" fmla="*/ 2512628 h 4331342"/>
                <a:gd name="connsiteX5051" fmla="*/ 4195496 w 4753603"/>
                <a:gd name="connsiteY5051" fmla="*/ 2543680 h 4331342"/>
                <a:gd name="connsiteX5052" fmla="*/ 4196096 w 4753603"/>
                <a:gd name="connsiteY5052" fmla="*/ 2549366 h 4331342"/>
                <a:gd name="connsiteX5053" fmla="*/ 4198611 w 4753603"/>
                <a:gd name="connsiteY5053" fmla="*/ 2559463 h 4331342"/>
                <a:gd name="connsiteX5054" fmla="*/ 4199039 w 4753603"/>
                <a:gd name="connsiteY5054" fmla="*/ 2564463 h 4331342"/>
                <a:gd name="connsiteX5055" fmla="*/ 4201573 w 4753603"/>
                <a:gd name="connsiteY5055" fmla="*/ 2596296 h 4331342"/>
                <a:gd name="connsiteX5056" fmla="*/ 4201573 w 4753603"/>
                <a:gd name="connsiteY5056" fmla="*/ 2599049 h 4331342"/>
                <a:gd name="connsiteX5057" fmla="*/ 4192419 w 4753603"/>
                <a:gd name="connsiteY5057" fmla="*/ 2611003 h 4331342"/>
                <a:gd name="connsiteX5058" fmla="*/ 4187924 w 4753603"/>
                <a:gd name="connsiteY5058" fmla="*/ 2632072 h 4331342"/>
                <a:gd name="connsiteX5059" fmla="*/ 4201944 w 4753603"/>
                <a:gd name="connsiteY5059" fmla="*/ 2669096 h 4331342"/>
                <a:gd name="connsiteX5060" fmla="*/ 4199192 w 4753603"/>
                <a:gd name="connsiteY5060" fmla="*/ 2675849 h 4331342"/>
                <a:gd name="connsiteX5061" fmla="*/ 4171283 w 4753603"/>
                <a:gd name="connsiteY5061" fmla="*/ 2627471 h 4331342"/>
                <a:gd name="connsiteX5062" fmla="*/ 4165168 w 4753603"/>
                <a:gd name="connsiteY5062" fmla="*/ 2602744 h 4331342"/>
                <a:gd name="connsiteX5063" fmla="*/ 4161215 w 4753603"/>
                <a:gd name="connsiteY5063" fmla="*/ 2572579 h 4331342"/>
                <a:gd name="connsiteX5064" fmla="*/ 4154729 w 4753603"/>
                <a:gd name="connsiteY5064" fmla="*/ 2561863 h 4331342"/>
                <a:gd name="connsiteX5065" fmla="*/ 4086254 w 4753603"/>
                <a:gd name="connsiteY5065" fmla="*/ 2473424 h 4331342"/>
                <a:gd name="connsiteX5066" fmla="*/ 4076681 w 4753603"/>
                <a:gd name="connsiteY5066" fmla="*/ 2451249 h 4331342"/>
                <a:gd name="connsiteX5067" fmla="*/ 4070261 w 4753603"/>
                <a:gd name="connsiteY5067" fmla="*/ 2393699 h 4331342"/>
                <a:gd name="connsiteX5068" fmla="*/ 4061412 w 4753603"/>
                <a:gd name="connsiteY5068" fmla="*/ 2374935 h 4331342"/>
                <a:gd name="connsiteX5069" fmla="*/ 4025541 w 4753603"/>
                <a:gd name="connsiteY5069" fmla="*/ 2333635 h 4331342"/>
                <a:gd name="connsiteX5070" fmla="*/ 4016759 w 4753603"/>
                <a:gd name="connsiteY5070" fmla="*/ 2306917 h 4331342"/>
                <a:gd name="connsiteX5071" fmla="*/ 4014645 w 4753603"/>
                <a:gd name="connsiteY5071" fmla="*/ 2240004 h 4331342"/>
                <a:gd name="connsiteX5072" fmla="*/ 4003101 w 4753603"/>
                <a:gd name="connsiteY5072" fmla="*/ 2176339 h 4331342"/>
                <a:gd name="connsiteX5073" fmla="*/ 4008158 w 4753603"/>
                <a:gd name="connsiteY5073" fmla="*/ 2097748 h 4331342"/>
                <a:gd name="connsiteX5074" fmla="*/ 4017207 w 4753603"/>
                <a:gd name="connsiteY5074" fmla="*/ 2095081 h 4331342"/>
                <a:gd name="connsiteX5075" fmla="*/ 4079377 w 4753603"/>
                <a:gd name="connsiteY5075" fmla="*/ 2127885 h 4331342"/>
                <a:gd name="connsiteX5076" fmla="*/ 4088483 w 4753603"/>
                <a:gd name="connsiteY5076" fmla="*/ 2158270 h 4331342"/>
                <a:gd name="connsiteX5077" fmla="*/ 4089111 w 4753603"/>
                <a:gd name="connsiteY5077" fmla="*/ 2161051 h 4331342"/>
                <a:gd name="connsiteX5078" fmla="*/ 4139508 w 4753603"/>
                <a:gd name="connsiteY5078" fmla="*/ 2175843 h 4331342"/>
                <a:gd name="connsiteX5079" fmla="*/ 4154033 w 4753603"/>
                <a:gd name="connsiteY5079" fmla="*/ 2182921 h 4331342"/>
                <a:gd name="connsiteX5080" fmla="*/ 4161073 w 4753603"/>
                <a:gd name="connsiteY5080" fmla="*/ 2197856 h 4331342"/>
                <a:gd name="connsiteX5081" fmla="*/ 4192724 w 4753603"/>
                <a:gd name="connsiteY5081" fmla="*/ 2278171 h 4331342"/>
                <a:gd name="connsiteX5082" fmla="*/ 4197963 w 4753603"/>
                <a:gd name="connsiteY5082" fmla="*/ 2294382 h 4331342"/>
                <a:gd name="connsiteX5083" fmla="*/ 4198630 w 4753603"/>
                <a:gd name="connsiteY5083" fmla="*/ 2300383 h 4331342"/>
                <a:gd name="connsiteX5084" fmla="*/ 4204697 w 4753603"/>
                <a:gd name="connsiteY5084" fmla="*/ 2336578 h 4331342"/>
                <a:gd name="connsiteX5085" fmla="*/ 4209479 w 4753603"/>
                <a:gd name="connsiteY5085" fmla="*/ 2339845 h 4331342"/>
                <a:gd name="connsiteX5086" fmla="*/ 4240140 w 4753603"/>
                <a:gd name="connsiteY5086" fmla="*/ 2359114 h 4331342"/>
                <a:gd name="connsiteX5087" fmla="*/ 4248912 w 4753603"/>
                <a:gd name="connsiteY5087" fmla="*/ 2373725 h 4331342"/>
                <a:gd name="connsiteX5088" fmla="*/ 4263809 w 4753603"/>
                <a:gd name="connsiteY5088" fmla="*/ 2449640 h 4331342"/>
                <a:gd name="connsiteX5089" fmla="*/ 4243197 w 4753603"/>
                <a:gd name="connsiteY5089" fmla="*/ 2482006 h 4331342"/>
                <a:gd name="connsiteX5090" fmla="*/ 4263381 w 4753603"/>
                <a:gd name="connsiteY5090" fmla="*/ 2340883 h 4331342"/>
                <a:gd name="connsiteX5091" fmla="*/ 4239359 w 4753603"/>
                <a:gd name="connsiteY5091" fmla="*/ 2327281 h 4331342"/>
                <a:gd name="connsiteX5092" fmla="*/ 4236044 w 4753603"/>
                <a:gd name="connsiteY5092" fmla="*/ 2307012 h 4331342"/>
                <a:gd name="connsiteX5093" fmla="*/ 4259828 w 4753603"/>
                <a:gd name="connsiteY5093" fmla="*/ 2288638 h 4331342"/>
                <a:gd name="connsiteX5094" fmla="*/ 4266943 w 4753603"/>
                <a:gd name="connsiteY5094" fmla="*/ 2297278 h 4331342"/>
                <a:gd name="connsiteX5095" fmla="*/ 4267267 w 4753603"/>
                <a:gd name="connsiteY5095" fmla="*/ 2319576 h 4331342"/>
                <a:gd name="connsiteX5096" fmla="*/ 4263381 w 4753603"/>
                <a:gd name="connsiteY5096" fmla="*/ 2340883 h 4331342"/>
                <a:gd name="connsiteX5097" fmla="*/ 4277392 w 4753603"/>
                <a:gd name="connsiteY5097" fmla="*/ 2091738 h 4331342"/>
                <a:gd name="connsiteX5098" fmla="*/ 4268619 w 4753603"/>
                <a:gd name="connsiteY5098" fmla="*/ 2083775 h 4331342"/>
                <a:gd name="connsiteX5099" fmla="*/ 4273782 w 4753603"/>
                <a:gd name="connsiteY5099" fmla="*/ 2059286 h 4331342"/>
                <a:gd name="connsiteX5100" fmla="*/ 4281840 w 4753603"/>
                <a:gd name="connsiteY5100" fmla="*/ 2057486 h 4331342"/>
                <a:gd name="connsiteX5101" fmla="*/ 4283802 w 4753603"/>
                <a:gd name="connsiteY5101" fmla="*/ 2082175 h 4331342"/>
                <a:gd name="connsiteX5102" fmla="*/ 4277392 w 4753603"/>
                <a:gd name="connsiteY5102" fmla="*/ 2091738 h 4331342"/>
                <a:gd name="connsiteX5103" fmla="*/ 4704455 w 4753603"/>
                <a:gd name="connsiteY5103" fmla="*/ 2438048 h 4331342"/>
                <a:gd name="connsiteX5104" fmla="*/ 4701131 w 4753603"/>
                <a:gd name="connsiteY5104" fmla="*/ 2441534 h 4331342"/>
                <a:gd name="connsiteX5105" fmla="*/ 4685300 w 4753603"/>
                <a:gd name="connsiteY5105" fmla="*/ 2457012 h 4331342"/>
                <a:gd name="connsiteX5106" fmla="*/ 4685538 w 4753603"/>
                <a:gd name="connsiteY5106" fmla="*/ 2493045 h 4331342"/>
                <a:gd name="connsiteX5107" fmla="*/ 4681900 w 4753603"/>
                <a:gd name="connsiteY5107" fmla="*/ 2515038 h 4331342"/>
                <a:gd name="connsiteX5108" fmla="*/ 4678175 w 4753603"/>
                <a:gd name="connsiteY5108" fmla="*/ 2521944 h 4331342"/>
                <a:gd name="connsiteX5109" fmla="*/ 4664174 w 4753603"/>
                <a:gd name="connsiteY5109" fmla="*/ 2556120 h 4331342"/>
                <a:gd name="connsiteX5110" fmla="*/ 4603185 w 4753603"/>
                <a:gd name="connsiteY5110" fmla="*/ 2571369 h 4331342"/>
                <a:gd name="connsiteX5111" fmla="*/ 4582087 w 4753603"/>
                <a:gd name="connsiteY5111" fmla="*/ 2598715 h 4331342"/>
                <a:gd name="connsiteX5112" fmla="*/ 4584954 w 4753603"/>
                <a:gd name="connsiteY5112" fmla="*/ 2624014 h 4331342"/>
                <a:gd name="connsiteX5113" fmla="*/ 4577944 w 4753603"/>
                <a:gd name="connsiteY5113" fmla="*/ 2629624 h 4331342"/>
                <a:gd name="connsiteX5114" fmla="*/ 4506954 w 4753603"/>
                <a:gd name="connsiteY5114" fmla="*/ 2632024 h 4331342"/>
                <a:gd name="connsiteX5115" fmla="*/ 4496648 w 4753603"/>
                <a:gd name="connsiteY5115" fmla="*/ 2620556 h 4331342"/>
                <a:gd name="connsiteX5116" fmla="*/ 4462110 w 4753603"/>
                <a:gd name="connsiteY5116" fmla="*/ 2586009 h 4331342"/>
                <a:gd name="connsiteX5117" fmla="*/ 4437755 w 4753603"/>
                <a:gd name="connsiteY5117" fmla="*/ 2589857 h 4331342"/>
                <a:gd name="connsiteX5118" fmla="*/ 4431335 w 4753603"/>
                <a:gd name="connsiteY5118" fmla="*/ 2596086 h 4331342"/>
                <a:gd name="connsiteX5119" fmla="*/ 4404884 w 4753603"/>
                <a:gd name="connsiteY5119" fmla="*/ 2605754 h 4331342"/>
                <a:gd name="connsiteX5120" fmla="*/ 4371023 w 4753603"/>
                <a:gd name="connsiteY5120" fmla="*/ 2589886 h 4331342"/>
                <a:gd name="connsiteX5121" fmla="*/ 4301128 w 4753603"/>
                <a:gd name="connsiteY5121" fmla="*/ 2592724 h 4331342"/>
                <a:gd name="connsiteX5122" fmla="*/ 4284193 w 4753603"/>
                <a:gd name="connsiteY5122" fmla="*/ 2589876 h 4331342"/>
                <a:gd name="connsiteX5123" fmla="*/ 4291841 w 4753603"/>
                <a:gd name="connsiteY5123" fmla="*/ 2568016 h 4331342"/>
                <a:gd name="connsiteX5124" fmla="*/ 4308853 w 4753603"/>
                <a:gd name="connsiteY5124" fmla="*/ 2561606 h 4331342"/>
                <a:gd name="connsiteX5125" fmla="*/ 4355506 w 4753603"/>
                <a:gd name="connsiteY5125" fmla="*/ 2559672 h 4331342"/>
                <a:gd name="connsiteX5126" fmla="*/ 4396645 w 4753603"/>
                <a:gd name="connsiteY5126" fmla="*/ 2562597 h 4331342"/>
                <a:gd name="connsiteX5127" fmla="*/ 4395816 w 4753603"/>
                <a:gd name="connsiteY5127" fmla="*/ 2555548 h 4331342"/>
                <a:gd name="connsiteX5128" fmla="*/ 4359536 w 4753603"/>
                <a:gd name="connsiteY5128" fmla="*/ 2531593 h 4331342"/>
                <a:gd name="connsiteX5129" fmla="*/ 4437469 w 4753603"/>
                <a:gd name="connsiteY5129" fmla="*/ 2521420 h 4331342"/>
                <a:gd name="connsiteX5130" fmla="*/ 4453157 w 4753603"/>
                <a:gd name="connsiteY5130" fmla="*/ 2531040 h 4331342"/>
                <a:gd name="connsiteX5131" fmla="*/ 4479122 w 4753603"/>
                <a:gd name="connsiteY5131" fmla="*/ 2552614 h 4331342"/>
                <a:gd name="connsiteX5132" fmla="*/ 4497039 w 4753603"/>
                <a:gd name="connsiteY5132" fmla="*/ 2571150 h 4331342"/>
                <a:gd name="connsiteX5133" fmla="*/ 4521842 w 4753603"/>
                <a:gd name="connsiteY5133" fmla="*/ 2576941 h 4331342"/>
                <a:gd name="connsiteX5134" fmla="*/ 4521956 w 4753603"/>
                <a:gd name="connsiteY5134" fmla="*/ 2576941 h 4331342"/>
                <a:gd name="connsiteX5135" fmla="*/ 4519403 w 4753603"/>
                <a:gd name="connsiteY5135" fmla="*/ 2564511 h 4331342"/>
                <a:gd name="connsiteX5136" fmla="*/ 4519022 w 4753603"/>
                <a:gd name="connsiteY5136" fmla="*/ 2562387 h 4331342"/>
                <a:gd name="connsiteX5137" fmla="*/ 4512574 w 4753603"/>
                <a:gd name="connsiteY5137" fmla="*/ 2552995 h 4331342"/>
                <a:gd name="connsiteX5138" fmla="*/ 4479617 w 4753603"/>
                <a:gd name="connsiteY5138" fmla="*/ 2525325 h 4331342"/>
                <a:gd name="connsiteX5139" fmla="*/ 4487418 w 4753603"/>
                <a:gd name="connsiteY5139" fmla="*/ 2509361 h 4331342"/>
                <a:gd name="connsiteX5140" fmla="*/ 4509431 w 4753603"/>
                <a:gd name="connsiteY5140" fmla="*/ 2506990 h 4331342"/>
                <a:gd name="connsiteX5141" fmla="*/ 4560265 w 4753603"/>
                <a:gd name="connsiteY5141" fmla="*/ 2509361 h 4331342"/>
                <a:gd name="connsiteX5142" fmla="*/ 4605814 w 4753603"/>
                <a:gd name="connsiteY5142" fmla="*/ 2515781 h 4331342"/>
                <a:gd name="connsiteX5143" fmla="*/ 4622511 w 4753603"/>
                <a:gd name="connsiteY5143" fmla="*/ 2505447 h 4331342"/>
                <a:gd name="connsiteX5144" fmla="*/ 4576125 w 4753603"/>
                <a:gd name="connsiteY5144" fmla="*/ 2486177 h 4331342"/>
                <a:gd name="connsiteX5145" fmla="*/ 4628693 w 4753603"/>
                <a:gd name="connsiteY5145" fmla="*/ 2444639 h 4331342"/>
                <a:gd name="connsiteX5146" fmla="*/ 4667393 w 4753603"/>
                <a:gd name="connsiteY5146" fmla="*/ 2411663 h 4331342"/>
                <a:gd name="connsiteX5147" fmla="*/ 4669212 w 4753603"/>
                <a:gd name="connsiteY5147" fmla="*/ 2398395 h 4331342"/>
                <a:gd name="connsiteX5148" fmla="*/ 4619149 w 4753603"/>
                <a:gd name="connsiteY5148" fmla="*/ 2420512 h 4331342"/>
                <a:gd name="connsiteX5149" fmla="*/ 4617092 w 4753603"/>
                <a:gd name="connsiteY5149" fmla="*/ 2422998 h 4331342"/>
                <a:gd name="connsiteX5150" fmla="*/ 4597584 w 4753603"/>
                <a:gd name="connsiteY5150" fmla="*/ 2438648 h 4331342"/>
                <a:gd name="connsiteX5151" fmla="*/ 4590545 w 4753603"/>
                <a:gd name="connsiteY5151" fmla="*/ 2447058 h 4331342"/>
                <a:gd name="connsiteX5152" fmla="*/ 4581544 w 4753603"/>
                <a:gd name="connsiteY5152" fmla="*/ 2432580 h 4331342"/>
                <a:gd name="connsiteX5153" fmla="*/ 4569371 w 4753603"/>
                <a:gd name="connsiteY5153" fmla="*/ 2435638 h 4331342"/>
                <a:gd name="connsiteX5154" fmla="*/ 4538053 w 4753603"/>
                <a:gd name="connsiteY5154" fmla="*/ 2472566 h 4331342"/>
                <a:gd name="connsiteX5155" fmla="*/ 4522794 w 4753603"/>
                <a:gd name="connsiteY5155" fmla="*/ 2481758 h 4331342"/>
                <a:gd name="connsiteX5156" fmla="*/ 4478646 w 4753603"/>
                <a:gd name="connsiteY5156" fmla="*/ 2487921 h 4331342"/>
                <a:gd name="connsiteX5157" fmla="*/ 4462101 w 4753603"/>
                <a:gd name="connsiteY5157" fmla="*/ 2465051 h 4331342"/>
                <a:gd name="connsiteX5158" fmla="*/ 4439955 w 4753603"/>
                <a:gd name="connsiteY5158" fmla="*/ 2478491 h 4331342"/>
                <a:gd name="connsiteX5159" fmla="*/ 4412390 w 4753603"/>
                <a:gd name="connsiteY5159" fmla="*/ 2494798 h 4331342"/>
                <a:gd name="connsiteX5160" fmla="*/ 4366670 w 4753603"/>
                <a:gd name="connsiteY5160" fmla="*/ 2505209 h 4331342"/>
                <a:gd name="connsiteX5161" fmla="*/ 4316006 w 4753603"/>
                <a:gd name="connsiteY5161" fmla="*/ 2529688 h 4331342"/>
                <a:gd name="connsiteX5162" fmla="*/ 4282240 w 4753603"/>
                <a:gd name="connsiteY5162" fmla="*/ 2543251 h 4331342"/>
                <a:gd name="connsiteX5163" fmla="*/ 4319950 w 4753603"/>
                <a:gd name="connsiteY5163" fmla="*/ 2490254 h 4331342"/>
                <a:gd name="connsiteX5164" fmla="*/ 4446356 w 4753603"/>
                <a:gd name="connsiteY5164" fmla="*/ 2453202 h 4331342"/>
                <a:gd name="connsiteX5165" fmla="*/ 4482646 w 4753603"/>
                <a:gd name="connsiteY5165" fmla="*/ 2446706 h 4331342"/>
                <a:gd name="connsiteX5166" fmla="*/ 4553665 w 4753603"/>
                <a:gd name="connsiteY5166" fmla="*/ 2414045 h 4331342"/>
                <a:gd name="connsiteX5167" fmla="*/ 4559637 w 4753603"/>
                <a:gd name="connsiteY5167" fmla="*/ 2407425 h 4331342"/>
                <a:gd name="connsiteX5168" fmla="*/ 4565609 w 4753603"/>
                <a:gd name="connsiteY5168" fmla="*/ 2398328 h 4331342"/>
                <a:gd name="connsiteX5169" fmla="*/ 4587421 w 4753603"/>
                <a:gd name="connsiteY5169" fmla="*/ 2395785 h 4331342"/>
                <a:gd name="connsiteX5170" fmla="*/ 4604081 w 4753603"/>
                <a:gd name="connsiteY5170" fmla="*/ 2404339 h 4331342"/>
                <a:gd name="connsiteX5171" fmla="*/ 4606995 w 4753603"/>
                <a:gd name="connsiteY5171" fmla="*/ 2404777 h 4331342"/>
                <a:gd name="connsiteX5172" fmla="*/ 4609653 w 4753603"/>
                <a:gd name="connsiteY5172" fmla="*/ 2404777 h 4331342"/>
                <a:gd name="connsiteX5173" fmla="*/ 4618768 w 4753603"/>
                <a:gd name="connsiteY5173" fmla="*/ 2404224 h 4331342"/>
                <a:gd name="connsiteX5174" fmla="*/ 4625235 w 4753603"/>
                <a:gd name="connsiteY5174" fmla="*/ 2401424 h 4331342"/>
                <a:gd name="connsiteX5175" fmla="*/ 4664383 w 4753603"/>
                <a:gd name="connsiteY5175" fmla="*/ 2340150 h 4331342"/>
                <a:gd name="connsiteX5176" fmla="*/ 4687605 w 4753603"/>
                <a:gd name="connsiteY5176" fmla="*/ 2338550 h 4331342"/>
                <a:gd name="connsiteX5177" fmla="*/ 4716599 w 4753603"/>
                <a:gd name="connsiteY5177" fmla="*/ 2366867 h 4331342"/>
                <a:gd name="connsiteX5178" fmla="*/ 4704455 w 4753603"/>
                <a:gd name="connsiteY5178" fmla="*/ 2438048 h 4331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</a:cxnLst>
              <a:rect l="l" t="t" r="r" b="b"/>
              <a:pathLst>
                <a:path w="4753603" h="4331342">
                  <a:moveTo>
                    <a:pt x="4743564" y="2373725"/>
                  </a:moveTo>
                  <a:cubicBezTo>
                    <a:pt x="4732287" y="2357200"/>
                    <a:pt x="4719809" y="2341340"/>
                    <a:pt x="4707388" y="2325367"/>
                  </a:cubicBezTo>
                  <a:cubicBezTo>
                    <a:pt x="4696940" y="2311975"/>
                    <a:pt x="4684481" y="2307650"/>
                    <a:pt x="4669193" y="2313623"/>
                  </a:cubicBezTo>
                  <a:cubicBezTo>
                    <a:pt x="4657220" y="2318204"/>
                    <a:pt x="4648010" y="2326034"/>
                    <a:pt x="4641209" y="2336568"/>
                  </a:cubicBezTo>
                  <a:cubicBezTo>
                    <a:pt x="4634551" y="2347046"/>
                    <a:pt x="4629264" y="2358457"/>
                    <a:pt x="4622035" y="2368525"/>
                  </a:cubicBezTo>
                  <a:cubicBezTo>
                    <a:pt x="4616206" y="2376611"/>
                    <a:pt x="4610834" y="2384593"/>
                    <a:pt x="4596660" y="2377088"/>
                  </a:cubicBezTo>
                  <a:cubicBezTo>
                    <a:pt x="4570419" y="2363153"/>
                    <a:pt x="4556274" y="2368001"/>
                    <a:pt x="4544444" y="2394299"/>
                  </a:cubicBezTo>
                  <a:cubicBezTo>
                    <a:pt x="4533881" y="2417626"/>
                    <a:pt x="4518136" y="2429113"/>
                    <a:pt x="4491962" y="2426313"/>
                  </a:cubicBezTo>
                  <a:cubicBezTo>
                    <a:pt x="4463625" y="2423189"/>
                    <a:pt x="4438936" y="2431837"/>
                    <a:pt x="4416048" y="2448077"/>
                  </a:cubicBezTo>
                  <a:cubicBezTo>
                    <a:pt x="4402303" y="2457964"/>
                    <a:pt x="4385529" y="2461479"/>
                    <a:pt x="4368308" y="2460308"/>
                  </a:cubicBezTo>
                  <a:cubicBezTo>
                    <a:pt x="4364812" y="2460146"/>
                    <a:pt x="4361650" y="2459346"/>
                    <a:pt x="4360431" y="2456631"/>
                  </a:cubicBezTo>
                  <a:cubicBezTo>
                    <a:pt x="4359059" y="2453964"/>
                    <a:pt x="4362498" y="2452459"/>
                    <a:pt x="4364174" y="2450621"/>
                  </a:cubicBezTo>
                  <a:cubicBezTo>
                    <a:pt x="4375785" y="2437514"/>
                    <a:pt x="4389863" y="2426913"/>
                    <a:pt x="4407180" y="2423551"/>
                  </a:cubicBezTo>
                  <a:cubicBezTo>
                    <a:pt x="4438031" y="2417474"/>
                    <a:pt x="4468006" y="2411311"/>
                    <a:pt x="4494943" y="2393490"/>
                  </a:cubicBezTo>
                  <a:cubicBezTo>
                    <a:pt x="4511678" y="2382393"/>
                    <a:pt x="4525366" y="2370658"/>
                    <a:pt x="4530671" y="2351008"/>
                  </a:cubicBezTo>
                  <a:cubicBezTo>
                    <a:pt x="4535491" y="2333282"/>
                    <a:pt x="4519898" y="2312937"/>
                    <a:pt x="4501753" y="2311899"/>
                  </a:cubicBezTo>
                  <a:cubicBezTo>
                    <a:pt x="4483808" y="2310813"/>
                    <a:pt x="4470359" y="2319576"/>
                    <a:pt x="4456853" y="2328653"/>
                  </a:cubicBezTo>
                  <a:cubicBezTo>
                    <a:pt x="4448928" y="2334111"/>
                    <a:pt x="4439546" y="2334730"/>
                    <a:pt x="4438717" y="2326119"/>
                  </a:cubicBezTo>
                  <a:cubicBezTo>
                    <a:pt x="4437317" y="2311822"/>
                    <a:pt x="4429001" y="2311641"/>
                    <a:pt x="4418057" y="2311546"/>
                  </a:cubicBezTo>
                  <a:cubicBezTo>
                    <a:pt x="4424191" y="2290925"/>
                    <a:pt x="4442365" y="2283828"/>
                    <a:pt x="4457938" y="2275942"/>
                  </a:cubicBezTo>
                  <a:cubicBezTo>
                    <a:pt x="4493638" y="2257854"/>
                    <a:pt x="4531224" y="2243033"/>
                    <a:pt x="4566971" y="2224793"/>
                  </a:cubicBezTo>
                  <a:cubicBezTo>
                    <a:pt x="4604671" y="2205676"/>
                    <a:pt x="4638418" y="2178682"/>
                    <a:pt x="4642304" y="2134924"/>
                  </a:cubicBezTo>
                  <a:cubicBezTo>
                    <a:pt x="4646895" y="2082994"/>
                    <a:pt x="4646333" y="2030178"/>
                    <a:pt x="4642752" y="1978000"/>
                  </a:cubicBezTo>
                  <a:cubicBezTo>
                    <a:pt x="4639980" y="1940033"/>
                    <a:pt x="4643133" y="1903600"/>
                    <a:pt x="4652086" y="1867214"/>
                  </a:cubicBezTo>
                  <a:cubicBezTo>
                    <a:pt x="4664145" y="1818380"/>
                    <a:pt x="4683033" y="1771021"/>
                    <a:pt x="4675928" y="1718577"/>
                  </a:cubicBezTo>
                  <a:cubicBezTo>
                    <a:pt x="4670974" y="1683620"/>
                    <a:pt x="4657020" y="1655759"/>
                    <a:pt x="4627817" y="1636757"/>
                  </a:cubicBezTo>
                  <a:cubicBezTo>
                    <a:pt x="4605785" y="1622603"/>
                    <a:pt x="4581639" y="1612287"/>
                    <a:pt x="4558941" y="1599143"/>
                  </a:cubicBezTo>
                  <a:cubicBezTo>
                    <a:pt x="4540463" y="1588303"/>
                    <a:pt x="4538806" y="1582465"/>
                    <a:pt x="4549702" y="1563519"/>
                  </a:cubicBezTo>
                  <a:cubicBezTo>
                    <a:pt x="4560227" y="1545107"/>
                    <a:pt x="4561380" y="1525305"/>
                    <a:pt x="4558380" y="1505998"/>
                  </a:cubicBezTo>
                  <a:cubicBezTo>
                    <a:pt x="4553188" y="1471813"/>
                    <a:pt x="4555150" y="1438085"/>
                    <a:pt x="4562551" y="1404842"/>
                  </a:cubicBezTo>
                  <a:cubicBezTo>
                    <a:pt x="4566152" y="1388135"/>
                    <a:pt x="4565295" y="1375839"/>
                    <a:pt x="4550959" y="1364637"/>
                  </a:cubicBezTo>
                  <a:cubicBezTo>
                    <a:pt x="4535272" y="1352160"/>
                    <a:pt x="4532862" y="1335396"/>
                    <a:pt x="4539615" y="1316879"/>
                  </a:cubicBezTo>
                  <a:cubicBezTo>
                    <a:pt x="4542378" y="1309840"/>
                    <a:pt x="4544044" y="1302687"/>
                    <a:pt x="4546178" y="1295514"/>
                  </a:cubicBezTo>
                  <a:cubicBezTo>
                    <a:pt x="4553331" y="1271388"/>
                    <a:pt x="4550959" y="1248947"/>
                    <a:pt x="4534824" y="1228582"/>
                  </a:cubicBezTo>
                  <a:cubicBezTo>
                    <a:pt x="4524166" y="1215361"/>
                    <a:pt x="4512250" y="1203369"/>
                    <a:pt x="4500001" y="1191720"/>
                  </a:cubicBezTo>
                  <a:cubicBezTo>
                    <a:pt x="4487180" y="1179481"/>
                    <a:pt x="4481151" y="1180243"/>
                    <a:pt x="4470969" y="1194940"/>
                  </a:cubicBezTo>
                  <a:cubicBezTo>
                    <a:pt x="4464482" y="1204198"/>
                    <a:pt x="4457919" y="1213285"/>
                    <a:pt x="4448928" y="1225687"/>
                  </a:cubicBezTo>
                  <a:cubicBezTo>
                    <a:pt x="4448928" y="1211161"/>
                    <a:pt x="4448651" y="1200693"/>
                    <a:pt x="4449032" y="1190149"/>
                  </a:cubicBezTo>
                  <a:cubicBezTo>
                    <a:pt x="4449309" y="1177747"/>
                    <a:pt x="4445213" y="1167898"/>
                    <a:pt x="4435945" y="1159269"/>
                  </a:cubicBezTo>
                  <a:cubicBezTo>
                    <a:pt x="4413723" y="1138780"/>
                    <a:pt x="4413657" y="1138466"/>
                    <a:pt x="4414457" y="1108510"/>
                  </a:cubicBezTo>
                  <a:cubicBezTo>
                    <a:pt x="4415571" y="1071734"/>
                    <a:pt x="4399865" y="1040654"/>
                    <a:pt x="4381329" y="1010603"/>
                  </a:cubicBezTo>
                  <a:cubicBezTo>
                    <a:pt x="4374795" y="1000077"/>
                    <a:pt x="4366308" y="995763"/>
                    <a:pt x="4352354" y="1003564"/>
                  </a:cubicBezTo>
                  <a:cubicBezTo>
                    <a:pt x="4337666" y="1011460"/>
                    <a:pt x="4328284" y="1021975"/>
                    <a:pt x="4323598" y="1036453"/>
                  </a:cubicBezTo>
                  <a:cubicBezTo>
                    <a:pt x="4317073" y="1056056"/>
                    <a:pt x="4312073" y="1076144"/>
                    <a:pt x="4306062" y="1096785"/>
                  </a:cubicBezTo>
                  <a:cubicBezTo>
                    <a:pt x="4299090" y="1088679"/>
                    <a:pt x="4298671" y="1079897"/>
                    <a:pt x="4298118" y="1070762"/>
                  </a:cubicBezTo>
                  <a:cubicBezTo>
                    <a:pt x="4295375" y="1021223"/>
                    <a:pt x="4302414" y="972198"/>
                    <a:pt x="4308025" y="923164"/>
                  </a:cubicBezTo>
                  <a:cubicBezTo>
                    <a:pt x="4310815" y="901247"/>
                    <a:pt x="4312768" y="879136"/>
                    <a:pt x="4316502" y="857290"/>
                  </a:cubicBezTo>
                  <a:cubicBezTo>
                    <a:pt x="4320245" y="833000"/>
                    <a:pt x="4317359" y="809042"/>
                    <a:pt x="4294680" y="792924"/>
                  </a:cubicBezTo>
                  <a:cubicBezTo>
                    <a:pt x="4278621" y="781574"/>
                    <a:pt x="4261057" y="773185"/>
                    <a:pt x="4242321" y="766571"/>
                  </a:cubicBezTo>
                  <a:cubicBezTo>
                    <a:pt x="4203059" y="752517"/>
                    <a:pt x="4161425" y="744985"/>
                    <a:pt x="4124468" y="724698"/>
                  </a:cubicBezTo>
                  <a:cubicBezTo>
                    <a:pt x="4117058" y="720582"/>
                    <a:pt x="4112647" y="716671"/>
                    <a:pt x="4112619" y="707477"/>
                  </a:cubicBezTo>
                  <a:cubicBezTo>
                    <a:pt x="4112333" y="672353"/>
                    <a:pt x="4102389" y="640996"/>
                    <a:pt x="4071395" y="620122"/>
                  </a:cubicBezTo>
                  <a:cubicBezTo>
                    <a:pt x="4052059" y="607224"/>
                    <a:pt x="4034904" y="585772"/>
                    <a:pt x="4006158" y="601434"/>
                  </a:cubicBezTo>
                  <a:cubicBezTo>
                    <a:pt x="3991337" y="609410"/>
                    <a:pt x="3980498" y="620751"/>
                    <a:pt x="3971754" y="634352"/>
                  </a:cubicBezTo>
                  <a:cubicBezTo>
                    <a:pt x="3966543" y="642276"/>
                    <a:pt x="3959847" y="649354"/>
                    <a:pt x="3952170" y="653605"/>
                  </a:cubicBezTo>
                  <a:cubicBezTo>
                    <a:pt x="3948475" y="655690"/>
                    <a:pt x="3940121" y="649116"/>
                    <a:pt x="3933663" y="646723"/>
                  </a:cubicBezTo>
                  <a:cubicBezTo>
                    <a:pt x="3922281" y="642409"/>
                    <a:pt x="3910965" y="638467"/>
                    <a:pt x="3899707" y="634216"/>
                  </a:cubicBezTo>
                  <a:cubicBezTo>
                    <a:pt x="3897497" y="633392"/>
                    <a:pt x="3893944" y="631204"/>
                    <a:pt x="3894115" y="629810"/>
                  </a:cubicBezTo>
                  <a:cubicBezTo>
                    <a:pt x="3894544" y="618821"/>
                    <a:pt x="3889496" y="608895"/>
                    <a:pt x="3891058" y="597039"/>
                  </a:cubicBezTo>
                  <a:cubicBezTo>
                    <a:pt x="3895411" y="562236"/>
                    <a:pt x="3899392" y="542785"/>
                    <a:pt x="3862769" y="532796"/>
                  </a:cubicBezTo>
                  <a:cubicBezTo>
                    <a:pt x="3856920" y="531094"/>
                    <a:pt x="3858311" y="527225"/>
                    <a:pt x="3858806" y="524573"/>
                  </a:cubicBezTo>
                  <a:cubicBezTo>
                    <a:pt x="3861387" y="512201"/>
                    <a:pt x="3858311" y="500263"/>
                    <a:pt x="3856291" y="488252"/>
                  </a:cubicBezTo>
                  <a:cubicBezTo>
                    <a:pt x="3852205" y="462043"/>
                    <a:pt x="3841757" y="437620"/>
                    <a:pt x="3832012" y="413217"/>
                  </a:cubicBezTo>
                  <a:cubicBezTo>
                    <a:pt x="3816439" y="374058"/>
                    <a:pt x="3826774" y="378661"/>
                    <a:pt x="3782187" y="378382"/>
                  </a:cubicBezTo>
                  <a:cubicBezTo>
                    <a:pt x="3762947" y="378382"/>
                    <a:pt x="3754984" y="373925"/>
                    <a:pt x="3752259" y="355960"/>
                  </a:cubicBezTo>
                  <a:cubicBezTo>
                    <a:pt x="3747526" y="325573"/>
                    <a:pt x="3730219" y="303016"/>
                    <a:pt x="3707502" y="284733"/>
                  </a:cubicBezTo>
                  <a:cubicBezTo>
                    <a:pt x="3688690" y="269575"/>
                    <a:pt x="3668335" y="256677"/>
                    <a:pt x="3641112" y="264063"/>
                  </a:cubicBezTo>
                  <a:cubicBezTo>
                    <a:pt x="3614328" y="271143"/>
                    <a:pt x="3593230" y="311167"/>
                    <a:pt x="3591516" y="330359"/>
                  </a:cubicBezTo>
                  <a:cubicBezTo>
                    <a:pt x="3589544" y="350709"/>
                    <a:pt x="3598012" y="368620"/>
                    <a:pt x="3602908" y="387348"/>
                  </a:cubicBezTo>
                  <a:cubicBezTo>
                    <a:pt x="3604079" y="392528"/>
                    <a:pt x="3606260" y="398544"/>
                    <a:pt x="3602965" y="401671"/>
                  </a:cubicBezTo>
                  <a:cubicBezTo>
                    <a:pt x="3599021" y="405520"/>
                    <a:pt x="3591163" y="405055"/>
                    <a:pt x="3586896" y="402126"/>
                  </a:cubicBezTo>
                  <a:cubicBezTo>
                    <a:pt x="3574180" y="393633"/>
                    <a:pt x="3561283" y="395119"/>
                    <a:pt x="3548986" y="400329"/>
                  </a:cubicBezTo>
                  <a:cubicBezTo>
                    <a:pt x="3532537" y="407109"/>
                    <a:pt x="3523841" y="401062"/>
                    <a:pt x="3517192" y="386823"/>
                  </a:cubicBezTo>
                  <a:cubicBezTo>
                    <a:pt x="3507334" y="365505"/>
                    <a:pt x="3492617" y="349707"/>
                    <a:pt x="3468996" y="341102"/>
                  </a:cubicBezTo>
                  <a:cubicBezTo>
                    <a:pt x="3445040" y="332393"/>
                    <a:pt x="3420494" y="323890"/>
                    <a:pt x="3400063" y="307618"/>
                  </a:cubicBezTo>
                  <a:cubicBezTo>
                    <a:pt x="3381070" y="292336"/>
                    <a:pt x="3371850" y="295649"/>
                    <a:pt x="3354029" y="316008"/>
                  </a:cubicBezTo>
                  <a:cubicBezTo>
                    <a:pt x="3348504" y="322446"/>
                    <a:pt x="3345999" y="323757"/>
                    <a:pt x="3338322" y="320424"/>
                  </a:cubicBezTo>
                  <a:cubicBezTo>
                    <a:pt x="3285668" y="297414"/>
                    <a:pt x="3242082" y="262599"/>
                    <a:pt x="3207506" y="217868"/>
                  </a:cubicBezTo>
                  <a:cubicBezTo>
                    <a:pt x="3174864" y="175966"/>
                    <a:pt x="3146279" y="130947"/>
                    <a:pt x="3114361" y="88476"/>
                  </a:cubicBezTo>
                  <a:cubicBezTo>
                    <a:pt x="3097902" y="66838"/>
                    <a:pt x="3083443" y="43075"/>
                    <a:pt x="3060183" y="27081"/>
                  </a:cubicBezTo>
                  <a:cubicBezTo>
                    <a:pt x="3055677" y="24037"/>
                    <a:pt x="3051029" y="17454"/>
                    <a:pt x="3046581" y="20044"/>
                  </a:cubicBezTo>
                  <a:cubicBezTo>
                    <a:pt x="3041466" y="22995"/>
                    <a:pt x="3042409" y="30744"/>
                    <a:pt x="3042409" y="37028"/>
                  </a:cubicBezTo>
                  <a:cubicBezTo>
                    <a:pt x="3042857" y="67612"/>
                    <a:pt x="3037094" y="97639"/>
                    <a:pt x="3035751" y="128108"/>
                  </a:cubicBezTo>
                  <a:cubicBezTo>
                    <a:pt x="3033693" y="169455"/>
                    <a:pt x="3027693" y="210491"/>
                    <a:pt x="3023921" y="251836"/>
                  </a:cubicBezTo>
                  <a:cubicBezTo>
                    <a:pt x="3021244" y="281213"/>
                    <a:pt x="3019616" y="310590"/>
                    <a:pt x="3017701" y="339957"/>
                  </a:cubicBezTo>
                  <a:cubicBezTo>
                    <a:pt x="3017387" y="347322"/>
                    <a:pt x="3012815" y="352183"/>
                    <a:pt x="3005919" y="353845"/>
                  </a:cubicBezTo>
                  <a:cubicBezTo>
                    <a:pt x="2982506" y="360004"/>
                    <a:pt x="2958313" y="358313"/>
                    <a:pt x="2934653" y="356579"/>
                  </a:cubicBezTo>
                  <a:cubicBezTo>
                    <a:pt x="2911374" y="354981"/>
                    <a:pt x="2888237" y="350089"/>
                    <a:pt x="2864968" y="351648"/>
                  </a:cubicBezTo>
                  <a:cubicBezTo>
                    <a:pt x="2815399" y="354803"/>
                    <a:pt x="2813142" y="358726"/>
                    <a:pt x="2835888" y="395119"/>
                  </a:cubicBezTo>
                  <a:cubicBezTo>
                    <a:pt x="2836536" y="396430"/>
                    <a:pt x="2837574" y="397646"/>
                    <a:pt x="2838450" y="398885"/>
                  </a:cubicBezTo>
                  <a:cubicBezTo>
                    <a:pt x="2879732" y="454242"/>
                    <a:pt x="2928890" y="502801"/>
                    <a:pt x="2976772" y="552340"/>
                  </a:cubicBezTo>
                  <a:cubicBezTo>
                    <a:pt x="3023873" y="601434"/>
                    <a:pt x="3075013" y="646568"/>
                    <a:pt x="3124962" y="692805"/>
                  </a:cubicBezTo>
                  <a:cubicBezTo>
                    <a:pt x="3159405" y="724968"/>
                    <a:pt x="3194780" y="756160"/>
                    <a:pt x="3230328" y="787002"/>
                  </a:cubicBezTo>
                  <a:cubicBezTo>
                    <a:pt x="3272476" y="823426"/>
                    <a:pt x="3319205" y="852328"/>
                    <a:pt x="3368011" y="877783"/>
                  </a:cubicBezTo>
                  <a:cubicBezTo>
                    <a:pt x="3438592" y="914382"/>
                    <a:pt x="3512753" y="942933"/>
                    <a:pt x="3588553" y="967597"/>
                  </a:cubicBezTo>
                  <a:cubicBezTo>
                    <a:pt x="3642036" y="985047"/>
                    <a:pt x="3696224" y="1000077"/>
                    <a:pt x="3749859" y="1017108"/>
                  </a:cubicBezTo>
                  <a:cubicBezTo>
                    <a:pt x="3776091" y="1025433"/>
                    <a:pt x="3803504" y="1031138"/>
                    <a:pt x="3829079" y="1046150"/>
                  </a:cubicBezTo>
                  <a:cubicBezTo>
                    <a:pt x="3816467" y="1053351"/>
                    <a:pt x="3805400" y="1060123"/>
                    <a:pt x="3794008" y="1066267"/>
                  </a:cubicBezTo>
                  <a:cubicBezTo>
                    <a:pt x="3784807" y="1071029"/>
                    <a:pt x="3778110" y="1077716"/>
                    <a:pt x="3777558" y="1088079"/>
                  </a:cubicBezTo>
                  <a:cubicBezTo>
                    <a:pt x="3777063" y="1102700"/>
                    <a:pt x="3777558" y="1117197"/>
                    <a:pt x="3782397" y="1131684"/>
                  </a:cubicBezTo>
                  <a:cubicBezTo>
                    <a:pt x="3798170" y="1178890"/>
                    <a:pt x="3818173" y="1224506"/>
                    <a:pt x="3841566" y="1268101"/>
                  </a:cubicBezTo>
                  <a:cubicBezTo>
                    <a:pt x="3885067" y="1349121"/>
                    <a:pt x="3901983" y="1436627"/>
                    <a:pt x="3915908" y="1525334"/>
                  </a:cubicBezTo>
                  <a:cubicBezTo>
                    <a:pt x="3919681" y="1549356"/>
                    <a:pt x="3921767" y="1574206"/>
                    <a:pt x="3938045" y="1594209"/>
                  </a:cubicBezTo>
                  <a:cubicBezTo>
                    <a:pt x="3951494" y="1610944"/>
                    <a:pt x="3968467" y="1624213"/>
                    <a:pt x="3985546" y="1637252"/>
                  </a:cubicBezTo>
                  <a:cubicBezTo>
                    <a:pt x="3995176" y="1644501"/>
                    <a:pt x="4004558" y="1652683"/>
                    <a:pt x="4010787" y="1663494"/>
                  </a:cubicBezTo>
                  <a:cubicBezTo>
                    <a:pt x="4015426" y="1671133"/>
                    <a:pt x="4009854" y="1675114"/>
                    <a:pt x="4006158" y="1678705"/>
                  </a:cubicBezTo>
                  <a:cubicBezTo>
                    <a:pt x="4001691" y="1683029"/>
                    <a:pt x="3998824" y="1676838"/>
                    <a:pt x="3996585" y="1674257"/>
                  </a:cubicBezTo>
                  <a:cubicBezTo>
                    <a:pt x="3991261" y="1668142"/>
                    <a:pt x="3986565" y="1661617"/>
                    <a:pt x="3981831" y="1655026"/>
                  </a:cubicBezTo>
                  <a:cubicBezTo>
                    <a:pt x="3962667" y="1627584"/>
                    <a:pt x="3944722" y="1621203"/>
                    <a:pt x="3912318" y="1632718"/>
                  </a:cubicBezTo>
                  <a:cubicBezTo>
                    <a:pt x="3892982" y="1639415"/>
                    <a:pt x="3874284" y="1647844"/>
                    <a:pt x="3855415" y="1655512"/>
                  </a:cubicBezTo>
                  <a:cubicBezTo>
                    <a:pt x="3850358" y="1657550"/>
                    <a:pt x="3848081" y="1662951"/>
                    <a:pt x="3847814" y="1666285"/>
                  </a:cubicBezTo>
                  <a:cubicBezTo>
                    <a:pt x="3847109" y="1686820"/>
                    <a:pt x="3843861" y="1707109"/>
                    <a:pt x="3857120" y="1726330"/>
                  </a:cubicBezTo>
                  <a:cubicBezTo>
                    <a:pt x="3868103" y="1742285"/>
                    <a:pt x="3884781" y="1749943"/>
                    <a:pt x="3899278" y="1760068"/>
                  </a:cubicBezTo>
                  <a:cubicBezTo>
                    <a:pt x="3922805" y="1776394"/>
                    <a:pt x="3923852" y="1778956"/>
                    <a:pt x="3909841" y="1802121"/>
                  </a:cubicBezTo>
                  <a:cubicBezTo>
                    <a:pt x="3903240" y="1813084"/>
                    <a:pt x="3903850" y="1825552"/>
                    <a:pt x="3912175" y="1834477"/>
                  </a:cubicBezTo>
                  <a:cubicBezTo>
                    <a:pt x="3925538" y="1848936"/>
                    <a:pt x="3937807" y="1867110"/>
                    <a:pt x="3956399" y="1874530"/>
                  </a:cubicBezTo>
                  <a:cubicBezTo>
                    <a:pt x="3980993" y="1884197"/>
                    <a:pt x="3984603" y="1900771"/>
                    <a:pt x="3982069" y="1922526"/>
                  </a:cubicBezTo>
                  <a:cubicBezTo>
                    <a:pt x="3981688" y="1925993"/>
                    <a:pt x="3982469" y="1929794"/>
                    <a:pt x="3981831" y="1933251"/>
                  </a:cubicBezTo>
                  <a:cubicBezTo>
                    <a:pt x="3980479" y="1941738"/>
                    <a:pt x="3984603" y="1945167"/>
                    <a:pt x="3992070" y="1948777"/>
                  </a:cubicBezTo>
                  <a:cubicBezTo>
                    <a:pt x="4031818" y="1967713"/>
                    <a:pt x="4071128" y="1987525"/>
                    <a:pt x="4110485" y="2006832"/>
                  </a:cubicBezTo>
                  <a:cubicBezTo>
                    <a:pt x="4115057" y="2009099"/>
                    <a:pt x="4119753" y="2010451"/>
                    <a:pt x="4121620" y="2015852"/>
                  </a:cubicBezTo>
                  <a:cubicBezTo>
                    <a:pt x="4129583" y="2037550"/>
                    <a:pt x="4136908" y="2059610"/>
                    <a:pt x="4154386" y="2076231"/>
                  </a:cubicBezTo>
                  <a:cubicBezTo>
                    <a:pt x="4157596" y="2078955"/>
                    <a:pt x="4159129" y="2081403"/>
                    <a:pt x="4155272" y="2085023"/>
                  </a:cubicBezTo>
                  <a:cubicBezTo>
                    <a:pt x="4151262" y="2089014"/>
                    <a:pt x="4149043" y="2085927"/>
                    <a:pt x="4146261" y="2083508"/>
                  </a:cubicBezTo>
                  <a:cubicBezTo>
                    <a:pt x="4134850" y="2072488"/>
                    <a:pt x="4127078" y="2058924"/>
                    <a:pt x="4117077" y="2046884"/>
                  </a:cubicBezTo>
                  <a:cubicBezTo>
                    <a:pt x="4101884" y="2028663"/>
                    <a:pt x="4087787" y="2007794"/>
                    <a:pt x="4064099" y="2000279"/>
                  </a:cubicBezTo>
                  <a:cubicBezTo>
                    <a:pt x="4022894" y="1987287"/>
                    <a:pt x="4018741" y="1991659"/>
                    <a:pt x="4019741" y="2025977"/>
                  </a:cubicBezTo>
                  <a:cubicBezTo>
                    <a:pt x="4019960" y="2027806"/>
                    <a:pt x="4020569" y="2030035"/>
                    <a:pt x="4021331" y="2031645"/>
                  </a:cubicBezTo>
                  <a:cubicBezTo>
                    <a:pt x="4034476" y="2059991"/>
                    <a:pt x="4055964" y="2079222"/>
                    <a:pt x="4085273" y="2090357"/>
                  </a:cubicBezTo>
                  <a:cubicBezTo>
                    <a:pt x="4097084" y="2094767"/>
                    <a:pt x="4109676" y="2091500"/>
                    <a:pt x="4121534" y="2096043"/>
                  </a:cubicBezTo>
                  <a:cubicBezTo>
                    <a:pt x="4126744" y="2098129"/>
                    <a:pt x="4130574" y="2099891"/>
                    <a:pt x="4129450" y="2105368"/>
                  </a:cubicBezTo>
                  <a:cubicBezTo>
                    <a:pt x="4127507" y="2114541"/>
                    <a:pt x="4119934" y="2118170"/>
                    <a:pt x="4111952" y="2122284"/>
                  </a:cubicBezTo>
                  <a:cubicBezTo>
                    <a:pt x="4104799" y="2125828"/>
                    <a:pt x="4102217" y="2121856"/>
                    <a:pt x="4097198" y="2118846"/>
                  </a:cubicBezTo>
                  <a:cubicBezTo>
                    <a:pt x="4072271" y="2102901"/>
                    <a:pt x="4049401" y="2083508"/>
                    <a:pt x="4020569" y="2073878"/>
                  </a:cubicBezTo>
                  <a:cubicBezTo>
                    <a:pt x="4012444" y="2071278"/>
                    <a:pt x="4004358" y="2069116"/>
                    <a:pt x="3997871" y="2076402"/>
                  </a:cubicBezTo>
                  <a:cubicBezTo>
                    <a:pt x="3990175" y="2085023"/>
                    <a:pt x="3983869" y="2094576"/>
                    <a:pt x="3978983" y="2105130"/>
                  </a:cubicBezTo>
                  <a:cubicBezTo>
                    <a:pt x="3965582" y="2133524"/>
                    <a:pt x="3974668" y="2160099"/>
                    <a:pt x="3987203" y="2185549"/>
                  </a:cubicBezTo>
                  <a:cubicBezTo>
                    <a:pt x="3999605" y="2211134"/>
                    <a:pt x="4000167" y="2235613"/>
                    <a:pt x="3988937" y="2261931"/>
                  </a:cubicBezTo>
                  <a:cubicBezTo>
                    <a:pt x="3981831" y="2278790"/>
                    <a:pt x="3973963" y="2295525"/>
                    <a:pt x="3969649" y="2313489"/>
                  </a:cubicBezTo>
                  <a:cubicBezTo>
                    <a:pt x="3954799" y="2376640"/>
                    <a:pt x="3948046" y="2441210"/>
                    <a:pt x="3935692" y="2504732"/>
                  </a:cubicBezTo>
                  <a:cubicBezTo>
                    <a:pt x="3923500" y="2568026"/>
                    <a:pt x="3905412" y="2629367"/>
                    <a:pt x="3876599" y="2687250"/>
                  </a:cubicBezTo>
                  <a:cubicBezTo>
                    <a:pt x="3846871" y="2746972"/>
                    <a:pt x="3813315" y="2805046"/>
                    <a:pt x="3792579" y="2868663"/>
                  </a:cubicBezTo>
                  <a:cubicBezTo>
                    <a:pt x="3777129" y="2915927"/>
                    <a:pt x="3768176" y="2964285"/>
                    <a:pt x="3788626" y="3012453"/>
                  </a:cubicBezTo>
                  <a:cubicBezTo>
                    <a:pt x="3797399" y="3032770"/>
                    <a:pt x="3802199" y="3053296"/>
                    <a:pt x="3801018" y="3075289"/>
                  </a:cubicBezTo>
                  <a:cubicBezTo>
                    <a:pt x="3799484" y="3102559"/>
                    <a:pt x="3796656" y="3104826"/>
                    <a:pt x="3769433" y="3103855"/>
                  </a:cubicBezTo>
                  <a:cubicBezTo>
                    <a:pt x="3759537" y="3103502"/>
                    <a:pt x="3752307" y="3109189"/>
                    <a:pt x="3747707" y="3117447"/>
                  </a:cubicBezTo>
                  <a:cubicBezTo>
                    <a:pt x="3744249" y="3123581"/>
                    <a:pt x="3740058" y="3129677"/>
                    <a:pt x="3738734" y="3136335"/>
                  </a:cubicBezTo>
                  <a:cubicBezTo>
                    <a:pt x="3736448" y="3146946"/>
                    <a:pt x="3730028" y="3149127"/>
                    <a:pt x="3720789" y="3148727"/>
                  </a:cubicBezTo>
                  <a:cubicBezTo>
                    <a:pt x="3706816" y="3147832"/>
                    <a:pt x="3693919" y="3150746"/>
                    <a:pt x="3681908" y="3159109"/>
                  </a:cubicBezTo>
                  <a:cubicBezTo>
                    <a:pt x="3658362" y="3175111"/>
                    <a:pt x="3644313" y="3197943"/>
                    <a:pt x="3631673" y="3222241"/>
                  </a:cubicBezTo>
                  <a:cubicBezTo>
                    <a:pt x="3608223" y="3267628"/>
                    <a:pt x="3582391" y="3311271"/>
                    <a:pt x="3543224" y="3345637"/>
                  </a:cubicBezTo>
                  <a:cubicBezTo>
                    <a:pt x="3531080" y="3356191"/>
                    <a:pt x="3518373" y="3366573"/>
                    <a:pt x="3509305" y="3380251"/>
                  </a:cubicBezTo>
                  <a:cubicBezTo>
                    <a:pt x="3502505" y="3390729"/>
                    <a:pt x="3496504" y="3401511"/>
                    <a:pt x="3486950" y="3410455"/>
                  </a:cubicBezTo>
                  <a:cubicBezTo>
                    <a:pt x="3448384" y="3446555"/>
                    <a:pt x="3410684" y="3483340"/>
                    <a:pt x="3372460" y="3519554"/>
                  </a:cubicBezTo>
                  <a:cubicBezTo>
                    <a:pt x="3359534" y="3531794"/>
                    <a:pt x="3348743" y="3543576"/>
                    <a:pt x="3348495" y="3563179"/>
                  </a:cubicBezTo>
                  <a:cubicBezTo>
                    <a:pt x="3348323" y="3571304"/>
                    <a:pt x="3347418" y="3580314"/>
                    <a:pt x="3345999" y="3588782"/>
                  </a:cubicBezTo>
                  <a:cubicBezTo>
                    <a:pt x="3340341" y="3623224"/>
                    <a:pt x="3342656" y="3658277"/>
                    <a:pt x="3344504" y="3692814"/>
                  </a:cubicBezTo>
                  <a:cubicBezTo>
                    <a:pt x="3345856" y="3717589"/>
                    <a:pt x="3354410" y="3742211"/>
                    <a:pt x="3334131" y="3763547"/>
                  </a:cubicBezTo>
                  <a:cubicBezTo>
                    <a:pt x="3330454" y="3767433"/>
                    <a:pt x="3329226" y="3773148"/>
                    <a:pt x="3327454" y="3778482"/>
                  </a:cubicBezTo>
                  <a:cubicBezTo>
                    <a:pt x="3320406" y="3801732"/>
                    <a:pt x="3316186" y="3825326"/>
                    <a:pt x="3315653" y="3849643"/>
                  </a:cubicBezTo>
                  <a:cubicBezTo>
                    <a:pt x="3315214" y="3864035"/>
                    <a:pt x="3308985" y="3868369"/>
                    <a:pt x="3297193" y="3860187"/>
                  </a:cubicBezTo>
                  <a:cubicBezTo>
                    <a:pt x="3288192" y="3853796"/>
                    <a:pt x="3280458" y="3845747"/>
                    <a:pt x="3280458" y="3832479"/>
                  </a:cubicBezTo>
                  <a:cubicBezTo>
                    <a:pt x="3280458" y="3812448"/>
                    <a:pt x="3284934" y="3793551"/>
                    <a:pt x="3289087" y="3774243"/>
                  </a:cubicBezTo>
                  <a:cubicBezTo>
                    <a:pt x="3295412" y="3746192"/>
                    <a:pt x="3303841" y="3718674"/>
                    <a:pt x="3302832" y="3689442"/>
                  </a:cubicBezTo>
                  <a:cubicBezTo>
                    <a:pt x="3302451" y="3679451"/>
                    <a:pt x="3299250" y="3672354"/>
                    <a:pt x="3289278" y="3668163"/>
                  </a:cubicBezTo>
                  <a:cubicBezTo>
                    <a:pt x="3275600" y="3662191"/>
                    <a:pt x="3262093" y="3655781"/>
                    <a:pt x="3247549" y="3651142"/>
                  </a:cubicBezTo>
                  <a:cubicBezTo>
                    <a:pt x="3141974" y="3616719"/>
                    <a:pt x="3034208" y="3590078"/>
                    <a:pt x="2926071" y="3565236"/>
                  </a:cubicBezTo>
                  <a:cubicBezTo>
                    <a:pt x="2863996" y="3551044"/>
                    <a:pt x="2801036" y="3541824"/>
                    <a:pt x="2738323" y="3532318"/>
                  </a:cubicBezTo>
                  <a:cubicBezTo>
                    <a:pt x="2692584" y="3525222"/>
                    <a:pt x="2646464" y="3520526"/>
                    <a:pt x="2600497" y="3516906"/>
                  </a:cubicBezTo>
                  <a:cubicBezTo>
                    <a:pt x="2543718" y="3512496"/>
                    <a:pt x="2486663" y="3508629"/>
                    <a:pt x="2429799" y="3507877"/>
                  </a:cubicBezTo>
                  <a:cubicBezTo>
                    <a:pt x="2325824" y="3506734"/>
                    <a:pt x="2221763" y="3505524"/>
                    <a:pt x="2117989" y="3516878"/>
                  </a:cubicBezTo>
                  <a:cubicBezTo>
                    <a:pt x="2088956" y="3520107"/>
                    <a:pt x="2059324" y="3520107"/>
                    <a:pt x="2030006" y="3523498"/>
                  </a:cubicBezTo>
                  <a:cubicBezTo>
                    <a:pt x="1986582" y="3528689"/>
                    <a:pt x="1943176" y="3535442"/>
                    <a:pt x="1899742" y="3541986"/>
                  </a:cubicBezTo>
                  <a:cubicBezTo>
                    <a:pt x="1853270" y="3548948"/>
                    <a:pt x="1806712" y="3555283"/>
                    <a:pt x="1760773" y="3564360"/>
                  </a:cubicBezTo>
                  <a:cubicBezTo>
                    <a:pt x="1696822" y="3577066"/>
                    <a:pt x="1632252" y="3588230"/>
                    <a:pt x="1569644" y="3607118"/>
                  </a:cubicBezTo>
                  <a:cubicBezTo>
                    <a:pt x="1534649" y="3617652"/>
                    <a:pt x="1498568" y="3626796"/>
                    <a:pt x="1468555" y="3649571"/>
                  </a:cubicBezTo>
                  <a:cubicBezTo>
                    <a:pt x="1461840" y="3654676"/>
                    <a:pt x="1456639" y="3659486"/>
                    <a:pt x="1458544" y="3667620"/>
                  </a:cubicBezTo>
                  <a:cubicBezTo>
                    <a:pt x="1464783" y="3692700"/>
                    <a:pt x="1471317" y="3717769"/>
                    <a:pt x="1478585" y="3742544"/>
                  </a:cubicBezTo>
                  <a:cubicBezTo>
                    <a:pt x="1484462" y="3762623"/>
                    <a:pt x="1487672" y="3782863"/>
                    <a:pt x="1486195" y="3803733"/>
                  </a:cubicBezTo>
                  <a:cubicBezTo>
                    <a:pt x="1485690" y="3811000"/>
                    <a:pt x="1482014" y="3818877"/>
                    <a:pt x="1475308" y="3819163"/>
                  </a:cubicBezTo>
                  <a:cubicBezTo>
                    <a:pt x="1467412" y="3819373"/>
                    <a:pt x="1467688" y="3810429"/>
                    <a:pt x="1467545" y="3804028"/>
                  </a:cubicBezTo>
                  <a:cubicBezTo>
                    <a:pt x="1467412" y="3795246"/>
                    <a:pt x="1467793" y="3786607"/>
                    <a:pt x="1467412" y="3777844"/>
                  </a:cubicBezTo>
                  <a:cubicBezTo>
                    <a:pt x="1466593" y="3763432"/>
                    <a:pt x="1459230" y="3750469"/>
                    <a:pt x="1444933" y="3749707"/>
                  </a:cubicBezTo>
                  <a:cubicBezTo>
                    <a:pt x="1427302" y="3748869"/>
                    <a:pt x="1427950" y="3737877"/>
                    <a:pt x="1426978" y="3727571"/>
                  </a:cubicBezTo>
                  <a:cubicBezTo>
                    <a:pt x="1425712" y="3714760"/>
                    <a:pt x="1425712" y="3701653"/>
                    <a:pt x="1426921" y="3689004"/>
                  </a:cubicBezTo>
                  <a:cubicBezTo>
                    <a:pt x="1428102" y="3675726"/>
                    <a:pt x="1424388" y="3663677"/>
                    <a:pt x="1416939" y="3653228"/>
                  </a:cubicBezTo>
                  <a:cubicBezTo>
                    <a:pt x="1408948" y="3641779"/>
                    <a:pt x="1406557" y="3631035"/>
                    <a:pt x="1406843" y="3616490"/>
                  </a:cubicBezTo>
                  <a:cubicBezTo>
                    <a:pt x="1407995" y="3581314"/>
                    <a:pt x="1409395" y="3545986"/>
                    <a:pt x="1404957" y="3510744"/>
                  </a:cubicBezTo>
                  <a:cubicBezTo>
                    <a:pt x="1400032" y="3472082"/>
                    <a:pt x="1385326" y="3437182"/>
                    <a:pt x="1358484" y="3410302"/>
                  </a:cubicBezTo>
                  <a:cubicBezTo>
                    <a:pt x="1315498" y="3367050"/>
                    <a:pt x="1274693" y="3322625"/>
                    <a:pt x="1238688" y="3273371"/>
                  </a:cubicBezTo>
                  <a:cubicBezTo>
                    <a:pt x="1213009" y="3238424"/>
                    <a:pt x="1186825" y="3203629"/>
                    <a:pt x="1158631" y="3170920"/>
                  </a:cubicBezTo>
                  <a:cubicBezTo>
                    <a:pt x="1131989" y="3140078"/>
                    <a:pt x="1102357" y="3110970"/>
                    <a:pt x="1062190" y="3097721"/>
                  </a:cubicBezTo>
                  <a:cubicBezTo>
                    <a:pt x="1048083" y="3092996"/>
                    <a:pt x="1042321" y="3086786"/>
                    <a:pt x="1038339" y="3073660"/>
                  </a:cubicBezTo>
                  <a:cubicBezTo>
                    <a:pt x="1030729" y="3048038"/>
                    <a:pt x="1023709" y="3046543"/>
                    <a:pt x="1000677" y="3061516"/>
                  </a:cubicBezTo>
                  <a:cubicBezTo>
                    <a:pt x="997725" y="3063516"/>
                    <a:pt x="994848" y="3065764"/>
                    <a:pt x="991705" y="3066879"/>
                  </a:cubicBezTo>
                  <a:cubicBezTo>
                    <a:pt x="987723" y="3068136"/>
                    <a:pt x="982609" y="3068993"/>
                    <a:pt x="980132" y="3065031"/>
                  </a:cubicBezTo>
                  <a:cubicBezTo>
                    <a:pt x="972493" y="3053058"/>
                    <a:pt x="964016" y="3040780"/>
                    <a:pt x="968921" y="3025816"/>
                  </a:cubicBezTo>
                  <a:cubicBezTo>
                    <a:pt x="972655" y="3014558"/>
                    <a:pt x="977675" y="3003804"/>
                    <a:pt x="984752" y="2993651"/>
                  </a:cubicBezTo>
                  <a:cubicBezTo>
                    <a:pt x="999058" y="2974077"/>
                    <a:pt x="1007535" y="2953055"/>
                    <a:pt x="1005878" y="2927719"/>
                  </a:cubicBezTo>
                  <a:cubicBezTo>
                    <a:pt x="1003497" y="2888009"/>
                    <a:pt x="987590" y="2852214"/>
                    <a:pt x="974188" y="2815847"/>
                  </a:cubicBezTo>
                  <a:cubicBezTo>
                    <a:pt x="946049" y="2740000"/>
                    <a:pt x="914032" y="2665571"/>
                    <a:pt x="886877" y="2589428"/>
                  </a:cubicBezTo>
                  <a:cubicBezTo>
                    <a:pt x="859421" y="2512124"/>
                    <a:pt x="854942" y="2431895"/>
                    <a:pt x="848521" y="2351799"/>
                  </a:cubicBezTo>
                  <a:cubicBezTo>
                    <a:pt x="845849" y="2317966"/>
                    <a:pt x="837366" y="2287219"/>
                    <a:pt x="812129" y="2262197"/>
                  </a:cubicBezTo>
                  <a:cubicBezTo>
                    <a:pt x="792992" y="2243319"/>
                    <a:pt x="793221" y="2239175"/>
                    <a:pt x="808495" y="2216887"/>
                  </a:cubicBezTo>
                  <a:cubicBezTo>
                    <a:pt x="818136" y="2202694"/>
                    <a:pt x="821119" y="2187140"/>
                    <a:pt x="811582" y="2172986"/>
                  </a:cubicBezTo>
                  <a:cubicBezTo>
                    <a:pt x="798020" y="2153003"/>
                    <a:pt x="798463" y="2134124"/>
                    <a:pt x="809291" y="2113521"/>
                  </a:cubicBezTo>
                  <a:cubicBezTo>
                    <a:pt x="813760" y="2104958"/>
                    <a:pt x="819458" y="2096834"/>
                    <a:pt x="820117" y="2085927"/>
                  </a:cubicBezTo>
                  <a:cubicBezTo>
                    <a:pt x="821768" y="2054562"/>
                    <a:pt x="807330" y="2031768"/>
                    <a:pt x="782268" y="2014814"/>
                  </a:cubicBezTo>
                  <a:cubicBezTo>
                    <a:pt x="771855" y="2007822"/>
                    <a:pt x="767334" y="2002298"/>
                    <a:pt x="771783" y="1989334"/>
                  </a:cubicBezTo>
                  <a:cubicBezTo>
                    <a:pt x="779823" y="1966084"/>
                    <a:pt x="778275" y="1944176"/>
                    <a:pt x="754845" y="1928832"/>
                  </a:cubicBezTo>
                  <a:cubicBezTo>
                    <a:pt x="747032" y="1923717"/>
                    <a:pt x="748611" y="1918478"/>
                    <a:pt x="754018" y="1911991"/>
                  </a:cubicBezTo>
                  <a:cubicBezTo>
                    <a:pt x="765167" y="1898799"/>
                    <a:pt x="774878" y="1884559"/>
                    <a:pt x="786118" y="1871777"/>
                  </a:cubicBezTo>
                  <a:cubicBezTo>
                    <a:pt x="803469" y="1852041"/>
                    <a:pt x="820377" y="1832077"/>
                    <a:pt x="840719" y="1815456"/>
                  </a:cubicBezTo>
                  <a:cubicBezTo>
                    <a:pt x="859020" y="1800520"/>
                    <a:pt x="876142" y="1786280"/>
                    <a:pt x="880075" y="1760258"/>
                  </a:cubicBezTo>
                  <a:cubicBezTo>
                    <a:pt x="882718" y="1742827"/>
                    <a:pt x="883769" y="1722272"/>
                    <a:pt x="902049" y="1711042"/>
                  </a:cubicBezTo>
                  <a:cubicBezTo>
                    <a:pt x="912731" y="1704623"/>
                    <a:pt x="924384" y="1699260"/>
                    <a:pt x="935449" y="1693497"/>
                  </a:cubicBezTo>
                  <a:cubicBezTo>
                    <a:pt x="955986" y="1682906"/>
                    <a:pt x="962568" y="1668856"/>
                    <a:pt x="957605" y="1646873"/>
                  </a:cubicBezTo>
                  <a:cubicBezTo>
                    <a:pt x="951385" y="1619469"/>
                    <a:pt x="932300" y="1598800"/>
                    <a:pt x="918873" y="1575064"/>
                  </a:cubicBezTo>
                  <a:cubicBezTo>
                    <a:pt x="910244" y="1559423"/>
                    <a:pt x="898570" y="1543193"/>
                    <a:pt x="901812" y="1525086"/>
                  </a:cubicBezTo>
                  <a:cubicBezTo>
                    <a:pt x="909222" y="1484100"/>
                    <a:pt x="912113" y="1442904"/>
                    <a:pt x="915942" y="1401775"/>
                  </a:cubicBezTo>
                  <a:cubicBezTo>
                    <a:pt x="919935" y="1362046"/>
                    <a:pt x="928647" y="1323718"/>
                    <a:pt x="946254" y="1288142"/>
                  </a:cubicBezTo>
                  <a:cubicBezTo>
                    <a:pt x="976732" y="1226496"/>
                    <a:pt x="1014593" y="1168222"/>
                    <a:pt x="1038339" y="1103319"/>
                  </a:cubicBezTo>
                  <a:cubicBezTo>
                    <a:pt x="1048455" y="1075896"/>
                    <a:pt x="1064847" y="1048722"/>
                    <a:pt x="1045131" y="1017946"/>
                  </a:cubicBezTo>
                  <a:cubicBezTo>
                    <a:pt x="1037053" y="1005259"/>
                    <a:pt x="1041483" y="993096"/>
                    <a:pt x="1056846" y="988647"/>
                  </a:cubicBezTo>
                  <a:cubicBezTo>
                    <a:pt x="1075049" y="983590"/>
                    <a:pt x="1088698" y="972588"/>
                    <a:pt x="1100833" y="959339"/>
                  </a:cubicBezTo>
                  <a:cubicBezTo>
                    <a:pt x="1110796" y="948144"/>
                    <a:pt x="1123474" y="942118"/>
                    <a:pt x="1137580" y="938982"/>
                  </a:cubicBezTo>
                  <a:cubicBezTo>
                    <a:pt x="1222277" y="920697"/>
                    <a:pt x="1302839" y="890424"/>
                    <a:pt x="1380649" y="853349"/>
                  </a:cubicBezTo>
                  <a:cubicBezTo>
                    <a:pt x="1464031" y="813468"/>
                    <a:pt x="1544107" y="767634"/>
                    <a:pt x="1619088" y="714041"/>
                  </a:cubicBezTo>
                  <a:cubicBezTo>
                    <a:pt x="1659055" y="685499"/>
                    <a:pt x="1698479" y="656174"/>
                    <a:pt x="1737122" y="625777"/>
                  </a:cubicBezTo>
                  <a:cubicBezTo>
                    <a:pt x="1778565" y="592901"/>
                    <a:pt x="1819275" y="558913"/>
                    <a:pt x="1859794" y="524563"/>
                  </a:cubicBezTo>
                  <a:cubicBezTo>
                    <a:pt x="1903276" y="487851"/>
                    <a:pt x="1944148" y="448351"/>
                    <a:pt x="1983543" y="407614"/>
                  </a:cubicBezTo>
                  <a:cubicBezTo>
                    <a:pt x="1995059" y="395593"/>
                    <a:pt x="2004155" y="381447"/>
                    <a:pt x="2013585" y="367775"/>
                  </a:cubicBezTo>
                  <a:cubicBezTo>
                    <a:pt x="2020148" y="358231"/>
                    <a:pt x="2018109" y="351894"/>
                    <a:pt x="2005184" y="348799"/>
                  </a:cubicBezTo>
                  <a:cubicBezTo>
                    <a:pt x="1972104" y="341050"/>
                    <a:pt x="1938414" y="343960"/>
                    <a:pt x="1904933" y="342546"/>
                  </a:cubicBezTo>
                  <a:cubicBezTo>
                    <a:pt x="1877378" y="341390"/>
                    <a:pt x="1849479" y="340524"/>
                    <a:pt x="1823047" y="330514"/>
                  </a:cubicBezTo>
                  <a:cubicBezTo>
                    <a:pt x="1818284" y="328678"/>
                    <a:pt x="1813608" y="327884"/>
                    <a:pt x="1812598" y="320083"/>
                  </a:cubicBezTo>
                  <a:cubicBezTo>
                    <a:pt x="1809417" y="298704"/>
                    <a:pt x="1809255" y="277395"/>
                    <a:pt x="1809826" y="255903"/>
                  </a:cubicBezTo>
                  <a:cubicBezTo>
                    <a:pt x="1810865" y="217085"/>
                    <a:pt x="1807740" y="178308"/>
                    <a:pt x="1812236" y="139408"/>
                  </a:cubicBezTo>
                  <a:cubicBezTo>
                    <a:pt x="1814874" y="115727"/>
                    <a:pt x="1808474" y="91695"/>
                    <a:pt x="1809236" y="67602"/>
                  </a:cubicBezTo>
                  <a:cubicBezTo>
                    <a:pt x="1809922" y="48513"/>
                    <a:pt x="1805016" y="29919"/>
                    <a:pt x="1800435" y="11439"/>
                  </a:cubicBezTo>
                  <a:cubicBezTo>
                    <a:pt x="1797758" y="274"/>
                    <a:pt x="1790748" y="-1490"/>
                    <a:pt x="1782594" y="976"/>
                  </a:cubicBezTo>
                  <a:cubicBezTo>
                    <a:pt x="1774117" y="3493"/>
                    <a:pt x="1766345" y="6640"/>
                    <a:pt x="1760725" y="15473"/>
                  </a:cubicBezTo>
                  <a:cubicBezTo>
                    <a:pt x="1751371" y="30332"/>
                    <a:pt x="1743951" y="46201"/>
                    <a:pt x="1734160" y="60657"/>
                  </a:cubicBezTo>
                  <a:cubicBezTo>
                    <a:pt x="1692554" y="122444"/>
                    <a:pt x="1643625" y="178400"/>
                    <a:pt x="1588484" y="228848"/>
                  </a:cubicBezTo>
                  <a:cubicBezTo>
                    <a:pt x="1578359" y="238134"/>
                    <a:pt x="1567586" y="247441"/>
                    <a:pt x="1553947" y="250691"/>
                  </a:cubicBezTo>
                  <a:cubicBezTo>
                    <a:pt x="1528086" y="256903"/>
                    <a:pt x="1506865" y="270648"/>
                    <a:pt x="1487405" y="287869"/>
                  </a:cubicBezTo>
                  <a:cubicBezTo>
                    <a:pt x="1482357" y="292326"/>
                    <a:pt x="1476937" y="294885"/>
                    <a:pt x="1473270" y="283690"/>
                  </a:cubicBezTo>
                  <a:cubicBezTo>
                    <a:pt x="1467402" y="266035"/>
                    <a:pt x="1450934" y="260123"/>
                    <a:pt x="1433198" y="267820"/>
                  </a:cubicBezTo>
                  <a:cubicBezTo>
                    <a:pt x="1381839" y="290387"/>
                    <a:pt x="1332348" y="315863"/>
                    <a:pt x="1288790" y="351369"/>
                  </a:cubicBezTo>
                  <a:cubicBezTo>
                    <a:pt x="1286618" y="352977"/>
                    <a:pt x="1285561" y="357024"/>
                    <a:pt x="1281675" y="353196"/>
                  </a:cubicBezTo>
                  <a:cubicBezTo>
                    <a:pt x="1267054" y="338831"/>
                    <a:pt x="1254157" y="349253"/>
                    <a:pt x="1242355" y="357219"/>
                  </a:cubicBezTo>
                  <a:cubicBezTo>
                    <a:pt x="1232611" y="363865"/>
                    <a:pt x="1225144" y="367414"/>
                    <a:pt x="1215400" y="356528"/>
                  </a:cubicBezTo>
                  <a:cubicBezTo>
                    <a:pt x="1209161" y="349346"/>
                    <a:pt x="1206684" y="344610"/>
                    <a:pt x="1212694" y="336272"/>
                  </a:cubicBezTo>
                  <a:cubicBezTo>
                    <a:pt x="1218476" y="328050"/>
                    <a:pt x="1222372" y="318689"/>
                    <a:pt x="1226991" y="309898"/>
                  </a:cubicBezTo>
                  <a:cubicBezTo>
                    <a:pt x="1241070" y="282503"/>
                    <a:pt x="1245003" y="255418"/>
                    <a:pt x="1224601" y="227846"/>
                  </a:cubicBezTo>
                  <a:cubicBezTo>
                    <a:pt x="1217667" y="218715"/>
                    <a:pt x="1209389" y="216960"/>
                    <a:pt x="1201255" y="217693"/>
                  </a:cubicBezTo>
                  <a:cubicBezTo>
                    <a:pt x="1190435" y="218622"/>
                    <a:pt x="1179405" y="221099"/>
                    <a:pt x="1168870" y="225070"/>
                  </a:cubicBezTo>
                  <a:cubicBezTo>
                    <a:pt x="1149210" y="232201"/>
                    <a:pt x="1132818" y="244532"/>
                    <a:pt x="1114835" y="254323"/>
                  </a:cubicBezTo>
                  <a:cubicBezTo>
                    <a:pt x="1088850" y="268439"/>
                    <a:pt x="1071915" y="288457"/>
                    <a:pt x="1065809" y="317689"/>
                  </a:cubicBezTo>
                  <a:cubicBezTo>
                    <a:pt x="1063285" y="329968"/>
                    <a:pt x="1060037" y="343299"/>
                    <a:pt x="1049884" y="353546"/>
                  </a:cubicBezTo>
                  <a:cubicBezTo>
                    <a:pt x="1035434" y="325748"/>
                    <a:pt x="1020689" y="323746"/>
                    <a:pt x="999649" y="345899"/>
                  </a:cubicBezTo>
                  <a:cubicBezTo>
                    <a:pt x="988257" y="357807"/>
                    <a:pt x="982228" y="372944"/>
                    <a:pt x="975351" y="387297"/>
                  </a:cubicBezTo>
                  <a:cubicBezTo>
                    <a:pt x="961987" y="415424"/>
                    <a:pt x="952304" y="444049"/>
                    <a:pt x="965464" y="475344"/>
                  </a:cubicBezTo>
                  <a:cubicBezTo>
                    <a:pt x="967102" y="479080"/>
                    <a:pt x="967416" y="484187"/>
                    <a:pt x="963778" y="488738"/>
                  </a:cubicBezTo>
                  <a:cubicBezTo>
                    <a:pt x="960558" y="487314"/>
                    <a:pt x="957463" y="485859"/>
                    <a:pt x="954329" y="484652"/>
                  </a:cubicBezTo>
                  <a:cubicBezTo>
                    <a:pt x="935707" y="476697"/>
                    <a:pt x="931403" y="479698"/>
                    <a:pt x="924828" y="499273"/>
                  </a:cubicBezTo>
                  <a:cubicBezTo>
                    <a:pt x="920875" y="511014"/>
                    <a:pt x="921608" y="522861"/>
                    <a:pt x="919409" y="534737"/>
                  </a:cubicBezTo>
                  <a:cubicBezTo>
                    <a:pt x="914042" y="562876"/>
                    <a:pt x="899665" y="582067"/>
                    <a:pt x="870940" y="589806"/>
                  </a:cubicBezTo>
                  <a:cubicBezTo>
                    <a:pt x="852454" y="594749"/>
                    <a:pt x="845065" y="590354"/>
                    <a:pt x="840555" y="571790"/>
                  </a:cubicBezTo>
                  <a:cubicBezTo>
                    <a:pt x="838861" y="564505"/>
                    <a:pt x="836767" y="557427"/>
                    <a:pt x="834485" y="550337"/>
                  </a:cubicBezTo>
                  <a:cubicBezTo>
                    <a:pt x="822895" y="514987"/>
                    <a:pt x="797112" y="502935"/>
                    <a:pt x="763609" y="522468"/>
                  </a:cubicBezTo>
                  <a:cubicBezTo>
                    <a:pt x="749198" y="530753"/>
                    <a:pt x="735813" y="540971"/>
                    <a:pt x="721310" y="548615"/>
                  </a:cubicBezTo>
                  <a:cubicBezTo>
                    <a:pt x="694744" y="562390"/>
                    <a:pt x="684113" y="581356"/>
                    <a:pt x="686415" y="611103"/>
                  </a:cubicBezTo>
                  <a:cubicBezTo>
                    <a:pt x="689005" y="644742"/>
                    <a:pt x="689356" y="645009"/>
                    <a:pt x="650330" y="661747"/>
                  </a:cubicBezTo>
                  <a:cubicBezTo>
                    <a:pt x="611770" y="678297"/>
                    <a:pt x="569721" y="683827"/>
                    <a:pt x="530488" y="698356"/>
                  </a:cubicBezTo>
                  <a:cubicBezTo>
                    <a:pt x="480616" y="716867"/>
                    <a:pt x="473958" y="735461"/>
                    <a:pt x="474361" y="779263"/>
                  </a:cubicBezTo>
                  <a:cubicBezTo>
                    <a:pt x="474785" y="809599"/>
                    <a:pt x="477458" y="840080"/>
                    <a:pt x="480605" y="870344"/>
                  </a:cubicBezTo>
                  <a:cubicBezTo>
                    <a:pt x="482318" y="885594"/>
                    <a:pt x="481545" y="900958"/>
                    <a:pt x="483671" y="915941"/>
                  </a:cubicBezTo>
                  <a:cubicBezTo>
                    <a:pt x="488523" y="954243"/>
                    <a:pt x="487459" y="992372"/>
                    <a:pt x="483567" y="1032024"/>
                  </a:cubicBezTo>
                  <a:cubicBezTo>
                    <a:pt x="473566" y="1021537"/>
                    <a:pt x="473949" y="1010593"/>
                    <a:pt x="473691" y="999344"/>
                  </a:cubicBezTo>
                  <a:cubicBezTo>
                    <a:pt x="473536" y="979484"/>
                    <a:pt x="476776" y="959339"/>
                    <a:pt x="464906" y="940468"/>
                  </a:cubicBezTo>
                  <a:cubicBezTo>
                    <a:pt x="450613" y="917653"/>
                    <a:pt x="426212" y="913670"/>
                    <a:pt x="407260" y="932635"/>
                  </a:cubicBezTo>
                  <a:cubicBezTo>
                    <a:pt x="394174" y="945586"/>
                    <a:pt x="389716" y="964911"/>
                    <a:pt x="376823" y="977065"/>
                  </a:cubicBezTo>
                  <a:cubicBezTo>
                    <a:pt x="353197" y="999487"/>
                    <a:pt x="345580" y="1025709"/>
                    <a:pt x="348482" y="1056475"/>
                  </a:cubicBezTo>
                  <a:cubicBezTo>
                    <a:pt x="350193" y="1074858"/>
                    <a:pt x="342196" y="1090765"/>
                    <a:pt x="334093" y="1106357"/>
                  </a:cubicBezTo>
                  <a:cubicBezTo>
                    <a:pt x="323060" y="1127550"/>
                    <a:pt x="322947" y="1127103"/>
                    <a:pt x="299434" y="1119016"/>
                  </a:cubicBezTo>
                  <a:cubicBezTo>
                    <a:pt x="295223" y="1117406"/>
                    <a:pt x="290847" y="1116387"/>
                    <a:pt x="286883" y="1114215"/>
                  </a:cubicBezTo>
                  <a:cubicBezTo>
                    <a:pt x="274920" y="1108005"/>
                    <a:pt x="267820" y="1110510"/>
                    <a:pt x="260037" y="1122369"/>
                  </a:cubicBezTo>
                  <a:cubicBezTo>
                    <a:pt x="249066" y="1139523"/>
                    <a:pt x="247859" y="1160031"/>
                    <a:pt x="238445" y="1177119"/>
                  </a:cubicBezTo>
                  <a:cubicBezTo>
                    <a:pt x="225760" y="1200102"/>
                    <a:pt x="222963" y="1222020"/>
                    <a:pt x="239416" y="1243698"/>
                  </a:cubicBezTo>
                  <a:cubicBezTo>
                    <a:pt x="249529" y="1257119"/>
                    <a:pt x="244894" y="1267901"/>
                    <a:pt x="233202" y="1276093"/>
                  </a:cubicBezTo>
                  <a:cubicBezTo>
                    <a:pt x="225016" y="1281932"/>
                    <a:pt x="222694" y="1288533"/>
                    <a:pt x="222963" y="1297591"/>
                  </a:cubicBezTo>
                  <a:cubicBezTo>
                    <a:pt x="223169" y="1303077"/>
                    <a:pt x="221632" y="1308983"/>
                    <a:pt x="221632" y="1314079"/>
                  </a:cubicBezTo>
                  <a:cubicBezTo>
                    <a:pt x="221632" y="1344549"/>
                    <a:pt x="206799" y="1376324"/>
                    <a:pt x="229311" y="1404919"/>
                  </a:cubicBezTo>
                  <a:cubicBezTo>
                    <a:pt x="231808" y="1408129"/>
                    <a:pt x="233644" y="1412377"/>
                    <a:pt x="229723" y="1417063"/>
                  </a:cubicBezTo>
                  <a:cubicBezTo>
                    <a:pt x="212580" y="1437646"/>
                    <a:pt x="220909" y="1456792"/>
                    <a:pt x="233460" y="1475708"/>
                  </a:cubicBezTo>
                  <a:cubicBezTo>
                    <a:pt x="242996" y="1490015"/>
                    <a:pt x="240942" y="1498083"/>
                    <a:pt x="226513" y="1507150"/>
                  </a:cubicBezTo>
                  <a:cubicBezTo>
                    <a:pt x="206520" y="1519714"/>
                    <a:pt x="185517" y="1530915"/>
                    <a:pt x="166297" y="1544669"/>
                  </a:cubicBezTo>
                  <a:cubicBezTo>
                    <a:pt x="134694" y="1567577"/>
                    <a:pt x="113473" y="1598257"/>
                    <a:pt x="110707" y="1637776"/>
                  </a:cubicBezTo>
                  <a:cubicBezTo>
                    <a:pt x="107001" y="1690440"/>
                    <a:pt x="113039" y="1742904"/>
                    <a:pt x="117271" y="1795377"/>
                  </a:cubicBezTo>
                  <a:cubicBezTo>
                    <a:pt x="120626" y="1836363"/>
                    <a:pt x="124455" y="1877359"/>
                    <a:pt x="126302" y="1918383"/>
                  </a:cubicBezTo>
                  <a:cubicBezTo>
                    <a:pt x="127861" y="1949672"/>
                    <a:pt x="123835" y="1980705"/>
                    <a:pt x="123392" y="2011832"/>
                  </a:cubicBezTo>
                  <a:cubicBezTo>
                    <a:pt x="123268" y="2027596"/>
                    <a:pt x="120626" y="2042932"/>
                    <a:pt x="116332" y="2057962"/>
                  </a:cubicBezTo>
                  <a:cubicBezTo>
                    <a:pt x="111429" y="2074688"/>
                    <a:pt x="105505" y="2091004"/>
                    <a:pt x="100633" y="2107711"/>
                  </a:cubicBezTo>
                  <a:cubicBezTo>
                    <a:pt x="95070" y="2126799"/>
                    <a:pt x="96876" y="2143887"/>
                    <a:pt x="112699" y="2158937"/>
                  </a:cubicBezTo>
                  <a:cubicBezTo>
                    <a:pt x="132093" y="2177348"/>
                    <a:pt x="154935" y="2190322"/>
                    <a:pt x="177033" y="2204542"/>
                  </a:cubicBezTo>
                  <a:cubicBezTo>
                    <a:pt x="201257" y="2220097"/>
                    <a:pt x="227979" y="2232136"/>
                    <a:pt x="249066" y="2252282"/>
                  </a:cubicBezTo>
                  <a:cubicBezTo>
                    <a:pt x="253782" y="2256806"/>
                    <a:pt x="255661" y="2260206"/>
                    <a:pt x="253225" y="2267760"/>
                  </a:cubicBezTo>
                  <a:cubicBezTo>
                    <a:pt x="246598" y="2287743"/>
                    <a:pt x="244596" y="2308574"/>
                    <a:pt x="266664" y="2321614"/>
                  </a:cubicBezTo>
                  <a:cubicBezTo>
                    <a:pt x="283094" y="2331292"/>
                    <a:pt x="299867" y="2340750"/>
                    <a:pt x="318374" y="2346122"/>
                  </a:cubicBezTo>
                  <a:cubicBezTo>
                    <a:pt x="336858" y="2351465"/>
                    <a:pt x="356335" y="2351294"/>
                    <a:pt x="374335" y="2359524"/>
                  </a:cubicBezTo>
                  <a:cubicBezTo>
                    <a:pt x="409016" y="2375354"/>
                    <a:pt x="434356" y="2402100"/>
                    <a:pt x="459446" y="2428856"/>
                  </a:cubicBezTo>
                  <a:cubicBezTo>
                    <a:pt x="467652" y="2437562"/>
                    <a:pt x="477283" y="2447982"/>
                    <a:pt x="478397" y="2464099"/>
                  </a:cubicBezTo>
                  <a:cubicBezTo>
                    <a:pt x="471357" y="2458460"/>
                    <a:pt x="467083" y="2454621"/>
                    <a:pt x="464565" y="2448630"/>
                  </a:cubicBezTo>
                  <a:cubicBezTo>
                    <a:pt x="456227" y="2429256"/>
                    <a:pt x="440363" y="2417855"/>
                    <a:pt x="419832" y="2414826"/>
                  </a:cubicBezTo>
                  <a:cubicBezTo>
                    <a:pt x="406457" y="2412787"/>
                    <a:pt x="395805" y="2407787"/>
                    <a:pt x="385864" y="2399386"/>
                  </a:cubicBezTo>
                  <a:cubicBezTo>
                    <a:pt x="366977" y="2383908"/>
                    <a:pt x="345931" y="2372506"/>
                    <a:pt x="320995" y="2369096"/>
                  </a:cubicBezTo>
                  <a:cubicBezTo>
                    <a:pt x="302705" y="2366563"/>
                    <a:pt x="284572" y="2368220"/>
                    <a:pt x="266343" y="2368010"/>
                  </a:cubicBezTo>
                  <a:cubicBezTo>
                    <a:pt x="259644" y="2367963"/>
                    <a:pt x="254133" y="2366848"/>
                    <a:pt x="250304" y="2361276"/>
                  </a:cubicBezTo>
                  <a:cubicBezTo>
                    <a:pt x="243482" y="2351018"/>
                    <a:pt x="233386" y="2343303"/>
                    <a:pt x="225728" y="2333892"/>
                  </a:cubicBezTo>
                  <a:cubicBezTo>
                    <a:pt x="210515" y="2315099"/>
                    <a:pt x="193123" y="2306641"/>
                    <a:pt x="168673" y="2315004"/>
                  </a:cubicBezTo>
                  <a:cubicBezTo>
                    <a:pt x="162159" y="2317185"/>
                    <a:pt x="155604" y="2316071"/>
                    <a:pt x="150629" y="2307822"/>
                  </a:cubicBezTo>
                  <a:cubicBezTo>
                    <a:pt x="144262" y="2297535"/>
                    <a:pt x="139441" y="2286553"/>
                    <a:pt x="133156" y="2276408"/>
                  </a:cubicBezTo>
                  <a:cubicBezTo>
                    <a:pt x="123639" y="2261692"/>
                    <a:pt x="112306" y="2252053"/>
                    <a:pt x="92778" y="2253539"/>
                  </a:cubicBezTo>
                  <a:cubicBezTo>
                    <a:pt x="73973" y="2255053"/>
                    <a:pt x="54331" y="2252691"/>
                    <a:pt x="45124" y="2274703"/>
                  </a:cubicBezTo>
                  <a:cubicBezTo>
                    <a:pt x="42100" y="2282171"/>
                    <a:pt x="36506" y="2286057"/>
                    <a:pt x="28208" y="2288391"/>
                  </a:cubicBezTo>
                  <a:cubicBezTo>
                    <a:pt x="-3241" y="2297506"/>
                    <a:pt x="-4428" y="2326072"/>
                    <a:pt x="5573" y="2345541"/>
                  </a:cubicBezTo>
                  <a:cubicBezTo>
                    <a:pt x="15234" y="2364667"/>
                    <a:pt x="32904" y="2376488"/>
                    <a:pt x="52164" y="2385574"/>
                  </a:cubicBezTo>
                  <a:cubicBezTo>
                    <a:pt x="65654" y="2391966"/>
                    <a:pt x="64580" y="2398995"/>
                    <a:pt x="54104" y="2406977"/>
                  </a:cubicBezTo>
                  <a:cubicBezTo>
                    <a:pt x="39757" y="2418093"/>
                    <a:pt x="42101" y="2431628"/>
                    <a:pt x="48387" y="2445610"/>
                  </a:cubicBezTo>
                  <a:cubicBezTo>
                    <a:pt x="56489" y="2463279"/>
                    <a:pt x="67336" y="2480291"/>
                    <a:pt x="71816" y="2498589"/>
                  </a:cubicBezTo>
                  <a:cubicBezTo>
                    <a:pt x="77885" y="2524239"/>
                    <a:pt x="92675" y="2533374"/>
                    <a:pt x="117674" y="2534927"/>
                  </a:cubicBezTo>
                  <a:cubicBezTo>
                    <a:pt x="143601" y="2536593"/>
                    <a:pt x="143663" y="2537917"/>
                    <a:pt x="148659" y="2565845"/>
                  </a:cubicBezTo>
                  <a:cubicBezTo>
                    <a:pt x="149442" y="2570493"/>
                    <a:pt x="151518" y="2571369"/>
                    <a:pt x="155616" y="2571560"/>
                  </a:cubicBezTo>
                  <a:cubicBezTo>
                    <a:pt x="183947" y="2573474"/>
                    <a:pt x="212147" y="2576351"/>
                    <a:pt x="240757" y="2577370"/>
                  </a:cubicBezTo>
                  <a:cubicBezTo>
                    <a:pt x="266560" y="2578313"/>
                    <a:pt x="290515" y="2574093"/>
                    <a:pt x="316185" y="2563730"/>
                  </a:cubicBezTo>
                  <a:cubicBezTo>
                    <a:pt x="361538" y="2545652"/>
                    <a:pt x="410471" y="2534927"/>
                    <a:pt x="461067" y="2536898"/>
                  </a:cubicBezTo>
                  <a:cubicBezTo>
                    <a:pt x="478954" y="2537708"/>
                    <a:pt x="489431" y="2543709"/>
                    <a:pt x="497356" y="2559034"/>
                  </a:cubicBezTo>
                  <a:cubicBezTo>
                    <a:pt x="529353" y="2621337"/>
                    <a:pt x="551626" y="2687183"/>
                    <a:pt x="572104" y="2753611"/>
                  </a:cubicBezTo>
                  <a:cubicBezTo>
                    <a:pt x="577163" y="2770051"/>
                    <a:pt x="580734" y="2787025"/>
                    <a:pt x="580918" y="2804360"/>
                  </a:cubicBezTo>
                  <a:cubicBezTo>
                    <a:pt x="569626" y="2775385"/>
                    <a:pt x="560812" y="2745496"/>
                    <a:pt x="545010" y="2718073"/>
                  </a:cubicBezTo>
                  <a:cubicBezTo>
                    <a:pt x="530521" y="2693118"/>
                    <a:pt x="527516" y="2691327"/>
                    <a:pt x="498646" y="2697185"/>
                  </a:cubicBezTo>
                  <a:cubicBezTo>
                    <a:pt x="493290" y="2698299"/>
                    <a:pt x="487500" y="2698709"/>
                    <a:pt x="484899" y="2693118"/>
                  </a:cubicBezTo>
                  <a:cubicBezTo>
                    <a:pt x="472968" y="2667410"/>
                    <a:pt x="449806" y="2654760"/>
                    <a:pt x="425293" y="2644397"/>
                  </a:cubicBezTo>
                  <a:cubicBezTo>
                    <a:pt x="413402" y="2639282"/>
                    <a:pt x="400747" y="2632043"/>
                    <a:pt x="387940" y="2634186"/>
                  </a:cubicBezTo>
                  <a:cubicBezTo>
                    <a:pt x="381872" y="2634987"/>
                    <a:pt x="377432" y="2646102"/>
                    <a:pt x="371983" y="2652484"/>
                  </a:cubicBezTo>
                  <a:cubicBezTo>
                    <a:pt x="371364" y="2653075"/>
                    <a:pt x="370403" y="2653284"/>
                    <a:pt x="369629" y="2653694"/>
                  </a:cubicBezTo>
                  <a:cubicBezTo>
                    <a:pt x="365398" y="2645159"/>
                    <a:pt x="359391" y="2637616"/>
                    <a:pt x="354405" y="2629491"/>
                  </a:cubicBezTo>
                  <a:cubicBezTo>
                    <a:pt x="345405" y="2614536"/>
                    <a:pt x="332721" y="2608278"/>
                    <a:pt x="315338" y="2608221"/>
                  </a:cubicBezTo>
                  <a:cubicBezTo>
                    <a:pt x="288513" y="2608088"/>
                    <a:pt x="266880" y="2621499"/>
                    <a:pt x="244401" y="2632929"/>
                  </a:cubicBezTo>
                  <a:cubicBezTo>
                    <a:pt x="228474" y="2641102"/>
                    <a:pt x="223655" y="2653170"/>
                    <a:pt x="228979" y="2670001"/>
                  </a:cubicBezTo>
                  <a:cubicBezTo>
                    <a:pt x="232654" y="2682659"/>
                    <a:pt x="239158" y="2693775"/>
                    <a:pt x="249354" y="2702424"/>
                  </a:cubicBezTo>
                  <a:cubicBezTo>
                    <a:pt x="261450" y="2712520"/>
                    <a:pt x="273548" y="2722674"/>
                    <a:pt x="286099" y="2732361"/>
                  </a:cubicBezTo>
                  <a:cubicBezTo>
                    <a:pt x="294583" y="2738723"/>
                    <a:pt x="295471" y="2746677"/>
                    <a:pt x="288555" y="2752792"/>
                  </a:cubicBezTo>
                  <a:cubicBezTo>
                    <a:pt x="271246" y="2768899"/>
                    <a:pt x="279224" y="2784158"/>
                    <a:pt x="288525" y="2799636"/>
                  </a:cubicBezTo>
                  <a:cubicBezTo>
                    <a:pt x="292178" y="2805618"/>
                    <a:pt x="295501" y="2812133"/>
                    <a:pt x="300507" y="2816924"/>
                  </a:cubicBezTo>
                  <a:cubicBezTo>
                    <a:pt x="311974" y="2828458"/>
                    <a:pt x="310571" y="2841355"/>
                    <a:pt x="305689" y="2854757"/>
                  </a:cubicBezTo>
                  <a:cubicBezTo>
                    <a:pt x="303325" y="2861720"/>
                    <a:pt x="301943" y="2867835"/>
                    <a:pt x="292126" y="2859281"/>
                  </a:cubicBezTo>
                  <a:cubicBezTo>
                    <a:pt x="273723" y="2843556"/>
                    <a:pt x="253886" y="2829125"/>
                    <a:pt x="227256" y="2830459"/>
                  </a:cubicBezTo>
                  <a:cubicBezTo>
                    <a:pt x="221021" y="2830783"/>
                    <a:pt x="216976" y="2831526"/>
                    <a:pt x="214654" y="2838584"/>
                  </a:cubicBezTo>
                  <a:cubicBezTo>
                    <a:pt x="205747" y="2864996"/>
                    <a:pt x="195848" y="2890952"/>
                    <a:pt x="186693" y="2917136"/>
                  </a:cubicBezTo>
                  <a:cubicBezTo>
                    <a:pt x="181016" y="2933824"/>
                    <a:pt x="187322" y="2950207"/>
                    <a:pt x="201835" y="2960227"/>
                  </a:cubicBezTo>
                  <a:cubicBezTo>
                    <a:pt x="214416" y="2968914"/>
                    <a:pt x="228484" y="2975620"/>
                    <a:pt x="243245" y="2977963"/>
                  </a:cubicBezTo>
                  <a:cubicBezTo>
                    <a:pt x="257601" y="2980220"/>
                    <a:pt x="256363" y="2986354"/>
                    <a:pt x="254547" y="2996803"/>
                  </a:cubicBezTo>
                  <a:cubicBezTo>
                    <a:pt x="251790" y="3010529"/>
                    <a:pt x="247497" y="3026655"/>
                    <a:pt x="256374" y="3038056"/>
                  </a:cubicBezTo>
                  <a:cubicBezTo>
                    <a:pt x="270204" y="3056068"/>
                    <a:pt x="289216" y="3069222"/>
                    <a:pt x="311230" y="3077432"/>
                  </a:cubicBezTo>
                  <a:cubicBezTo>
                    <a:pt x="328477" y="3083967"/>
                    <a:pt x="346839" y="3078023"/>
                    <a:pt x="364284" y="3081176"/>
                  </a:cubicBezTo>
                  <a:cubicBezTo>
                    <a:pt x="360052" y="3105141"/>
                    <a:pt x="349430" y="3126715"/>
                    <a:pt x="341689" y="3149108"/>
                  </a:cubicBezTo>
                  <a:cubicBezTo>
                    <a:pt x="324246" y="3199629"/>
                    <a:pt x="303551" y="3249302"/>
                    <a:pt x="309373" y="3304318"/>
                  </a:cubicBezTo>
                  <a:cubicBezTo>
                    <a:pt x="311345" y="3321730"/>
                    <a:pt x="316960" y="3336751"/>
                    <a:pt x="333484" y="3347037"/>
                  </a:cubicBezTo>
                  <a:cubicBezTo>
                    <a:pt x="352693" y="3358839"/>
                    <a:pt x="373944" y="3365583"/>
                    <a:pt x="394484" y="3373470"/>
                  </a:cubicBezTo>
                  <a:cubicBezTo>
                    <a:pt x="455845" y="3397263"/>
                    <a:pt x="508123" y="3432896"/>
                    <a:pt x="548562" y="3485303"/>
                  </a:cubicBezTo>
                  <a:cubicBezTo>
                    <a:pt x="569721" y="3512868"/>
                    <a:pt x="587887" y="3543291"/>
                    <a:pt x="614587" y="3566779"/>
                  </a:cubicBezTo>
                  <a:cubicBezTo>
                    <a:pt x="638255" y="3587525"/>
                    <a:pt x="665658" y="3592421"/>
                    <a:pt x="695879" y="3587353"/>
                  </a:cubicBezTo>
                  <a:cubicBezTo>
                    <a:pt x="723540" y="3582781"/>
                    <a:pt x="749364" y="3572590"/>
                    <a:pt x="775901" y="3564808"/>
                  </a:cubicBezTo>
                  <a:cubicBezTo>
                    <a:pt x="791475" y="3560398"/>
                    <a:pt x="809961" y="3555778"/>
                    <a:pt x="822884" y="3562931"/>
                  </a:cubicBezTo>
                  <a:cubicBezTo>
                    <a:pt x="849853" y="3577590"/>
                    <a:pt x="874956" y="3573228"/>
                    <a:pt x="900397" y="3563817"/>
                  </a:cubicBezTo>
                  <a:cubicBezTo>
                    <a:pt x="910657" y="3559997"/>
                    <a:pt x="917914" y="3561798"/>
                    <a:pt x="925974" y="3567160"/>
                  </a:cubicBezTo>
                  <a:cubicBezTo>
                    <a:pt x="936771" y="3574218"/>
                    <a:pt x="948104" y="3579695"/>
                    <a:pt x="961463" y="3579552"/>
                  </a:cubicBezTo>
                  <a:cubicBezTo>
                    <a:pt x="968845" y="3579552"/>
                    <a:pt x="977170" y="3578086"/>
                    <a:pt x="980942" y="3586877"/>
                  </a:cubicBezTo>
                  <a:cubicBezTo>
                    <a:pt x="985599" y="3597669"/>
                    <a:pt x="986399" y="3608051"/>
                    <a:pt x="978151" y="3618005"/>
                  </a:cubicBezTo>
                  <a:cubicBezTo>
                    <a:pt x="971636" y="3625901"/>
                    <a:pt x="963749" y="3627482"/>
                    <a:pt x="954719" y="3625253"/>
                  </a:cubicBezTo>
                  <a:cubicBezTo>
                    <a:pt x="942324" y="3622177"/>
                    <a:pt x="930258" y="3618595"/>
                    <a:pt x="918191" y="3614947"/>
                  </a:cubicBezTo>
                  <a:cubicBezTo>
                    <a:pt x="887259" y="3605870"/>
                    <a:pt x="881487" y="3608356"/>
                    <a:pt x="874956" y="3633702"/>
                  </a:cubicBezTo>
                  <a:cubicBezTo>
                    <a:pt x="874615" y="3635016"/>
                    <a:pt x="874739" y="3636588"/>
                    <a:pt x="874170" y="3638121"/>
                  </a:cubicBezTo>
                  <a:cubicBezTo>
                    <a:pt x="873201" y="3642255"/>
                    <a:pt x="877318" y="3648151"/>
                    <a:pt x="871353" y="3650142"/>
                  </a:cubicBezTo>
                  <a:cubicBezTo>
                    <a:pt x="866358" y="3651780"/>
                    <a:pt x="861868" y="3647894"/>
                    <a:pt x="858048" y="3644903"/>
                  </a:cubicBezTo>
                  <a:cubicBezTo>
                    <a:pt x="846602" y="3636235"/>
                    <a:pt x="836002" y="3626577"/>
                    <a:pt x="824204" y="3618719"/>
                  </a:cubicBezTo>
                  <a:cubicBezTo>
                    <a:pt x="802633" y="3604298"/>
                    <a:pt x="768500" y="3615185"/>
                    <a:pt x="765300" y="3637941"/>
                  </a:cubicBezTo>
                  <a:cubicBezTo>
                    <a:pt x="761429" y="3664963"/>
                    <a:pt x="760232" y="3692557"/>
                    <a:pt x="765476" y="3719722"/>
                  </a:cubicBezTo>
                  <a:cubicBezTo>
                    <a:pt x="770906" y="3748231"/>
                    <a:pt x="788637" y="3760613"/>
                    <a:pt x="813150" y="3755012"/>
                  </a:cubicBezTo>
                  <a:cubicBezTo>
                    <a:pt x="833401" y="3750278"/>
                    <a:pt x="839688" y="3753136"/>
                    <a:pt x="842960" y="3773119"/>
                  </a:cubicBezTo>
                  <a:cubicBezTo>
                    <a:pt x="846994" y="3797417"/>
                    <a:pt x="856025" y="3813829"/>
                    <a:pt x="884451" y="3818020"/>
                  </a:cubicBezTo>
                  <a:cubicBezTo>
                    <a:pt x="903823" y="3820840"/>
                    <a:pt x="911585" y="3832812"/>
                    <a:pt x="908562" y="3847033"/>
                  </a:cubicBezTo>
                  <a:cubicBezTo>
                    <a:pt x="906157" y="3857273"/>
                    <a:pt x="906157" y="3867798"/>
                    <a:pt x="903741" y="3878199"/>
                  </a:cubicBezTo>
                  <a:cubicBezTo>
                    <a:pt x="899108" y="3895963"/>
                    <a:pt x="897446" y="3915347"/>
                    <a:pt x="910420" y="3930825"/>
                  </a:cubicBezTo>
                  <a:cubicBezTo>
                    <a:pt x="939877" y="3965553"/>
                    <a:pt x="970483" y="3999433"/>
                    <a:pt x="1006326" y="4027846"/>
                  </a:cubicBezTo>
                  <a:cubicBezTo>
                    <a:pt x="1048503" y="4061127"/>
                    <a:pt x="1083374" y="4099770"/>
                    <a:pt x="1114558" y="4142784"/>
                  </a:cubicBezTo>
                  <a:cubicBezTo>
                    <a:pt x="1144048" y="4183828"/>
                    <a:pt x="1173928" y="4224976"/>
                    <a:pt x="1211037" y="4260171"/>
                  </a:cubicBezTo>
                  <a:cubicBezTo>
                    <a:pt x="1233249" y="4281135"/>
                    <a:pt x="1258186" y="4298080"/>
                    <a:pt x="1289885" y="4297775"/>
                  </a:cubicBezTo>
                  <a:cubicBezTo>
                    <a:pt x="1332548" y="4297537"/>
                    <a:pt x="1375039" y="4299957"/>
                    <a:pt x="1417834" y="4295594"/>
                  </a:cubicBezTo>
                  <a:cubicBezTo>
                    <a:pt x="1464802" y="4290727"/>
                    <a:pt x="1511541" y="4284612"/>
                    <a:pt x="1558071" y="4276478"/>
                  </a:cubicBezTo>
                  <a:cubicBezTo>
                    <a:pt x="1636338" y="4262971"/>
                    <a:pt x="1712509" y="4241264"/>
                    <a:pt x="1788290" y="4217670"/>
                  </a:cubicBezTo>
                  <a:cubicBezTo>
                    <a:pt x="1820132" y="4207498"/>
                    <a:pt x="1840840" y="4188685"/>
                    <a:pt x="1847726" y="4155539"/>
                  </a:cubicBezTo>
                  <a:cubicBezTo>
                    <a:pt x="1853022" y="4129640"/>
                    <a:pt x="1859051" y="4103923"/>
                    <a:pt x="1866643" y="4078719"/>
                  </a:cubicBezTo>
                  <a:cubicBezTo>
                    <a:pt x="1870034" y="4067623"/>
                    <a:pt x="1869386" y="4053831"/>
                    <a:pt x="1888207" y="4050297"/>
                  </a:cubicBezTo>
                  <a:cubicBezTo>
                    <a:pt x="1924145" y="4043591"/>
                    <a:pt x="1960588" y="4041639"/>
                    <a:pt x="1996650" y="4039057"/>
                  </a:cubicBezTo>
                  <a:cubicBezTo>
                    <a:pt x="2056905" y="4034819"/>
                    <a:pt x="2117103" y="4032276"/>
                    <a:pt x="2177272" y="4032666"/>
                  </a:cubicBezTo>
                  <a:cubicBezTo>
                    <a:pt x="2323986" y="4033180"/>
                    <a:pt x="2470785" y="4028199"/>
                    <a:pt x="2617289" y="4034885"/>
                  </a:cubicBezTo>
                  <a:cubicBezTo>
                    <a:pt x="2643331" y="4036143"/>
                    <a:pt x="2669296" y="4036143"/>
                    <a:pt x="2695223" y="4037114"/>
                  </a:cubicBezTo>
                  <a:cubicBezTo>
                    <a:pt x="2754554" y="4039515"/>
                    <a:pt x="2813542" y="4043972"/>
                    <a:pt x="2872635" y="4050011"/>
                  </a:cubicBezTo>
                  <a:cubicBezTo>
                    <a:pt x="2908278" y="4053831"/>
                    <a:pt x="2921660" y="4064194"/>
                    <a:pt x="2929699" y="4098960"/>
                  </a:cubicBezTo>
                  <a:cubicBezTo>
                    <a:pt x="2936834" y="4129973"/>
                    <a:pt x="2937758" y="4161701"/>
                    <a:pt x="2935596" y="4193181"/>
                  </a:cubicBezTo>
                  <a:cubicBezTo>
                    <a:pt x="2934014" y="4214098"/>
                    <a:pt x="2944197" y="4224338"/>
                    <a:pt x="2960618" y="4233415"/>
                  </a:cubicBezTo>
                  <a:cubicBezTo>
                    <a:pt x="3005795" y="4258656"/>
                    <a:pt x="3056287" y="4267686"/>
                    <a:pt x="3105979" y="4278068"/>
                  </a:cubicBezTo>
                  <a:cubicBezTo>
                    <a:pt x="3147355" y="4286536"/>
                    <a:pt x="3189142" y="4293080"/>
                    <a:pt x="3230442" y="4301071"/>
                  </a:cubicBezTo>
                  <a:cubicBezTo>
                    <a:pt x="3266028" y="4307958"/>
                    <a:pt x="3301689" y="4314387"/>
                    <a:pt x="3337732" y="4318435"/>
                  </a:cubicBezTo>
                  <a:cubicBezTo>
                    <a:pt x="3366754" y="4321741"/>
                    <a:pt x="3395786" y="4324846"/>
                    <a:pt x="3424638" y="4329199"/>
                  </a:cubicBezTo>
                  <a:cubicBezTo>
                    <a:pt x="3466691" y="4335504"/>
                    <a:pt x="3506791" y="4328732"/>
                    <a:pt x="3538442" y="4297775"/>
                  </a:cubicBezTo>
                  <a:cubicBezTo>
                    <a:pt x="3562474" y="4274249"/>
                    <a:pt x="3582657" y="4247350"/>
                    <a:pt x="3600974" y="4219547"/>
                  </a:cubicBezTo>
                  <a:cubicBezTo>
                    <a:pt x="3620157" y="4190486"/>
                    <a:pt x="3639969" y="4161073"/>
                    <a:pt x="3665020" y="4137574"/>
                  </a:cubicBezTo>
                  <a:cubicBezTo>
                    <a:pt x="3697977" y="4106951"/>
                    <a:pt x="3733876" y="4078938"/>
                    <a:pt x="3765194" y="4046601"/>
                  </a:cubicBezTo>
                  <a:cubicBezTo>
                    <a:pt x="3787140" y="4023913"/>
                    <a:pt x="3811962" y="4005406"/>
                    <a:pt x="3838146" y="3988194"/>
                  </a:cubicBezTo>
                  <a:cubicBezTo>
                    <a:pt x="3845967" y="3983279"/>
                    <a:pt x="3851415" y="3977269"/>
                    <a:pt x="3855044" y="3969515"/>
                  </a:cubicBezTo>
                  <a:cubicBezTo>
                    <a:pt x="3865731" y="3946408"/>
                    <a:pt x="3867693" y="3921795"/>
                    <a:pt x="3862083" y="3897240"/>
                  </a:cubicBezTo>
                  <a:cubicBezTo>
                    <a:pt x="3855825" y="3870151"/>
                    <a:pt x="3855072" y="3870293"/>
                    <a:pt x="3879333" y="3853844"/>
                  </a:cubicBezTo>
                  <a:cubicBezTo>
                    <a:pt x="3881504" y="3852463"/>
                    <a:pt x="3882981" y="3849948"/>
                    <a:pt x="3885295" y="3849053"/>
                  </a:cubicBezTo>
                  <a:cubicBezTo>
                    <a:pt x="3894687" y="3844824"/>
                    <a:pt x="3899545" y="3838547"/>
                    <a:pt x="3899183" y="3827812"/>
                  </a:cubicBezTo>
                  <a:cubicBezTo>
                    <a:pt x="3898859" y="3819392"/>
                    <a:pt x="3904326" y="3813496"/>
                    <a:pt x="3911413" y="3808419"/>
                  </a:cubicBezTo>
                  <a:cubicBezTo>
                    <a:pt x="3925843" y="3797913"/>
                    <a:pt x="3943636" y="3794217"/>
                    <a:pt x="3958942" y="3785445"/>
                  </a:cubicBezTo>
                  <a:cubicBezTo>
                    <a:pt x="3969153" y="3779596"/>
                    <a:pt x="3975078" y="3772243"/>
                    <a:pt x="3977421" y="3759946"/>
                  </a:cubicBezTo>
                  <a:cubicBezTo>
                    <a:pt x="3983631" y="3727285"/>
                    <a:pt x="3978802" y="3694729"/>
                    <a:pt x="3980240" y="3662096"/>
                  </a:cubicBezTo>
                  <a:cubicBezTo>
                    <a:pt x="3980736" y="3648932"/>
                    <a:pt x="3973259" y="3643436"/>
                    <a:pt x="3960171" y="3641732"/>
                  </a:cubicBezTo>
                  <a:cubicBezTo>
                    <a:pt x="3939797" y="3639055"/>
                    <a:pt x="3924757" y="3650199"/>
                    <a:pt x="3908993" y="3658915"/>
                  </a:cubicBezTo>
                  <a:cubicBezTo>
                    <a:pt x="3895439" y="3666401"/>
                    <a:pt x="3887476" y="3663563"/>
                    <a:pt x="3879799" y="3651571"/>
                  </a:cubicBezTo>
                  <a:cubicBezTo>
                    <a:pt x="3871208" y="3637959"/>
                    <a:pt x="3863826" y="3636845"/>
                    <a:pt x="3850015" y="3645313"/>
                  </a:cubicBezTo>
                  <a:cubicBezTo>
                    <a:pt x="3836060" y="3653800"/>
                    <a:pt x="3821040" y="3659486"/>
                    <a:pt x="3805876" y="3664915"/>
                  </a:cubicBezTo>
                  <a:cubicBezTo>
                    <a:pt x="3793560" y="3669554"/>
                    <a:pt x="3787321" y="3663849"/>
                    <a:pt x="3782302" y="3655438"/>
                  </a:cubicBezTo>
                  <a:cubicBezTo>
                    <a:pt x="3776853" y="3645742"/>
                    <a:pt x="3771338" y="3634597"/>
                    <a:pt x="3780378" y="3624834"/>
                  </a:cubicBezTo>
                  <a:cubicBezTo>
                    <a:pt x="3787321" y="3617062"/>
                    <a:pt x="3796513" y="3611270"/>
                    <a:pt x="3805190" y="3605127"/>
                  </a:cubicBezTo>
                  <a:cubicBezTo>
                    <a:pt x="3815668" y="3597955"/>
                    <a:pt x="3827031" y="3594116"/>
                    <a:pt x="3839947" y="3595888"/>
                  </a:cubicBezTo>
                  <a:cubicBezTo>
                    <a:pt x="3856958" y="3597945"/>
                    <a:pt x="3874827" y="3585058"/>
                    <a:pt x="3890743" y="3596840"/>
                  </a:cubicBezTo>
                  <a:cubicBezTo>
                    <a:pt x="3903755" y="3606527"/>
                    <a:pt x="3917928" y="3605232"/>
                    <a:pt x="3932053" y="3604793"/>
                  </a:cubicBezTo>
                  <a:cubicBezTo>
                    <a:pt x="3953399" y="3604660"/>
                    <a:pt x="3973440" y="3610661"/>
                    <a:pt x="3993394" y="3616290"/>
                  </a:cubicBezTo>
                  <a:cubicBezTo>
                    <a:pt x="4025551" y="3625520"/>
                    <a:pt x="4057079" y="3636321"/>
                    <a:pt x="4090226" y="3641560"/>
                  </a:cubicBezTo>
                  <a:cubicBezTo>
                    <a:pt x="4100160" y="3642989"/>
                    <a:pt x="4110609" y="3643741"/>
                    <a:pt x="4119496" y="3635893"/>
                  </a:cubicBezTo>
                  <a:cubicBezTo>
                    <a:pt x="4140575" y="3617081"/>
                    <a:pt x="4158825" y="3595526"/>
                    <a:pt x="4177608" y="3574409"/>
                  </a:cubicBezTo>
                  <a:cubicBezTo>
                    <a:pt x="4197992" y="3551511"/>
                    <a:pt x="4218270" y="3528451"/>
                    <a:pt x="4242578" y="3509839"/>
                  </a:cubicBezTo>
                  <a:cubicBezTo>
                    <a:pt x="4285517" y="3476444"/>
                    <a:pt x="4333875" y="3450489"/>
                    <a:pt x="4378462" y="3419437"/>
                  </a:cubicBezTo>
                  <a:cubicBezTo>
                    <a:pt x="4426477" y="3386004"/>
                    <a:pt x="4434983" y="3367383"/>
                    <a:pt x="4425906" y="3310623"/>
                  </a:cubicBezTo>
                  <a:cubicBezTo>
                    <a:pt x="4421286" y="3282115"/>
                    <a:pt x="4409323" y="3256817"/>
                    <a:pt x="4395674" y="3231642"/>
                  </a:cubicBezTo>
                  <a:cubicBezTo>
                    <a:pt x="4392168" y="3225299"/>
                    <a:pt x="4389673" y="3218964"/>
                    <a:pt x="4391339" y="3211668"/>
                  </a:cubicBezTo>
                  <a:cubicBezTo>
                    <a:pt x="4394254" y="3199105"/>
                    <a:pt x="4396931" y="3186398"/>
                    <a:pt x="4400531" y="3173854"/>
                  </a:cubicBezTo>
                  <a:cubicBezTo>
                    <a:pt x="4403979" y="3160748"/>
                    <a:pt x="4407018" y="3146555"/>
                    <a:pt x="4425115" y="3144812"/>
                  </a:cubicBezTo>
                  <a:cubicBezTo>
                    <a:pt x="4427249" y="3144612"/>
                    <a:pt x="4429382" y="3142326"/>
                    <a:pt x="4431335" y="3140669"/>
                  </a:cubicBezTo>
                  <a:cubicBezTo>
                    <a:pt x="4445613" y="3129934"/>
                    <a:pt x="4460301" y="3121543"/>
                    <a:pt x="4479360" y="3119923"/>
                  </a:cubicBezTo>
                  <a:cubicBezTo>
                    <a:pt x="4508831" y="3117152"/>
                    <a:pt x="4522270" y="3099073"/>
                    <a:pt x="4516031" y="3074127"/>
                  </a:cubicBezTo>
                  <a:cubicBezTo>
                    <a:pt x="4509974" y="3049295"/>
                    <a:pt x="4511269" y="3046524"/>
                    <a:pt x="4532957" y="3034456"/>
                  </a:cubicBezTo>
                  <a:cubicBezTo>
                    <a:pt x="4548378" y="3025940"/>
                    <a:pt x="4562399" y="3015672"/>
                    <a:pt x="4569438" y="2999346"/>
                  </a:cubicBezTo>
                  <a:cubicBezTo>
                    <a:pt x="4580287" y="2973915"/>
                    <a:pt x="4572114" y="2956722"/>
                    <a:pt x="4540911" y="2936596"/>
                  </a:cubicBezTo>
                  <a:cubicBezTo>
                    <a:pt x="4524947" y="2926194"/>
                    <a:pt x="4506954" y="2921403"/>
                    <a:pt x="4487618" y="2923013"/>
                  </a:cubicBezTo>
                  <a:cubicBezTo>
                    <a:pt x="4474188" y="2924127"/>
                    <a:pt x="4470359" y="2937310"/>
                    <a:pt x="4464625" y="2945463"/>
                  </a:cubicBezTo>
                  <a:cubicBezTo>
                    <a:pt x="4454100" y="2961037"/>
                    <a:pt x="4448032" y="2953645"/>
                    <a:pt x="4439927" y="2945092"/>
                  </a:cubicBezTo>
                  <a:cubicBezTo>
                    <a:pt x="4429439" y="2934138"/>
                    <a:pt x="4416924" y="2928204"/>
                    <a:pt x="4402046" y="2935891"/>
                  </a:cubicBezTo>
                  <a:cubicBezTo>
                    <a:pt x="4395169" y="2939377"/>
                    <a:pt x="4394692" y="2932719"/>
                    <a:pt x="4391330" y="2930976"/>
                  </a:cubicBezTo>
                  <a:cubicBezTo>
                    <a:pt x="4386044" y="2928309"/>
                    <a:pt x="4389749" y="2924966"/>
                    <a:pt x="4390806" y="2922308"/>
                  </a:cubicBezTo>
                  <a:cubicBezTo>
                    <a:pt x="4395331" y="2911926"/>
                    <a:pt x="4404999" y="2913021"/>
                    <a:pt x="4413676" y="2913745"/>
                  </a:cubicBezTo>
                  <a:cubicBezTo>
                    <a:pt x="4429687" y="2915193"/>
                    <a:pt x="4441403" y="2907992"/>
                    <a:pt x="4445965" y="2893857"/>
                  </a:cubicBezTo>
                  <a:cubicBezTo>
                    <a:pt x="4452109" y="2874826"/>
                    <a:pt x="4464282" y="2862167"/>
                    <a:pt x="4480417" y="2851337"/>
                  </a:cubicBezTo>
                  <a:cubicBezTo>
                    <a:pt x="4495343" y="2841174"/>
                    <a:pt x="4498553" y="2815847"/>
                    <a:pt x="4486723" y="2803198"/>
                  </a:cubicBezTo>
                  <a:cubicBezTo>
                    <a:pt x="4479351" y="2795140"/>
                    <a:pt x="4479684" y="2790749"/>
                    <a:pt x="4489238" y="2782758"/>
                  </a:cubicBezTo>
                  <a:cubicBezTo>
                    <a:pt x="4509402" y="2766032"/>
                    <a:pt x="4528423" y="2748039"/>
                    <a:pt x="4535481" y="2720826"/>
                  </a:cubicBezTo>
                  <a:cubicBezTo>
                    <a:pt x="4543187" y="2691327"/>
                    <a:pt x="4537948" y="2677344"/>
                    <a:pt x="4511574" y="2663152"/>
                  </a:cubicBezTo>
                  <a:cubicBezTo>
                    <a:pt x="4503163" y="2658628"/>
                    <a:pt x="4493981" y="2656294"/>
                    <a:pt x="4485590" y="2651627"/>
                  </a:cubicBezTo>
                  <a:lnTo>
                    <a:pt x="4484237" y="2651627"/>
                  </a:lnTo>
                  <a:cubicBezTo>
                    <a:pt x="4484237" y="2651512"/>
                    <a:pt x="4484170" y="2651389"/>
                    <a:pt x="4484170" y="2651160"/>
                  </a:cubicBezTo>
                  <a:cubicBezTo>
                    <a:pt x="4441613" y="2646264"/>
                    <a:pt x="4412333" y="2669096"/>
                    <a:pt x="4385196" y="2696575"/>
                  </a:cubicBezTo>
                  <a:cubicBezTo>
                    <a:pt x="4382615" y="2694185"/>
                    <a:pt x="4379043" y="2692279"/>
                    <a:pt x="4377928" y="2687946"/>
                  </a:cubicBezTo>
                  <a:cubicBezTo>
                    <a:pt x="4373042" y="2673325"/>
                    <a:pt x="4363803" y="2673172"/>
                    <a:pt x="4351363" y="2679335"/>
                  </a:cubicBezTo>
                  <a:cubicBezTo>
                    <a:pt x="4316987" y="2696518"/>
                    <a:pt x="4291622" y="2721883"/>
                    <a:pt x="4278049" y="2757659"/>
                  </a:cubicBezTo>
                  <a:cubicBezTo>
                    <a:pt x="4275515" y="2763870"/>
                    <a:pt x="4273049" y="2765717"/>
                    <a:pt x="4267229" y="2765717"/>
                  </a:cubicBezTo>
                  <a:cubicBezTo>
                    <a:pt x="4260828" y="2765546"/>
                    <a:pt x="4254551" y="2765546"/>
                    <a:pt x="4248264" y="2765832"/>
                  </a:cubicBezTo>
                  <a:cubicBezTo>
                    <a:pt x="4237720" y="2766241"/>
                    <a:pt x="4229453" y="2769318"/>
                    <a:pt x="4224071" y="2780081"/>
                  </a:cubicBezTo>
                  <a:cubicBezTo>
                    <a:pt x="4218251" y="2791311"/>
                    <a:pt x="4212117" y="2803027"/>
                    <a:pt x="4199335" y="2812361"/>
                  </a:cubicBezTo>
                  <a:cubicBezTo>
                    <a:pt x="4199458" y="2793730"/>
                    <a:pt x="4201259" y="2777576"/>
                    <a:pt x="4204345" y="2760545"/>
                  </a:cubicBezTo>
                  <a:cubicBezTo>
                    <a:pt x="4212965" y="2713587"/>
                    <a:pt x="4235644" y="2674172"/>
                    <a:pt x="4263343" y="2636463"/>
                  </a:cubicBezTo>
                  <a:cubicBezTo>
                    <a:pt x="4278887" y="2614984"/>
                    <a:pt x="4324512" y="2601497"/>
                    <a:pt x="4354707" y="2609269"/>
                  </a:cubicBezTo>
                  <a:cubicBezTo>
                    <a:pt x="4371947" y="2613612"/>
                    <a:pt x="4390368" y="2615927"/>
                    <a:pt x="4406313" y="2625500"/>
                  </a:cubicBezTo>
                  <a:cubicBezTo>
                    <a:pt x="4410437" y="2627948"/>
                    <a:pt x="4414600" y="2626614"/>
                    <a:pt x="4419534" y="2624719"/>
                  </a:cubicBezTo>
                  <a:cubicBezTo>
                    <a:pt x="4428278" y="2621080"/>
                    <a:pt x="4437279" y="2617327"/>
                    <a:pt x="4445375" y="2613079"/>
                  </a:cubicBezTo>
                  <a:cubicBezTo>
                    <a:pt x="4457576" y="2606478"/>
                    <a:pt x="4462625" y="2610079"/>
                    <a:pt x="4467368" y="2620556"/>
                  </a:cubicBezTo>
                  <a:cubicBezTo>
                    <a:pt x="4472159" y="2631215"/>
                    <a:pt x="4481227" y="2639635"/>
                    <a:pt x="4484161" y="2651160"/>
                  </a:cubicBezTo>
                  <a:lnTo>
                    <a:pt x="4484808" y="2651160"/>
                  </a:lnTo>
                  <a:cubicBezTo>
                    <a:pt x="4485037" y="2651389"/>
                    <a:pt x="4485351" y="2651389"/>
                    <a:pt x="4485570" y="2651627"/>
                  </a:cubicBezTo>
                  <a:cubicBezTo>
                    <a:pt x="4512574" y="2650331"/>
                    <a:pt x="4539615" y="2651341"/>
                    <a:pt x="4566876" y="2648836"/>
                  </a:cubicBezTo>
                  <a:cubicBezTo>
                    <a:pt x="4605623" y="2645350"/>
                    <a:pt x="4607357" y="2646083"/>
                    <a:pt x="4606681" y="2607469"/>
                  </a:cubicBezTo>
                  <a:cubicBezTo>
                    <a:pt x="4606452" y="2595429"/>
                    <a:pt x="4609510" y="2591486"/>
                    <a:pt x="4621873" y="2592410"/>
                  </a:cubicBezTo>
                  <a:cubicBezTo>
                    <a:pt x="4637770" y="2593601"/>
                    <a:pt x="4654096" y="2593077"/>
                    <a:pt x="4666803" y="2581437"/>
                  </a:cubicBezTo>
                  <a:cubicBezTo>
                    <a:pt x="4694901" y="2555719"/>
                    <a:pt x="4707132" y="2522868"/>
                    <a:pt x="4706798" y="2485863"/>
                  </a:cubicBezTo>
                  <a:cubicBezTo>
                    <a:pt x="4706541" y="2473919"/>
                    <a:pt x="4709351" y="2464927"/>
                    <a:pt x="4717809" y="2457021"/>
                  </a:cubicBezTo>
                  <a:cubicBezTo>
                    <a:pt x="4724991" y="2450306"/>
                    <a:pt x="4732554" y="2443629"/>
                    <a:pt x="4738802" y="2436152"/>
                  </a:cubicBezTo>
                  <a:cubicBezTo>
                    <a:pt x="4753242" y="2419350"/>
                    <a:pt x="4761052" y="2398824"/>
                    <a:pt x="4743564" y="2373725"/>
                  </a:cubicBezTo>
                  <a:close/>
                  <a:moveTo>
                    <a:pt x="4449452" y="2367629"/>
                  </a:moveTo>
                  <a:cubicBezTo>
                    <a:pt x="4450680" y="2354094"/>
                    <a:pt x="4460405" y="2347998"/>
                    <a:pt x="4471273" y="2342760"/>
                  </a:cubicBezTo>
                  <a:cubicBezTo>
                    <a:pt x="4476093" y="2336149"/>
                    <a:pt x="4484189" y="2337921"/>
                    <a:pt x="4490562" y="2334987"/>
                  </a:cubicBezTo>
                  <a:cubicBezTo>
                    <a:pt x="4497600" y="2331549"/>
                    <a:pt x="4497600" y="2336692"/>
                    <a:pt x="4496772" y="2340635"/>
                  </a:cubicBezTo>
                  <a:cubicBezTo>
                    <a:pt x="4495629" y="2345655"/>
                    <a:pt x="4494943" y="2351170"/>
                    <a:pt x="4490676" y="2355285"/>
                  </a:cubicBezTo>
                  <a:lnTo>
                    <a:pt x="4490847" y="2355285"/>
                  </a:lnTo>
                  <a:lnTo>
                    <a:pt x="4490628" y="2355418"/>
                  </a:lnTo>
                  <a:cubicBezTo>
                    <a:pt x="4489561" y="2356533"/>
                    <a:pt x="4488618" y="2357619"/>
                    <a:pt x="4487409" y="2358695"/>
                  </a:cubicBezTo>
                  <a:cubicBezTo>
                    <a:pt x="4487628" y="2359400"/>
                    <a:pt x="4487409" y="2360086"/>
                    <a:pt x="4487152" y="2360752"/>
                  </a:cubicBezTo>
                  <a:cubicBezTo>
                    <a:pt x="4481056" y="2373487"/>
                    <a:pt x="4468759" y="2377231"/>
                    <a:pt x="4456424" y="2379736"/>
                  </a:cubicBezTo>
                  <a:cubicBezTo>
                    <a:pt x="4446889" y="2381564"/>
                    <a:pt x="4445880" y="2379269"/>
                    <a:pt x="4449452" y="2367629"/>
                  </a:cubicBezTo>
                  <a:close/>
                  <a:moveTo>
                    <a:pt x="4418895" y="2387660"/>
                  </a:moveTo>
                  <a:cubicBezTo>
                    <a:pt x="4420648" y="2380069"/>
                    <a:pt x="4428011" y="2382298"/>
                    <a:pt x="4431726" y="2383669"/>
                  </a:cubicBezTo>
                  <a:cubicBezTo>
                    <a:pt x="4443251" y="2388423"/>
                    <a:pt x="4433031" y="2396309"/>
                    <a:pt x="4433202" y="2402824"/>
                  </a:cubicBezTo>
                  <a:cubicBezTo>
                    <a:pt x="4422944" y="2402377"/>
                    <a:pt x="4416448" y="2398300"/>
                    <a:pt x="4418895" y="2387660"/>
                  </a:cubicBezTo>
                  <a:close/>
                  <a:moveTo>
                    <a:pt x="4045706" y="2032264"/>
                  </a:moveTo>
                  <a:cubicBezTo>
                    <a:pt x="4066518" y="2031473"/>
                    <a:pt x="4073452" y="2036664"/>
                    <a:pt x="4082482" y="2058314"/>
                  </a:cubicBezTo>
                  <a:cubicBezTo>
                    <a:pt x="4064784" y="2057295"/>
                    <a:pt x="4053450" y="2048066"/>
                    <a:pt x="4045706" y="2032264"/>
                  </a:cubicBezTo>
                  <a:close/>
                  <a:moveTo>
                    <a:pt x="4282012" y="2484044"/>
                  </a:moveTo>
                  <a:cubicBezTo>
                    <a:pt x="4284069" y="2467985"/>
                    <a:pt x="4291670" y="2455078"/>
                    <a:pt x="4301843" y="2444144"/>
                  </a:cubicBezTo>
                  <a:cubicBezTo>
                    <a:pt x="4313882" y="2431228"/>
                    <a:pt x="4326931" y="2419464"/>
                    <a:pt x="4339485" y="2406958"/>
                  </a:cubicBezTo>
                  <a:cubicBezTo>
                    <a:pt x="4342715" y="2403567"/>
                    <a:pt x="4346029" y="2401167"/>
                    <a:pt x="4351315" y="2401500"/>
                  </a:cubicBezTo>
                  <a:cubicBezTo>
                    <a:pt x="4365622" y="2402615"/>
                    <a:pt x="4379433" y="2400672"/>
                    <a:pt x="4394054" y="2398138"/>
                  </a:cubicBezTo>
                  <a:cubicBezTo>
                    <a:pt x="4361650" y="2433095"/>
                    <a:pt x="4316702" y="2452154"/>
                    <a:pt x="4282012" y="2484044"/>
                  </a:cubicBezTo>
                  <a:close/>
                  <a:moveTo>
                    <a:pt x="4272220" y="1865071"/>
                  </a:moveTo>
                  <a:cubicBezTo>
                    <a:pt x="4267267" y="1866310"/>
                    <a:pt x="4265800" y="1866490"/>
                    <a:pt x="4263676" y="1860423"/>
                  </a:cubicBezTo>
                  <a:cubicBezTo>
                    <a:pt x="4248769" y="1819466"/>
                    <a:pt x="4234072" y="1778737"/>
                    <a:pt x="4238749" y="1733941"/>
                  </a:cubicBezTo>
                  <a:cubicBezTo>
                    <a:pt x="4240587" y="1717634"/>
                    <a:pt x="4235358" y="1701632"/>
                    <a:pt x="4232158" y="1685687"/>
                  </a:cubicBezTo>
                  <a:cubicBezTo>
                    <a:pt x="4231424" y="1682201"/>
                    <a:pt x="4230834" y="1676076"/>
                    <a:pt x="4223766" y="1676981"/>
                  </a:cubicBezTo>
                  <a:cubicBezTo>
                    <a:pt x="4220642" y="1690516"/>
                    <a:pt x="4217318" y="1704070"/>
                    <a:pt x="4214108" y="1717472"/>
                  </a:cubicBezTo>
                  <a:cubicBezTo>
                    <a:pt x="4213041" y="1721187"/>
                    <a:pt x="4216441" y="1726873"/>
                    <a:pt x="4211260" y="1728159"/>
                  </a:cubicBezTo>
                  <a:cubicBezTo>
                    <a:pt x="4206040" y="1729397"/>
                    <a:pt x="4204049" y="1723625"/>
                    <a:pt x="4201468" y="1720196"/>
                  </a:cubicBezTo>
                  <a:cubicBezTo>
                    <a:pt x="4183980" y="1704242"/>
                    <a:pt x="4179361" y="1682363"/>
                    <a:pt x="4173398" y="1661312"/>
                  </a:cubicBezTo>
                  <a:cubicBezTo>
                    <a:pt x="4170788" y="1652254"/>
                    <a:pt x="4169702" y="1642653"/>
                    <a:pt x="4167940" y="1633385"/>
                  </a:cubicBezTo>
                  <a:cubicBezTo>
                    <a:pt x="4167588" y="1629356"/>
                    <a:pt x="4167378" y="1625441"/>
                    <a:pt x="4167264" y="1621441"/>
                  </a:cubicBezTo>
                  <a:cubicBezTo>
                    <a:pt x="4162759" y="1612716"/>
                    <a:pt x="4160977" y="1603400"/>
                    <a:pt x="4160358" y="1593714"/>
                  </a:cubicBezTo>
                  <a:cubicBezTo>
                    <a:pt x="4160006" y="1593447"/>
                    <a:pt x="4159291" y="1593447"/>
                    <a:pt x="4159053" y="1593018"/>
                  </a:cubicBezTo>
                  <a:cubicBezTo>
                    <a:pt x="4154872" y="1587360"/>
                    <a:pt x="4156767" y="1574445"/>
                    <a:pt x="4147452" y="1576416"/>
                  </a:cubicBezTo>
                  <a:cubicBezTo>
                    <a:pt x="4140480" y="1577788"/>
                    <a:pt x="4140480" y="1589761"/>
                    <a:pt x="4138898" y="1597314"/>
                  </a:cubicBezTo>
                  <a:cubicBezTo>
                    <a:pt x="4136431" y="1608573"/>
                    <a:pt x="4142718" y="1619288"/>
                    <a:pt x="4142146" y="1630451"/>
                  </a:cubicBezTo>
                  <a:cubicBezTo>
                    <a:pt x="4142070" y="1630451"/>
                    <a:pt x="4141946" y="1630423"/>
                    <a:pt x="4141946" y="1630356"/>
                  </a:cubicBezTo>
                  <a:cubicBezTo>
                    <a:pt x="4146176" y="1637081"/>
                    <a:pt x="4147137" y="1644768"/>
                    <a:pt x="4148633" y="1652349"/>
                  </a:cubicBezTo>
                  <a:cubicBezTo>
                    <a:pt x="4160939" y="1680724"/>
                    <a:pt x="4173083" y="1709080"/>
                    <a:pt x="4185647" y="1737589"/>
                  </a:cubicBezTo>
                  <a:cubicBezTo>
                    <a:pt x="4189981" y="1747152"/>
                    <a:pt x="4188009" y="1752171"/>
                    <a:pt x="4176284" y="1750371"/>
                  </a:cubicBezTo>
                  <a:cubicBezTo>
                    <a:pt x="4170055" y="1750295"/>
                    <a:pt x="4164511" y="1746037"/>
                    <a:pt x="4157901" y="1748076"/>
                  </a:cubicBezTo>
                  <a:cubicBezTo>
                    <a:pt x="4157634" y="1748847"/>
                    <a:pt x="4157634" y="1749704"/>
                    <a:pt x="4157739" y="1750438"/>
                  </a:cubicBezTo>
                  <a:cubicBezTo>
                    <a:pt x="4164540" y="1755743"/>
                    <a:pt x="4171293" y="1761153"/>
                    <a:pt x="4175341" y="1768954"/>
                  </a:cubicBezTo>
                  <a:cubicBezTo>
                    <a:pt x="4176903" y="1772631"/>
                    <a:pt x="4180570" y="1772345"/>
                    <a:pt x="4183323" y="1773345"/>
                  </a:cubicBezTo>
                  <a:cubicBezTo>
                    <a:pt x="4189228" y="1771583"/>
                    <a:pt x="4190876" y="1776108"/>
                    <a:pt x="4193324" y="1779451"/>
                  </a:cubicBezTo>
                  <a:cubicBezTo>
                    <a:pt x="4194296" y="1779642"/>
                    <a:pt x="4194934" y="1780232"/>
                    <a:pt x="4195287" y="1781251"/>
                  </a:cubicBezTo>
                  <a:cubicBezTo>
                    <a:pt x="4221071" y="1793910"/>
                    <a:pt x="4229910" y="1817980"/>
                    <a:pt x="4237349" y="1842840"/>
                  </a:cubicBezTo>
                  <a:cubicBezTo>
                    <a:pt x="4238358" y="1845469"/>
                    <a:pt x="4237558" y="1846678"/>
                    <a:pt x="4235901" y="1847821"/>
                  </a:cubicBezTo>
                  <a:cubicBezTo>
                    <a:pt x="4232634" y="1850117"/>
                    <a:pt x="4231634" y="1846298"/>
                    <a:pt x="4229900" y="1845088"/>
                  </a:cubicBezTo>
                  <a:cubicBezTo>
                    <a:pt x="4218032" y="1837487"/>
                    <a:pt x="4214508" y="1823761"/>
                    <a:pt x="4206916" y="1812969"/>
                  </a:cubicBezTo>
                  <a:cubicBezTo>
                    <a:pt x="4200116" y="1803045"/>
                    <a:pt x="4192067" y="1794977"/>
                    <a:pt x="4182561" y="1788109"/>
                  </a:cubicBezTo>
                  <a:cubicBezTo>
                    <a:pt x="4173731" y="1785719"/>
                    <a:pt x="4165006" y="1782766"/>
                    <a:pt x="4156082" y="1781251"/>
                  </a:cubicBezTo>
                  <a:cubicBezTo>
                    <a:pt x="4141946" y="1778937"/>
                    <a:pt x="4135288" y="1771317"/>
                    <a:pt x="4136079" y="1757439"/>
                  </a:cubicBezTo>
                  <a:cubicBezTo>
                    <a:pt x="4131002" y="1752714"/>
                    <a:pt x="4131878" y="1745942"/>
                    <a:pt x="4130583" y="1740218"/>
                  </a:cubicBezTo>
                  <a:cubicBezTo>
                    <a:pt x="4127507" y="1727587"/>
                    <a:pt x="4120725" y="1720034"/>
                    <a:pt x="4107714" y="1716615"/>
                  </a:cubicBezTo>
                  <a:cubicBezTo>
                    <a:pt x="4091607" y="1712395"/>
                    <a:pt x="4089559" y="1697765"/>
                    <a:pt x="4085282" y="1684973"/>
                  </a:cubicBezTo>
                  <a:cubicBezTo>
                    <a:pt x="4083672" y="1679591"/>
                    <a:pt x="4087606" y="1675933"/>
                    <a:pt x="4092616" y="1674962"/>
                  </a:cubicBezTo>
                  <a:cubicBezTo>
                    <a:pt x="4105589" y="1672285"/>
                    <a:pt x="4108028" y="1663475"/>
                    <a:pt x="4107056" y="1652311"/>
                  </a:cubicBezTo>
                  <a:cubicBezTo>
                    <a:pt x="4100979" y="1643205"/>
                    <a:pt x="4099732" y="1632471"/>
                    <a:pt x="4096579" y="1622603"/>
                  </a:cubicBezTo>
                  <a:lnTo>
                    <a:pt x="4096360" y="1622041"/>
                  </a:lnTo>
                  <a:cubicBezTo>
                    <a:pt x="4095731" y="1619850"/>
                    <a:pt x="4095083" y="1617669"/>
                    <a:pt x="4094493" y="1615497"/>
                  </a:cubicBezTo>
                  <a:lnTo>
                    <a:pt x="4094398" y="1615278"/>
                  </a:lnTo>
                  <a:cubicBezTo>
                    <a:pt x="4087997" y="1594799"/>
                    <a:pt x="4090892" y="1575568"/>
                    <a:pt x="4100589" y="1556680"/>
                  </a:cubicBezTo>
                  <a:cubicBezTo>
                    <a:pt x="4107056" y="1535592"/>
                    <a:pt x="4123801" y="1522705"/>
                    <a:pt x="4140460" y="1509913"/>
                  </a:cubicBezTo>
                  <a:cubicBezTo>
                    <a:pt x="4144175" y="1506998"/>
                    <a:pt x="4146604" y="1508455"/>
                    <a:pt x="4149966" y="1510608"/>
                  </a:cubicBezTo>
                  <a:cubicBezTo>
                    <a:pt x="4156082" y="1514504"/>
                    <a:pt x="4162987" y="1516485"/>
                    <a:pt x="4170217" y="1517075"/>
                  </a:cubicBezTo>
                  <a:cubicBezTo>
                    <a:pt x="4180808" y="1521933"/>
                    <a:pt x="4180808" y="1531763"/>
                    <a:pt x="4179103" y="1540393"/>
                  </a:cubicBezTo>
                  <a:cubicBezTo>
                    <a:pt x="4175036" y="1561481"/>
                    <a:pt x="4175570" y="1582169"/>
                    <a:pt x="4179037" y="1603258"/>
                  </a:cubicBezTo>
                  <a:cubicBezTo>
                    <a:pt x="4185075" y="1617869"/>
                    <a:pt x="4190505" y="1620345"/>
                    <a:pt x="4207393" y="1614945"/>
                  </a:cubicBezTo>
                  <a:cubicBezTo>
                    <a:pt x="4214937" y="1613545"/>
                    <a:pt x="4222566" y="1594799"/>
                    <a:pt x="4230043" y="1615116"/>
                  </a:cubicBezTo>
                  <a:cubicBezTo>
                    <a:pt x="4234034" y="1617812"/>
                    <a:pt x="4234577" y="1622250"/>
                    <a:pt x="4235901" y="1626375"/>
                  </a:cubicBezTo>
                  <a:cubicBezTo>
                    <a:pt x="4240407" y="1632156"/>
                    <a:pt x="4244312" y="1638157"/>
                    <a:pt x="4245455" y="1645663"/>
                  </a:cubicBezTo>
                  <a:lnTo>
                    <a:pt x="4245597" y="1645758"/>
                  </a:lnTo>
                  <a:cubicBezTo>
                    <a:pt x="4249903" y="1647463"/>
                    <a:pt x="4251322" y="1650978"/>
                    <a:pt x="4251636" y="1655026"/>
                  </a:cubicBezTo>
                  <a:cubicBezTo>
                    <a:pt x="4255713" y="1658226"/>
                    <a:pt x="4257466" y="1662427"/>
                    <a:pt x="4258294" y="1667304"/>
                  </a:cubicBezTo>
                  <a:cubicBezTo>
                    <a:pt x="4260133" y="1667647"/>
                    <a:pt x="4261181" y="1668589"/>
                    <a:pt x="4260656" y="1670723"/>
                  </a:cubicBezTo>
                  <a:cubicBezTo>
                    <a:pt x="4260847" y="1671619"/>
                    <a:pt x="4261066" y="1672409"/>
                    <a:pt x="4261199" y="1673400"/>
                  </a:cubicBezTo>
                  <a:cubicBezTo>
                    <a:pt x="4276040" y="1695355"/>
                    <a:pt x="4270048" y="1719034"/>
                    <a:pt x="4265448" y="1742285"/>
                  </a:cubicBezTo>
                  <a:cubicBezTo>
                    <a:pt x="4262600" y="1757763"/>
                    <a:pt x="4264895" y="1772431"/>
                    <a:pt x="4271582" y="1786690"/>
                  </a:cubicBezTo>
                  <a:cubicBezTo>
                    <a:pt x="4273763" y="1791900"/>
                    <a:pt x="4277125" y="1794748"/>
                    <a:pt x="4283050" y="1794405"/>
                  </a:cubicBezTo>
                  <a:cubicBezTo>
                    <a:pt x="4289403" y="1794405"/>
                    <a:pt x="4295709" y="1794462"/>
                    <a:pt x="4302024" y="1794462"/>
                  </a:cubicBezTo>
                  <a:cubicBezTo>
                    <a:pt x="4306081" y="1793348"/>
                    <a:pt x="4310158" y="1794653"/>
                    <a:pt x="4310606" y="1798606"/>
                  </a:cubicBezTo>
                  <a:cubicBezTo>
                    <a:pt x="4313244" y="1825009"/>
                    <a:pt x="4323874" y="1850117"/>
                    <a:pt x="4323874" y="1876997"/>
                  </a:cubicBezTo>
                  <a:lnTo>
                    <a:pt x="4324188" y="1877359"/>
                  </a:lnTo>
                  <a:cubicBezTo>
                    <a:pt x="4325769" y="1877501"/>
                    <a:pt x="4326913" y="1878035"/>
                    <a:pt x="4326408" y="1879930"/>
                  </a:cubicBezTo>
                  <a:cubicBezTo>
                    <a:pt x="4330018" y="1891360"/>
                    <a:pt x="4324731" y="1901228"/>
                    <a:pt x="4320255" y="1911039"/>
                  </a:cubicBezTo>
                  <a:cubicBezTo>
                    <a:pt x="4321074" y="1916392"/>
                    <a:pt x="4318664" y="1920383"/>
                    <a:pt x="4314654" y="1923860"/>
                  </a:cubicBezTo>
                  <a:lnTo>
                    <a:pt x="4314968" y="1923650"/>
                  </a:lnTo>
                  <a:cubicBezTo>
                    <a:pt x="4305205" y="1943624"/>
                    <a:pt x="4300280" y="1963922"/>
                    <a:pt x="4311625" y="1984953"/>
                  </a:cubicBezTo>
                  <a:lnTo>
                    <a:pt x="4311720" y="1985067"/>
                  </a:lnTo>
                  <a:cubicBezTo>
                    <a:pt x="4318254" y="1987858"/>
                    <a:pt x="4322331" y="1991601"/>
                    <a:pt x="4320864" y="1999669"/>
                  </a:cubicBezTo>
                  <a:cubicBezTo>
                    <a:pt x="4318664" y="2011737"/>
                    <a:pt x="4314606" y="2022872"/>
                    <a:pt x="4306062" y="2032206"/>
                  </a:cubicBezTo>
                  <a:cubicBezTo>
                    <a:pt x="4298995" y="2039941"/>
                    <a:pt x="4296480" y="2037055"/>
                    <a:pt x="4296299" y="2028254"/>
                  </a:cubicBezTo>
                  <a:cubicBezTo>
                    <a:pt x="4271020" y="1982715"/>
                    <a:pt x="4270229" y="1935090"/>
                    <a:pt x="4283669" y="1886245"/>
                  </a:cubicBezTo>
                  <a:cubicBezTo>
                    <a:pt x="4284517" y="1883283"/>
                    <a:pt x="4285774" y="1880511"/>
                    <a:pt x="4286231" y="1877501"/>
                  </a:cubicBezTo>
                  <a:cubicBezTo>
                    <a:pt x="4289165" y="1860852"/>
                    <a:pt x="4288993" y="1860671"/>
                    <a:pt x="4272220" y="1865071"/>
                  </a:cubicBezTo>
                  <a:close/>
                  <a:moveTo>
                    <a:pt x="4255732" y="1981200"/>
                  </a:moveTo>
                  <a:cubicBezTo>
                    <a:pt x="4244007" y="1964579"/>
                    <a:pt x="4245712" y="1949834"/>
                    <a:pt x="4252341" y="1931965"/>
                  </a:cubicBezTo>
                  <a:cubicBezTo>
                    <a:pt x="4262514" y="1948320"/>
                    <a:pt x="4262266" y="1963284"/>
                    <a:pt x="4255732" y="1981200"/>
                  </a:cubicBezTo>
                  <a:close/>
                  <a:moveTo>
                    <a:pt x="4316607" y="2092452"/>
                  </a:moveTo>
                  <a:cubicBezTo>
                    <a:pt x="4315139" y="2093414"/>
                    <a:pt x="4313682" y="2094348"/>
                    <a:pt x="4312320" y="2095243"/>
                  </a:cubicBezTo>
                  <a:cubicBezTo>
                    <a:pt x="4311149" y="2092662"/>
                    <a:pt x="4311396" y="2090833"/>
                    <a:pt x="4314568" y="2089928"/>
                  </a:cubicBezTo>
                  <a:cubicBezTo>
                    <a:pt x="4314616" y="2062077"/>
                    <a:pt x="4329684" y="2038798"/>
                    <a:pt x="4337876" y="2013385"/>
                  </a:cubicBezTo>
                  <a:cubicBezTo>
                    <a:pt x="4340895" y="2004117"/>
                    <a:pt x="4344991" y="1995002"/>
                    <a:pt x="4346239" y="1985153"/>
                  </a:cubicBezTo>
                  <a:cubicBezTo>
                    <a:pt x="4348430" y="1968684"/>
                    <a:pt x="4356649" y="1965893"/>
                    <a:pt x="4371480" y="1974228"/>
                  </a:cubicBezTo>
                  <a:cubicBezTo>
                    <a:pt x="4384196" y="1981248"/>
                    <a:pt x="4389054" y="1987296"/>
                    <a:pt x="4378871" y="2001069"/>
                  </a:cubicBezTo>
                  <a:cubicBezTo>
                    <a:pt x="4356840" y="2030797"/>
                    <a:pt x="4346791" y="2068297"/>
                    <a:pt x="4316607" y="2092452"/>
                  </a:cubicBezTo>
                  <a:close/>
                  <a:moveTo>
                    <a:pt x="4340038" y="2110597"/>
                  </a:moveTo>
                  <a:cubicBezTo>
                    <a:pt x="4340171" y="2128066"/>
                    <a:pt x="4323398" y="2140258"/>
                    <a:pt x="4307529" y="2135372"/>
                  </a:cubicBezTo>
                  <a:cubicBezTo>
                    <a:pt x="4301338" y="2133505"/>
                    <a:pt x="4301014" y="2128781"/>
                    <a:pt x="4304500" y="2124637"/>
                  </a:cubicBezTo>
                  <a:cubicBezTo>
                    <a:pt x="4310825" y="2116884"/>
                    <a:pt x="4316625" y="2108426"/>
                    <a:pt x="4325798" y="2103444"/>
                  </a:cubicBezTo>
                  <a:cubicBezTo>
                    <a:pt x="4335942" y="2098129"/>
                    <a:pt x="4341457" y="2099672"/>
                    <a:pt x="4340038" y="2110597"/>
                  </a:cubicBezTo>
                  <a:close/>
                  <a:moveTo>
                    <a:pt x="4332265" y="1960055"/>
                  </a:moveTo>
                  <a:cubicBezTo>
                    <a:pt x="4330199" y="1959531"/>
                    <a:pt x="4323617" y="1962902"/>
                    <a:pt x="4324207" y="1954778"/>
                  </a:cubicBezTo>
                  <a:cubicBezTo>
                    <a:pt x="4324912" y="1949006"/>
                    <a:pt x="4324617" y="1942300"/>
                    <a:pt x="4333466" y="1942262"/>
                  </a:cubicBezTo>
                  <a:cubicBezTo>
                    <a:pt x="4340057" y="1942090"/>
                    <a:pt x="4342286" y="1945691"/>
                    <a:pt x="4342733" y="1951949"/>
                  </a:cubicBezTo>
                  <a:cubicBezTo>
                    <a:pt x="4343496" y="1958588"/>
                    <a:pt x="4340895" y="1961436"/>
                    <a:pt x="4332265" y="1960055"/>
                  </a:cubicBezTo>
                  <a:close/>
                  <a:moveTo>
                    <a:pt x="4330199" y="2359876"/>
                  </a:moveTo>
                  <a:cubicBezTo>
                    <a:pt x="4338000" y="2357314"/>
                    <a:pt x="4338371" y="2361610"/>
                    <a:pt x="4336485" y="2364877"/>
                  </a:cubicBezTo>
                  <a:cubicBezTo>
                    <a:pt x="4324541" y="2388270"/>
                    <a:pt x="4313054" y="2412406"/>
                    <a:pt x="4287441" y="2425827"/>
                  </a:cubicBezTo>
                  <a:cubicBezTo>
                    <a:pt x="4281773" y="2402377"/>
                    <a:pt x="4311530" y="2366343"/>
                    <a:pt x="4330199" y="2359876"/>
                  </a:cubicBezTo>
                  <a:close/>
                  <a:moveTo>
                    <a:pt x="4379433" y="2358343"/>
                  </a:moveTo>
                  <a:cubicBezTo>
                    <a:pt x="4374966" y="2359114"/>
                    <a:pt x="4371413" y="2357619"/>
                    <a:pt x="4371413" y="2351865"/>
                  </a:cubicBezTo>
                  <a:cubicBezTo>
                    <a:pt x="4371099" y="2343636"/>
                    <a:pt x="4384367" y="2330206"/>
                    <a:pt x="4392168" y="2330530"/>
                  </a:cubicBezTo>
                  <a:cubicBezTo>
                    <a:pt x="4397350" y="2330701"/>
                    <a:pt x="4395959" y="2334111"/>
                    <a:pt x="4396283" y="2338169"/>
                  </a:cubicBezTo>
                  <a:cubicBezTo>
                    <a:pt x="4394321" y="2346817"/>
                    <a:pt x="4391692" y="2356533"/>
                    <a:pt x="4379433" y="2358343"/>
                  </a:cubicBezTo>
                  <a:close/>
                  <a:moveTo>
                    <a:pt x="4428011" y="2244366"/>
                  </a:moveTo>
                  <a:cubicBezTo>
                    <a:pt x="4415590" y="2257759"/>
                    <a:pt x="4404551" y="2271484"/>
                    <a:pt x="4382948" y="2273208"/>
                  </a:cubicBezTo>
                  <a:cubicBezTo>
                    <a:pt x="4363212" y="2274684"/>
                    <a:pt x="4349420" y="2288638"/>
                    <a:pt x="4340171" y="2306146"/>
                  </a:cubicBezTo>
                  <a:cubicBezTo>
                    <a:pt x="4338019" y="2309384"/>
                    <a:pt x="4335885" y="2312746"/>
                    <a:pt x="4333685" y="2316042"/>
                  </a:cubicBezTo>
                  <a:lnTo>
                    <a:pt x="4333123" y="2317395"/>
                  </a:lnTo>
                  <a:cubicBezTo>
                    <a:pt x="4327484" y="2324014"/>
                    <a:pt x="4326532" y="2335035"/>
                    <a:pt x="4315397" y="2336978"/>
                  </a:cubicBezTo>
                  <a:cubicBezTo>
                    <a:pt x="4312311" y="2338969"/>
                    <a:pt x="4310815" y="2347522"/>
                    <a:pt x="4305634" y="2339683"/>
                  </a:cubicBezTo>
                  <a:cubicBezTo>
                    <a:pt x="4287622" y="2312375"/>
                    <a:pt x="4306005" y="2246281"/>
                    <a:pt x="4335885" y="2232365"/>
                  </a:cubicBezTo>
                  <a:cubicBezTo>
                    <a:pt x="4344991" y="2227983"/>
                    <a:pt x="4355411" y="2226450"/>
                    <a:pt x="4365270" y="2223649"/>
                  </a:cubicBezTo>
                  <a:cubicBezTo>
                    <a:pt x="4381710" y="2220773"/>
                    <a:pt x="4398874" y="2225021"/>
                    <a:pt x="4415143" y="2220097"/>
                  </a:cubicBezTo>
                  <a:cubicBezTo>
                    <a:pt x="4418886" y="2217725"/>
                    <a:pt x="4427515" y="2223297"/>
                    <a:pt x="4426963" y="2215182"/>
                  </a:cubicBezTo>
                  <a:cubicBezTo>
                    <a:pt x="4426477" y="2210638"/>
                    <a:pt x="4425096" y="2204523"/>
                    <a:pt x="4415781" y="2203352"/>
                  </a:cubicBezTo>
                  <a:cubicBezTo>
                    <a:pt x="4404551" y="2202056"/>
                    <a:pt x="4393911" y="2199037"/>
                    <a:pt x="4382805" y="2203552"/>
                  </a:cubicBezTo>
                  <a:cubicBezTo>
                    <a:pt x="4377614" y="2205733"/>
                    <a:pt x="4372690" y="2202694"/>
                    <a:pt x="4370223" y="2199808"/>
                  </a:cubicBezTo>
                  <a:cubicBezTo>
                    <a:pt x="4368299" y="2197760"/>
                    <a:pt x="4373775" y="2194474"/>
                    <a:pt x="4375985" y="2191903"/>
                  </a:cubicBezTo>
                  <a:cubicBezTo>
                    <a:pt x="4404560" y="2159622"/>
                    <a:pt x="4439117" y="2135162"/>
                    <a:pt x="4476988" y="2114893"/>
                  </a:cubicBezTo>
                  <a:cubicBezTo>
                    <a:pt x="4482818" y="2111740"/>
                    <a:pt x="4486723" y="2107921"/>
                    <a:pt x="4490962" y="2101358"/>
                  </a:cubicBezTo>
                  <a:cubicBezTo>
                    <a:pt x="4475779" y="2095243"/>
                    <a:pt x="4462977" y="2105130"/>
                    <a:pt x="4448556" y="2102882"/>
                  </a:cubicBezTo>
                  <a:cubicBezTo>
                    <a:pt x="4453528" y="2072059"/>
                    <a:pt x="4470216" y="2044322"/>
                    <a:pt x="4487885" y="2017071"/>
                  </a:cubicBezTo>
                  <a:cubicBezTo>
                    <a:pt x="4497267" y="2002536"/>
                    <a:pt x="4505011" y="1987267"/>
                    <a:pt x="4512459" y="1971913"/>
                  </a:cubicBezTo>
                  <a:cubicBezTo>
                    <a:pt x="4514488" y="1967694"/>
                    <a:pt x="4517317" y="1962969"/>
                    <a:pt x="4514183" y="1958988"/>
                  </a:cubicBezTo>
                  <a:cubicBezTo>
                    <a:pt x="4510212" y="1953701"/>
                    <a:pt x="4506040" y="1960645"/>
                    <a:pt x="4501839" y="1960178"/>
                  </a:cubicBezTo>
                  <a:cubicBezTo>
                    <a:pt x="4492228" y="1959607"/>
                    <a:pt x="4492648" y="1972151"/>
                    <a:pt x="4484208" y="1972951"/>
                  </a:cubicBezTo>
                  <a:cubicBezTo>
                    <a:pt x="4483713" y="1983905"/>
                    <a:pt x="4475798" y="1982315"/>
                    <a:pt x="4468883" y="1981886"/>
                  </a:cubicBezTo>
                  <a:cubicBezTo>
                    <a:pt x="4457776" y="1980781"/>
                    <a:pt x="4453557" y="1985439"/>
                    <a:pt x="4452528" y="1995926"/>
                  </a:cubicBezTo>
                  <a:cubicBezTo>
                    <a:pt x="4448432" y="2041008"/>
                    <a:pt x="4435174" y="2083289"/>
                    <a:pt x="4410875" y="2124618"/>
                  </a:cubicBezTo>
                  <a:cubicBezTo>
                    <a:pt x="4409247" y="2120160"/>
                    <a:pt x="4407846" y="2117331"/>
                    <a:pt x="4407189" y="2114436"/>
                  </a:cubicBezTo>
                  <a:cubicBezTo>
                    <a:pt x="4406599" y="2111616"/>
                    <a:pt x="4406599" y="2108616"/>
                    <a:pt x="4406170" y="2105606"/>
                  </a:cubicBezTo>
                  <a:cubicBezTo>
                    <a:pt x="4404789" y="2099434"/>
                    <a:pt x="4401303" y="2093557"/>
                    <a:pt x="4402303" y="2086880"/>
                  </a:cubicBezTo>
                  <a:cubicBezTo>
                    <a:pt x="4399131" y="2086023"/>
                    <a:pt x="4399798" y="2083298"/>
                    <a:pt x="4399312" y="2081155"/>
                  </a:cubicBezTo>
                  <a:cubicBezTo>
                    <a:pt x="4398436" y="2080879"/>
                    <a:pt x="4397607" y="2080879"/>
                    <a:pt x="4396874" y="2080879"/>
                  </a:cubicBezTo>
                  <a:cubicBezTo>
                    <a:pt x="4396073" y="2083298"/>
                    <a:pt x="4396969" y="2086404"/>
                    <a:pt x="4393207" y="2087166"/>
                  </a:cubicBezTo>
                  <a:cubicBezTo>
                    <a:pt x="4393111" y="2088156"/>
                    <a:pt x="4392825" y="2089061"/>
                    <a:pt x="4392540" y="2090071"/>
                  </a:cubicBezTo>
                  <a:cubicBezTo>
                    <a:pt x="4388844" y="2104749"/>
                    <a:pt x="4385244" y="2119417"/>
                    <a:pt x="4377690" y="2133010"/>
                  </a:cubicBezTo>
                  <a:cubicBezTo>
                    <a:pt x="4378805" y="2137724"/>
                    <a:pt x="4374318" y="2140925"/>
                    <a:pt x="4373795" y="2145144"/>
                  </a:cubicBezTo>
                  <a:cubicBezTo>
                    <a:pt x="4372185" y="2150307"/>
                    <a:pt x="4370642" y="2155260"/>
                    <a:pt x="4365632" y="2158251"/>
                  </a:cubicBezTo>
                  <a:cubicBezTo>
                    <a:pt x="4362069" y="2167585"/>
                    <a:pt x="4357335" y="2176167"/>
                    <a:pt x="4349487" y="2182806"/>
                  </a:cubicBezTo>
                  <a:cubicBezTo>
                    <a:pt x="4343514" y="2190798"/>
                    <a:pt x="4334628" y="2187121"/>
                    <a:pt x="4328903" y="2184654"/>
                  </a:cubicBezTo>
                  <a:cubicBezTo>
                    <a:pt x="4316359" y="2179101"/>
                    <a:pt x="4313835" y="2185207"/>
                    <a:pt x="4311653" y="2195055"/>
                  </a:cubicBezTo>
                  <a:cubicBezTo>
                    <a:pt x="4309587" y="2204876"/>
                    <a:pt x="4306719" y="2214353"/>
                    <a:pt x="4304014" y="2224478"/>
                  </a:cubicBezTo>
                  <a:cubicBezTo>
                    <a:pt x="4296242" y="2205419"/>
                    <a:pt x="4299757" y="2188731"/>
                    <a:pt x="4311653" y="2173110"/>
                  </a:cubicBezTo>
                  <a:cubicBezTo>
                    <a:pt x="4314587" y="2159737"/>
                    <a:pt x="4324760" y="2151821"/>
                    <a:pt x="4334209" y="2143125"/>
                  </a:cubicBezTo>
                  <a:cubicBezTo>
                    <a:pt x="4339895" y="2138001"/>
                    <a:pt x="4345029" y="2132200"/>
                    <a:pt x="4350077" y="2126704"/>
                  </a:cubicBezTo>
                  <a:cubicBezTo>
                    <a:pt x="4351715" y="2123618"/>
                    <a:pt x="4351335" y="2119417"/>
                    <a:pt x="4355440" y="2117779"/>
                  </a:cubicBezTo>
                  <a:cubicBezTo>
                    <a:pt x="4360202" y="2094576"/>
                    <a:pt x="4366356" y="2071888"/>
                    <a:pt x="4369089" y="2048256"/>
                  </a:cubicBezTo>
                  <a:cubicBezTo>
                    <a:pt x="4370985" y="2033045"/>
                    <a:pt x="4386091" y="2026501"/>
                    <a:pt x="4395131" y="2015833"/>
                  </a:cubicBezTo>
                  <a:cubicBezTo>
                    <a:pt x="4396588" y="2014109"/>
                    <a:pt x="4397950" y="2014176"/>
                    <a:pt x="4400245" y="2014957"/>
                  </a:cubicBezTo>
                  <a:cubicBezTo>
                    <a:pt x="4420000" y="2021929"/>
                    <a:pt x="4423963" y="2020148"/>
                    <a:pt x="4433459" y="2001888"/>
                  </a:cubicBezTo>
                  <a:cubicBezTo>
                    <a:pt x="4434202" y="2000183"/>
                    <a:pt x="4435669" y="1998669"/>
                    <a:pt x="4436755" y="1997012"/>
                  </a:cubicBezTo>
                  <a:cubicBezTo>
                    <a:pt x="4438041" y="1995878"/>
                    <a:pt x="4439384" y="1994621"/>
                    <a:pt x="4440641" y="1993459"/>
                  </a:cubicBezTo>
                  <a:cubicBezTo>
                    <a:pt x="4440498" y="1992106"/>
                    <a:pt x="4441136" y="1991458"/>
                    <a:pt x="4442346" y="1991325"/>
                  </a:cubicBezTo>
                  <a:cubicBezTo>
                    <a:pt x="4448528" y="1985153"/>
                    <a:pt x="4444365" y="1974475"/>
                    <a:pt x="4452528" y="1969189"/>
                  </a:cubicBezTo>
                  <a:cubicBezTo>
                    <a:pt x="4455043" y="1957778"/>
                    <a:pt x="4461558" y="1948653"/>
                    <a:pt x="4470445" y="1941709"/>
                  </a:cubicBezTo>
                  <a:cubicBezTo>
                    <a:pt x="4496839" y="1921212"/>
                    <a:pt x="4524204" y="1903162"/>
                    <a:pt x="4560199" y="1904495"/>
                  </a:cubicBezTo>
                  <a:cubicBezTo>
                    <a:pt x="4567590" y="1904800"/>
                    <a:pt x="4572991" y="1907172"/>
                    <a:pt x="4578039" y="1911506"/>
                  </a:cubicBezTo>
                  <a:cubicBezTo>
                    <a:pt x="4584126" y="1920592"/>
                    <a:pt x="4582373" y="1929956"/>
                    <a:pt x="4578439" y="1939195"/>
                  </a:cubicBezTo>
                  <a:cubicBezTo>
                    <a:pt x="4578563" y="1940100"/>
                    <a:pt x="4578496" y="1940833"/>
                    <a:pt x="4577810" y="1941405"/>
                  </a:cubicBezTo>
                  <a:cubicBezTo>
                    <a:pt x="4578039" y="1944081"/>
                    <a:pt x="4579058" y="1946996"/>
                    <a:pt x="4575201" y="1948091"/>
                  </a:cubicBezTo>
                  <a:cubicBezTo>
                    <a:pt x="4571667" y="1965208"/>
                    <a:pt x="4564752" y="1980876"/>
                    <a:pt x="4553217" y="1994268"/>
                  </a:cubicBezTo>
                  <a:cubicBezTo>
                    <a:pt x="4551712" y="2004003"/>
                    <a:pt x="4545483" y="2011518"/>
                    <a:pt x="4540558" y="2019443"/>
                  </a:cubicBezTo>
                  <a:cubicBezTo>
                    <a:pt x="4536481" y="2025958"/>
                    <a:pt x="4533548" y="2032730"/>
                    <a:pt x="4533757" y="2040646"/>
                  </a:cubicBezTo>
                  <a:cubicBezTo>
                    <a:pt x="4534262" y="2041274"/>
                    <a:pt x="4534405" y="2042198"/>
                    <a:pt x="4534262" y="2042932"/>
                  </a:cubicBezTo>
                  <a:cubicBezTo>
                    <a:pt x="4538825" y="2048704"/>
                    <a:pt x="4543206" y="2054190"/>
                    <a:pt x="4550064" y="2057962"/>
                  </a:cubicBezTo>
                  <a:cubicBezTo>
                    <a:pt x="4558475" y="2062391"/>
                    <a:pt x="4562685" y="2069402"/>
                    <a:pt x="4553360" y="2077603"/>
                  </a:cubicBezTo>
                  <a:cubicBezTo>
                    <a:pt x="4552979" y="2079974"/>
                    <a:pt x="4553264" y="2082822"/>
                    <a:pt x="4550159" y="2083794"/>
                  </a:cubicBezTo>
                  <a:cubicBezTo>
                    <a:pt x="4547712" y="2091452"/>
                    <a:pt x="4547149" y="2099882"/>
                    <a:pt x="4540463" y="2105606"/>
                  </a:cubicBezTo>
                  <a:cubicBezTo>
                    <a:pt x="4536672" y="2125132"/>
                    <a:pt x="4523451" y="2136915"/>
                    <a:pt x="4506268" y="2145544"/>
                  </a:cubicBezTo>
                  <a:cubicBezTo>
                    <a:pt x="4503906" y="2147345"/>
                    <a:pt x="4501887" y="2149783"/>
                    <a:pt x="4499182" y="2150688"/>
                  </a:cubicBezTo>
                  <a:cubicBezTo>
                    <a:pt x="4478246" y="2157565"/>
                    <a:pt x="4467863" y="2170690"/>
                    <a:pt x="4471445" y="2193236"/>
                  </a:cubicBezTo>
                  <a:cubicBezTo>
                    <a:pt x="4472178" y="2197760"/>
                    <a:pt x="4473979" y="2203552"/>
                    <a:pt x="4468911" y="2207524"/>
                  </a:cubicBezTo>
                  <a:cubicBezTo>
                    <a:pt x="4468530" y="2209476"/>
                    <a:pt x="4468130" y="2211296"/>
                    <a:pt x="4467768" y="2213296"/>
                  </a:cubicBezTo>
                  <a:cubicBezTo>
                    <a:pt x="4463215" y="2230517"/>
                    <a:pt x="4445280" y="2230355"/>
                    <a:pt x="4433697" y="2238366"/>
                  </a:cubicBezTo>
                  <a:cubicBezTo>
                    <a:pt x="4431868" y="2240356"/>
                    <a:pt x="4429859" y="2242376"/>
                    <a:pt x="4428011" y="2244366"/>
                  </a:cubicBezTo>
                  <a:close/>
                  <a:moveTo>
                    <a:pt x="4563656" y="2103758"/>
                  </a:moveTo>
                  <a:cubicBezTo>
                    <a:pt x="4569486" y="2103377"/>
                    <a:pt x="4572972" y="2106740"/>
                    <a:pt x="4572238" y="2111902"/>
                  </a:cubicBezTo>
                  <a:cubicBezTo>
                    <a:pt x="4571715" y="2116417"/>
                    <a:pt x="4568276" y="2120018"/>
                    <a:pt x="4563275" y="2119770"/>
                  </a:cubicBezTo>
                  <a:cubicBezTo>
                    <a:pt x="4557208" y="2120018"/>
                    <a:pt x="4555246" y="2116312"/>
                    <a:pt x="4554912" y="2112102"/>
                  </a:cubicBezTo>
                  <a:cubicBezTo>
                    <a:pt x="4554589" y="2106501"/>
                    <a:pt x="4558475" y="2104111"/>
                    <a:pt x="4563656" y="2103758"/>
                  </a:cubicBezTo>
                  <a:close/>
                  <a:moveTo>
                    <a:pt x="4445280" y="2261054"/>
                  </a:moveTo>
                  <a:cubicBezTo>
                    <a:pt x="4451795" y="2246900"/>
                    <a:pt x="4467130" y="2244128"/>
                    <a:pt x="4476512" y="2234413"/>
                  </a:cubicBezTo>
                  <a:cubicBezTo>
                    <a:pt x="4485447" y="2224764"/>
                    <a:pt x="4491057" y="2215915"/>
                    <a:pt x="4492076" y="2202694"/>
                  </a:cubicBezTo>
                  <a:cubicBezTo>
                    <a:pt x="4493876" y="2174872"/>
                    <a:pt x="4500020" y="2164099"/>
                    <a:pt x="4526652" y="2163575"/>
                  </a:cubicBezTo>
                  <a:cubicBezTo>
                    <a:pt x="4541787" y="2163280"/>
                    <a:pt x="4548997" y="2149878"/>
                    <a:pt x="4558951" y="2141515"/>
                  </a:cubicBezTo>
                  <a:cubicBezTo>
                    <a:pt x="4567752" y="2134238"/>
                    <a:pt x="4575182" y="2125799"/>
                    <a:pt x="4587193" y="2123018"/>
                  </a:cubicBezTo>
                  <a:cubicBezTo>
                    <a:pt x="4585459" y="2140239"/>
                    <a:pt x="4561885" y="2140963"/>
                    <a:pt x="4558951" y="2158537"/>
                  </a:cubicBezTo>
                  <a:cubicBezTo>
                    <a:pt x="4573915" y="2160403"/>
                    <a:pt x="4582068" y="2146135"/>
                    <a:pt x="4596289" y="2145144"/>
                  </a:cubicBezTo>
                  <a:cubicBezTo>
                    <a:pt x="4590031" y="2151821"/>
                    <a:pt x="4584935" y="2157755"/>
                    <a:pt x="4579439" y="2163080"/>
                  </a:cubicBezTo>
                  <a:cubicBezTo>
                    <a:pt x="4575477" y="2166966"/>
                    <a:pt x="4573915" y="2171357"/>
                    <a:pt x="4577334" y="2175148"/>
                  </a:cubicBezTo>
                  <a:cubicBezTo>
                    <a:pt x="4580287" y="2178510"/>
                    <a:pt x="4583754" y="2175053"/>
                    <a:pt x="4586707" y="2172967"/>
                  </a:cubicBezTo>
                  <a:cubicBezTo>
                    <a:pt x="4590783" y="2170100"/>
                    <a:pt x="4595289" y="2167776"/>
                    <a:pt x="4600175" y="2164842"/>
                  </a:cubicBezTo>
                  <a:cubicBezTo>
                    <a:pt x="4598061" y="2186712"/>
                    <a:pt x="4489171" y="2253663"/>
                    <a:pt x="4445280" y="2261054"/>
                  </a:cubicBezTo>
                  <a:close/>
                  <a:moveTo>
                    <a:pt x="4617072" y="1995592"/>
                  </a:moveTo>
                  <a:cubicBezTo>
                    <a:pt x="4610405" y="1994449"/>
                    <a:pt x="4603185" y="1984543"/>
                    <a:pt x="4597775" y="1992430"/>
                  </a:cubicBezTo>
                  <a:cubicBezTo>
                    <a:pt x="4593012" y="1999669"/>
                    <a:pt x="4603271" y="2002298"/>
                    <a:pt x="4608186" y="2006108"/>
                  </a:cubicBezTo>
                  <a:cubicBezTo>
                    <a:pt x="4609986" y="2007556"/>
                    <a:pt x="4611834" y="2010499"/>
                    <a:pt x="4611491" y="2012423"/>
                  </a:cubicBezTo>
                  <a:cubicBezTo>
                    <a:pt x="4610929" y="2016881"/>
                    <a:pt x="4606976" y="2015471"/>
                    <a:pt x="4604061" y="2015385"/>
                  </a:cubicBezTo>
                  <a:cubicBezTo>
                    <a:pt x="4600623" y="2015223"/>
                    <a:pt x="4595841" y="2013090"/>
                    <a:pt x="4594365" y="2016976"/>
                  </a:cubicBezTo>
                  <a:cubicBezTo>
                    <a:pt x="4592384" y="2021881"/>
                    <a:pt x="4596289" y="2025606"/>
                    <a:pt x="4600366" y="2028082"/>
                  </a:cubicBezTo>
                  <a:cubicBezTo>
                    <a:pt x="4605976" y="2031473"/>
                    <a:pt x="4609195" y="2036283"/>
                    <a:pt x="4610929" y="2043875"/>
                  </a:cubicBezTo>
                  <a:cubicBezTo>
                    <a:pt x="4605319" y="2043751"/>
                    <a:pt x="4600975" y="2037998"/>
                    <a:pt x="4596784" y="2042932"/>
                  </a:cubicBezTo>
                  <a:cubicBezTo>
                    <a:pt x="4593012" y="2047618"/>
                    <a:pt x="4597680" y="2051171"/>
                    <a:pt x="4599347" y="2055305"/>
                  </a:cubicBezTo>
                  <a:cubicBezTo>
                    <a:pt x="4601832" y="2061296"/>
                    <a:pt x="4607376" y="2064468"/>
                    <a:pt x="4611491" y="2068878"/>
                  </a:cubicBezTo>
                  <a:cubicBezTo>
                    <a:pt x="4614006" y="2071754"/>
                    <a:pt x="4616596" y="2074688"/>
                    <a:pt x="4612777" y="2078060"/>
                  </a:cubicBezTo>
                  <a:cubicBezTo>
                    <a:pt x="4609433" y="2081117"/>
                    <a:pt x="4606900" y="2077107"/>
                    <a:pt x="4605452" y="2075669"/>
                  </a:cubicBezTo>
                  <a:cubicBezTo>
                    <a:pt x="4601309" y="2071516"/>
                    <a:pt x="4596003" y="2068125"/>
                    <a:pt x="4592241" y="2072373"/>
                  </a:cubicBezTo>
                  <a:cubicBezTo>
                    <a:pt x="4587755" y="2077174"/>
                    <a:pt x="4591450" y="2082175"/>
                    <a:pt x="4596784" y="2085670"/>
                  </a:cubicBezTo>
                  <a:cubicBezTo>
                    <a:pt x="4601147" y="2088413"/>
                    <a:pt x="4604299" y="2092776"/>
                    <a:pt x="4607747" y="2096529"/>
                  </a:cubicBezTo>
                  <a:cubicBezTo>
                    <a:pt x="4610405" y="2099463"/>
                    <a:pt x="4614987" y="2102996"/>
                    <a:pt x="4611424" y="2106806"/>
                  </a:cubicBezTo>
                  <a:cubicBezTo>
                    <a:pt x="4608081" y="2110264"/>
                    <a:pt x="4604061" y="2106330"/>
                    <a:pt x="4600366" y="2104368"/>
                  </a:cubicBezTo>
                  <a:cubicBezTo>
                    <a:pt x="4584230" y="2095900"/>
                    <a:pt x="4576829" y="2082089"/>
                    <a:pt x="4574705" y="2064896"/>
                  </a:cubicBezTo>
                  <a:cubicBezTo>
                    <a:pt x="4573534" y="2056695"/>
                    <a:pt x="4572467" y="2049570"/>
                    <a:pt x="4562399" y="2045846"/>
                  </a:cubicBezTo>
                  <a:cubicBezTo>
                    <a:pt x="4552455" y="2041903"/>
                    <a:pt x="4556274" y="2032264"/>
                    <a:pt x="4559875" y="2026358"/>
                  </a:cubicBezTo>
                  <a:cubicBezTo>
                    <a:pt x="4569752" y="2010166"/>
                    <a:pt x="4579744" y="1994287"/>
                    <a:pt x="4587421" y="1977009"/>
                  </a:cubicBezTo>
                  <a:cubicBezTo>
                    <a:pt x="4593117" y="1964579"/>
                    <a:pt x="4600861" y="1966836"/>
                    <a:pt x="4607662" y="1974371"/>
                  </a:cubicBezTo>
                  <a:cubicBezTo>
                    <a:pt x="4612967" y="1980114"/>
                    <a:pt x="4618873" y="1986267"/>
                    <a:pt x="4620330" y="1994687"/>
                  </a:cubicBezTo>
                  <a:cubicBezTo>
                    <a:pt x="4618920" y="1995021"/>
                    <a:pt x="4617949" y="1995735"/>
                    <a:pt x="4617072" y="1995592"/>
                  </a:cubicBezTo>
                  <a:close/>
                  <a:moveTo>
                    <a:pt x="4439365" y="1265377"/>
                  </a:moveTo>
                  <a:cubicBezTo>
                    <a:pt x="4451538" y="1250356"/>
                    <a:pt x="4464073" y="1235812"/>
                    <a:pt x="4475045" y="1220048"/>
                  </a:cubicBezTo>
                  <a:cubicBezTo>
                    <a:pt x="4481160" y="1211323"/>
                    <a:pt x="4485428" y="1200598"/>
                    <a:pt x="4495515" y="1216685"/>
                  </a:cubicBezTo>
                  <a:cubicBezTo>
                    <a:pt x="4496629" y="1218429"/>
                    <a:pt x="4499610" y="1219210"/>
                    <a:pt x="4501868" y="1220457"/>
                  </a:cubicBezTo>
                  <a:cubicBezTo>
                    <a:pt x="4516031" y="1228801"/>
                    <a:pt x="4520708" y="1242651"/>
                    <a:pt x="4523975" y="1257310"/>
                  </a:cubicBezTo>
                  <a:cubicBezTo>
                    <a:pt x="4524661" y="1258224"/>
                    <a:pt x="4524737" y="1259224"/>
                    <a:pt x="4524423" y="1260234"/>
                  </a:cubicBezTo>
                  <a:cubicBezTo>
                    <a:pt x="4532786" y="1280208"/>
                    <a:pt x="4523575" y="1299001"/>
                    <a:pt x="4519708" y="1317850"/>
                  </a:cubicBezTo>
                  <a:cubicBezTo>
                    <a:pt x="4517308" y="1329214"/>
                    <a:pt x="4518356" y="1340244"/>
                    <a:pt x="4518356" y="1351407"/>
                  </a:cubicBezTo>
                  <a:cubicBezTo>
                    <a:pt x="4518356" y="1357856"/>
                    <a:pt x="4523280" y="1361980"/>
                    <a:pt x="4529204" y="1364504"/>
                  </a:cubicBezTo>
                  <a:cubicBezTo>
                    <a:pt x="4538615" y="1368590"/>
                    <a:pt x="4542930" y="1375791"/>
                    <a:pt x="4543282" y="1385849"/>
                  </a:cubicBezTo>
                  <a:cubicBezTo>
                    <a:pt x="4543901" y="1419273"/>
                    <a:pt x="4541406" y="1452544"/>
                    <a:pt x="4533919" y="1485348"/>
                  </a:cubicBezTo>
                  <a:cubicBezTo>
                    <a:pt x="4530938" y="1498644"/>
                    <a:pt x="4538825" y="1511256"/>
                    <a:pt x="4536291" y="1524543"/>
                  </a:cubicBezTo>
                  <a:cubicBezTo>
                    <a:pt x="4539901" y="1535097"/>
                    <a:pt x="4533338" y="1543555"/>
                    <a:pt x="4530319" y="1552813"/>
                  </a:cubicBezTo>
                  <a:cubicBezTo>
                    <a:pt x="4532786" y="1559062"/>
                    <a:pt x="4526109" y="1561214"/>
                    <a:pt x="4524185" y="1565453"/>
                  </a:cubicBezTo>
                  <a:cubicBezTo>
                    <a:pt x="4519489" y="1576673"/>
                    <a:pt x="4513898" y="1574359"/>
                    <a:pt x="4508449" y="1565586"/>
                  </a:cubicBezTo>
                  <a:cubicBezTo>
                    <a:pt x="4504306" y="1562929"/>
                    <a:pt x="4499515" y="1560586"/>
                    <a:pt x="4496067" y="1557147"/>
                  </a:cubicBezTo>
                  <a:cubicBezTo>
                    <a:pt x="4492648" y="1553880"/>
                    <a:pt x="4489552" y="1549127"/>
                    <a:pt x="4497391" y="1547079"/>
                  </a:cubicBezTo>
                  <a:cubicBezTo>
                    <a:pt x="4505735" y="1544860"/>
                    <a:pt x="4505011" y="1537068"/>
                    <a:pt x="4504801" y="1532315"/>
                  </a:cubicBezTo>
                  <a:cubicBezTo>
                    <a:pt x="4504306" y="1524943"/>
                    <a:pt x="4496657" y="1529382"/>
                    <a:pt x="4492228" y="1528753"/>
                  </a:cubicBezTo>
                  <a:cubicBezTo>
                    <a:pt x="4487152" y="1527858"/>
                    <a:pt x="4481780" y="1528458"/>
                    <a:pt x="4476607" y="1528458"/>
                  </a:cubicBezTo>
                  <a:cubicBezTo>
                    <a:pt x="4458005" y="1528458"/>
                    <a:pt x="4454624" y="1525057"/>
                    <a:pt x="4458862" y="1507331"/>
                  </a:cubicBezTo>
                  <a:cubicBezTo>
                    <a:pt x="4464996" y="1482023"/>
                    <a:pt x="4472255" y="1457906"/>
                    <a:pt x="4501030" y="1446952"/>
                  </a:cubicBezTo>
                  <a:cubicBezTo>
                    <a:pt x="4510135" y="1443609"/>
                    <a:pt x="4515298" y="1434132"/>
                    <a:pt x="4515393" y="1423511"/>
                  </a:cubicBezTo>
                  <a:cubicBezTo>
                    <a:pt x="4511840" y="1420644"/>
                    <a:pt x="4520899" y="1409071"/>
                    <a:pt x="4507649" y="1412672"/>
                  </a:cubicBezTo>
                  <a:lnTo>
                    <a:pt x="4506954" y="1413548"/>
                  </a:lnTo>
                  <a:cubicBezTo>
                    <a:pt x="4494333" y="1423969"/>
                    <a:pt x="4481846" y="1434398"/>
                    <a:pt x="4466920" y="1440818"/>
                  </a:cubicBezTo>
                  <a:cubicBezTo>
                    <a:pt x="4464073" y="1442066"/>
                    <a:pt x="4453814" y="1450124"/>
                    <a:pt x="4456157" y="1436113"/>
                  </a:cubicBezTo>
                  <a:cubicBezTo>
                    <a:pt x="4453338" y="1428350"/>
                    <a:pt x="4457157" y="1421254"/>
                    <a:pt x="4458977" y="1414043"/>
                  </a:cubicBezTo>
                  <a:cubicBezTo>
                    <a:pt x="4463215" y="1397003"/>
                    <a:pt x="4468549" y="1380496"/>
                    <a:pt x="4476750" y="1365009"/>
                  </a:cubicBezTo>
                  <a:cubicBezTo>
                    <a:pt x="4483675" y="1342939"/>
                    <a:pt x="4494019" y="1321403"/>
                    <a:pt x="4492505" y="1297705"/>
                  </a:cubicBezTo>
                  <a:cubicBezTo>
                    <a:pt x="4491962" y="1286990"/>
                    <a:pt x="4492476" y="1273702"/>
                    <a:pt x="4477465" y="1269502"/>
                  </a:cubicBezTo>
                  <a:cubicBezTo>
                    <a:pt x="4469502" y="1280493"/>
                    <a:pt x="4466540" y="1292933"/>
                    <a:pt x="4467625" y="1306249"/>
                  </a:cubicBezTo>
                  <a:cubicBezTo>
                    <a:pt x="4468006" y="1311631"/>
                    <a:pt x="4469425" y="1317460"/>
                    <a:pt x="4465311" y="1322203"/>
                  </a:cubicBezTo>
                  <a:cubicBezTo>
                    <a:pt x="4465425" y="1323270"/>
                    <a:pt x="4465311" y="1324261"/>
                    <a:pt x="4464520" y="1324994"/>
                  </a:cubicBezTo>
                  <a:cubicBezTo>
                    <a:pt x="4465311" y="1332386"/>
                    <a:pt x="4466397" y="1339920"/>
                    <a:pt x="4454119" y="1334595"/>
                  </a:cubicBezTo>
                  <a:cubicBezTo>
                    <a:pt x="4450185" y="1332976"/>
                    <a:pt x="4444851" y="1334319"/>
                    <a:pt x="4440165" y="1334319"/>
                  </a:cubicBezTo>
                  <a:cubicBezTo>
                    <a:pt x="4439784" y="1335386"/>
                    <a:pt x="4439365" y="1336472"/>
                    <a:pt x="4438936" y="1337415"/>
                  </a:cubicBezTo>
                  <a:cubicBezTo>
                    <a:pt x="4438631" y="1358037"/>
                    <a:pt x="4442822" y="1378715"/>
                    <a:pt x="4436736" y="1399003"/>
                  </a:cubicBezTo>
                  <a:cubicBezTo>
                    <a:pt x="4436450" y="1401166"/>
                    <a:pt x="4436193" y="1403271"/>
                    <a:pt x="4435955" y="1405471"/>
                  </a:cubicBezTo>
                  <a:cubicBezTo>
                    <a:pt x="4436097" y="1427950"/>
                    <a:pt x="4436097" y="1450677"/>
                    <a:pt x="4436097" y="1473289"/>
                  </a:cubicBezTo>
                  <a:cubicBezTo>
                    <a:pt x="4431335" y="1461116"/>
                    <a:pt x="4421067" y="1463640"/>
                    <a:pt x="4411828" y="1464259"/>
                  </a:cubicBezTo>
                  <a:cubicBezTo>
                    <a:pt x="4411828" y="1467860"/>
                    <a:pt x="4408161" y="1470584"/>
                    <a:pt x="4411094" y="1475280"/>
                  </a:cubicBezTo>
                  <a:cubicBezTo>
                    <a:pt x="4414914" y="1481604"/>
                    <a:pt x="4419124" y="1490682"/>
                    <a:pt x="4408104" y="1494158"/>
                  </a:cubicBezTo>
                  <a:cubicBezTo>
                    <a:pt x="4397521" y="1497349"/>
                    <a:pt x="4390711" y="1488072"/>
                    <a:pt x="4386996" y="1480814"/>
                  </a:cubicBezTo>
                  <a:cubicBezTo>
                    <a:pt x="4379919" y="1466964"/>
                    <a:pt x="4384748" y="1454448"/>
                    <a:pt x="4394054" y="1442066"/>
                  </a:cubicBezTo>
                  <a:cubicBezTo>
                    <a:pt x="4405922" y="1425674"/>
                    <a:pt x="4423629" y="1414158"/>
                    <a:pt x="4432792" y="1395832"/>
                  </a:cubicBezTo>
                  <a:cubicBezTo>
                    <a:pt x="4437412" y="1380735"/>
                    <a:pt x="4437317" y="1365218"/>
                    <a:pt x="4435974" y="1349750"/>
                  </a:cubicBezTo>
                  <a:cubicBezTo>
                    <a:pt x="4436469" y="1346978"/>
                    <a:pt x="4435736" y="1343987"/>
                    <a:pt x="4436564" y="1341311"/>
                  </a:cubicBezTo>
                  <a:cubicBezTo>
                    <a:pt x="4435736" y="1343987"/>
                    <a:pt x="4436469" y="1346978"/>
                    <a:pt x="4435974" y="1349635"/>
                  </a:cubicBezTo>
                  <a:cubicBezTo>
                    <a:pt x="4433488" y="1343225"/>
                    <a:pt x="4431735" y="1336472"/>
                    <a:pt x="4428039" y="1330452"/>
                  </a:cubicBezTo>
                  <a:cubicBezTo>
                    <a:pt x="4409228" y="1297705"/>
                    <a:pt x="4416209" y="1294028"/>
                    <a:pt x="4439365" y="1265377"/>
                  </a:cubicBezTo>
                  <a:close/>
                  <a:moveTo>
                    <a:pt x="4316607" y="1114701"/>
                  </a:moveTo>
                  <a:lnTo>
                    <a:pt x="4316607" y="1114873"/>
                  </a:lnTo>
                  <a:cubicBezTo>
                    <a:pt x="4318759" y="1111844"/>
                    <a:pt x="4321102" y="1108824"/>
                    <a:pt x="4323379" y="1105824"/>
                  </a:cubicBezTo>
                  <a:cubicBezTo>
                    <a:pt x="4326532" y="1088669"/>
                    <a:pt x="4328875" y="1071191"/>
                    <a:pt x="4333066" y="1054332"/>
                  </a:cubicBezTo>
                  <a:cubicBezTo>
                    <a:pt x="4335599" y="1043997"/>
                    <a:pt x="4341600" y="1034767"/>
                    <a:pt x="4351125" y="1028614"/>
                  </a:cubicBezTo>
                  <a:cubicBezTo>
                    <a:pt x="4357545" y="1022042"/>
                    <a:pt x="4362812" y="1021537"/>
                    <a:pt x="4367822" y="1030586"/>
                  </a:cubicBezTo>
                  <a:cubicBezTo>
                    <a:pt x="4371413" y="1037130"/>
                    <a:pt x="4378900" y="1041692"/>
                    <a:pt x="4379414" y="1050112"/>
                  </a:cubicBezTo>
                  <a:cubicBezTo>
                    <a:pt x="4381910" y="1055303"/>
                    <a:pt x="4385815" y="1059761"/>
                    <a:pt x="4386329" y="1065628"/>
                  </a:cubicBezTo>
                  <a:cubicBezTo>
                    <a:pt x="4394978" y="1085012"/>
                    <a:pt x="4392797" y="1105586"/>
                    <a:pt x="4392064" y="1125560"/>
                  </a:cubicBezTo>
                  <a:cubicBezTo>
                    <a:pt x="4391330" y="1146581"/>
                    <a:pt x="4395664" y="1164536"/>
                    <a:pt x="4414476" y="1176576"/>
                  </a:cubicBezTo>
                  <a:cubicBezTo>
                    <a:pt x="4429125" y="1183519"/>
                    <a:pt x="4434126" y="1194026"/>
                    <a:pt x="4429439" y="1213018"/>
                  </a:cubicBezTo>
                  <a:cubicBezTo>
                    <a:pt x="4426877" y="1223829"/>
                    <a:pt x="4424344" y="1235174"/>
                    <a:pt x="4417638" y="1244603"/>
                  </a:cubicBezTo>
                  <a:cubicBezTo>
                    <a:pt x="4414342" y="1253833"/>
                    <a:pt x="4411066" y="1263101"/>
                    <a:pt x="4407637" y="1272302"/>
                  </a:cubicBezTo>
                  <a:cubicBezTo>
                    <a:pt x="4394797" y="1300020"/>
                    <a:pt x="4406808" y="1326204"/>
                    <a:pt x="4412923" y="1352626"/>
                  </a:cubicBezTo>
                  <a:cubicBezTo>
                    <a:pt x="4415762" y="1365447"/>
                    <a:pt x="4416638" y="1378248"/>
                    <a:pt x="4408513" y="1389964"/>
                  </a:cubicBezTo>
                  <a:lnTo>
                    <a:pt x="4408656" y="1389964"/>
                  </a:lnTo>
                  <a:cubicBezTo>
                    <a:pt x="4400503" y="1412796"/>
                    <a:pt x="4382615" y="1427274"/>
                    <a:pt x="4363355" y="1440380"/>
                  </a:cubicBezTo>
                  <a:cubicBezTo>
                    <a:pt x="4363041" y="1440990"/>
                    <a:pt x="4362803" y="1441352"/>
                    <a:pt x="4361936" y="1441199"/>
                  </a:cubicBezTo>
                  <a:cubicBezTo>
                    <a:pt x="4360774" y="1441390"/>
                    <a:pt x="4359602" y="1441552"/>
                    <a:pt x="4358297" y="1441809"/>
                  </a:cubicBezTo>
                  <a:cubicBezTo>
                    <a:pt x="4350868" y="1447514"/>
                    <a:pt x="4348115" y="1440323"/>
                    <a:pt x="4345200" y="1436713"/>
                  </a:cubicBezTo>
                  <a:cubicBezTo>
                    <a:pt x="4339047" y="1428760"/>
                    <a:pt x="4334037" y="1419854"/>
                    <a:pt x="4328541" y="1411272"/>
                  </a:cubicBezTo>
                  <a:cubicBezTo>
                    <a:pt x="4316597" y="1392060"/>
                    <a:pt x="4316692" y="1392060"/>
                    <a:pt x="4335866" y="1380020"/>
                  </a:cubicBezTo>
                  <a:cubicBezTo>
                    <a:pt x="4342314" y="1373162"/>
                    <a:pt x="4347601" y="1365218"/>
                    <a:pt x="4357069" y="1361227"/>
                  </a:cubicBezTo>
                  <a:cubicBezTo>
                    <a:pt x="4362803" y="1358818"/>
                    <a:pt x="4361307" y="1354303"/>
                    <a:pt x="4358640" y="1350150"/>
                  </a:cubicBezTo>
                  <a:cubicBezTo>
                    <a:pt x="4352354" y="1350007"/>
                    <a:pt x="4346001" y="1349369"/>
                    <a:pt x="4339848" y="1350007"/>
                  </a:cubicBezTo>
                  <a:cubicBezTo>
                    <a:pt x="4334161" y="1350388"/>
                    <a:pt x="4331218" y="1357856"/>
                    <a:pt x="4324588" y="1356312"/>
                  </a:cubicBezTo>
                  <a:cubicBezTo>
                    <a:pt x="4318092" y="1328938"/>
                    <a:pt x="4335314" y="1309545"/>
                    <a:pt x="4349020" y="1288980"/>
                  </a:cubicBezTo>
                  <a:cubicBezTo>
                    <a:pt x="4360079" y="1272216"/>
                    <a:pt x="4372832" y="1256348"/>
                    <a:pt x="4376309" y="1235907"/>
                  </a:cubicBezTo>
                  <a:cubicBezTo>
                    <a:pt x="4361412" y="1236097"/>
                    <a:pt x="4357802" y="1238326"/>
                    <a:pt x="4340514" y="1258643"/>
                  </a:cubicBezTo>
                  <a:cubicBezTo>
                    <a:pt x="4346096" y="1235450"/>
                    <a:pt x="4350763" y="1215866"/>
                    <a:pt x="4355478" y="1196350"/>
                  </a:cubicBezTo>
                  <a:cubicBezTo>
                    <a:pt x="4353163" y="1183710"/>
                    <a:pt x="4357526" y="1170089"/>
                    <a:pt x="4348515" y="1158554"/>
                  </a:cubicBezTo>
                  <a:cubicBezTo>
                    <a:pt x="4346001" y="1155249"/>
                    <a:pt x="4344791" y="1151430"/>
                    <a:pt x="4339466" y="1152858"/>
                  </a:cubicBezTo>
                  <a:cubicBezTo>
                    <a:pt x="4334142" y="1175871"/>
                    <a:pt x="4329037" y="1198969"/>
                    <a:pt x="4323093" y="1224496"/>
                  </a:cubicBezTo>
                  <a:cubicBezTo>
                    <a:pt x="4319140" y="1217409"/>
                    <a:pt x="4316292" y="1212742"/>
                    <a:pt x="4313644" y="1208075"/>
                  </a:cubicBezTo>
                  <a:cubicBezTo>
                    <a:pt x="4307500" y="1207322"/>
                    <a:pt x="4312368" y="1191978"/>
                    <a:pt x="4300757" y="1198769"/>
                  </a:cubicBezTo>
                  <a:cubicBezTo>
                    <a:pt x="4300462" y="1254585"/>
                    <a:pt x="4306491" y="1310716"/>
                    <a:pt x="4295375" y="1367704"/>
                  </a:cubicBezTo>
                  <a:cubicBezTo>
                    <a:pt x="4290451" y="1363599"/>
                    <a:pt x="4289403" y="1359856"/>
                    <a:pt x="4288574" y="1355722"/>
                  </a:cubicBezTo>
                  <a:cubicBezTo>
                    <a:pt x="4282926" y="1345273"/>
                    <a:pt x="4282602" y="1333186"/>
                    <a:pt x="4279716" y="1321880"/>
                  </a:cubicBezTo>
                  <a:cubicBezTo>
                    <a:pt x="4276697" y="1310488"/>
                    <a:pt x="4270210" y="1302029"/>
                    <a:pt x="4261942" y="1294028"/>
                  </a:cubicBezTo>
                  <a:cubicBezTo>
                    <a:pt x="4257628" y="1289742"/>
                    <a:pt x="4254904" y="1292314"/>
                    <a:pt x="4251322" y="1294495"/>
                  </a:cubicBezTo>
                  <a:cubicBezTo>
                    <a:pt x="4250731" y="1304649"/>
                    <a:pt x="4251141" y="1314488"/>
                    <a:pt x="4257818" y="1323632"/>
                  </a:cubicBezTo>
                  <a:cubicBezTo>
                    <a:pt x="4248264" y="1317460"/>
                    <a:pt x="4237730" y="1313069"/>
                    <a:pt x="4235834" y="1300953"/>
                  </a:cubicBezTo>
                  <a:cubicBezTo>
                    <a:pt x="4223109" y="1286990"/>
                    <a:pt x="4224576" y="1252471"/>
                    <a:pt x="4229691" y="1241946"/>
                  </a:cubicBezTo>
                  <a:cubicBezTo>
                    <a:pt x="4232634" y="1236012"/>
                    <a:pt x="4237920" y="1238936"/>
                    <a:pt x="4242016" y="1238783"/>
                  </a:cubicBezTo>
                  <a:cubicBezTo>
                    <a:pt x="4266153" y="1238050"/>
                    <a:pt x="4266915" y="1238431"/>
                    <a:pt x="4269458" y="1216562"/>
                  </a:cubicBezTo>
                  <a:cubicBezTo>
                    <a:pt x="4270944" y="1204389"/>
                    <a:pt x="4272182" y="1191759"/>
                    <a:pt x="4268591" y="1179814"/>
                  </a:cubicBezTo>
                  <a:cubicBezTo>
                    <a:pt x="4263648" y="1163307"/>
                    <a:pt x="4269029" y="1147439"/>
                    <a:pt x="4271325" y="1131599"/>
                  </a:cubicBezTo>
                  <a:cubicBezTo>
                    <a:pt x="4272325" y="1125007"/>
                    <a:pt x="4277106" y="1119473"/>
                    <a:pt x="4286012" y="1121893"/>
                  </a:cubicBezTo>
                  <a:cubicBezTo>
                    <a:pt x="4296956" y="1122702"/>
                    <a:pt x="4306843" y="1118797"/>
                    <a:pt x="4316607" y="1114701"/>
                  </a:cubicBezTo>
                  <a:close/>
                  <a:moveTo>
                    <a:pt x="4210050" y="1268902"/>
                  </a:moveTo>
                  <a:cubicBezTo>
                    <a:pt x="4211403" y="1279569"/>
                    <a:pt x="4204488" y="1279370"/>
                    <a:pt x="4198363" y="1276855"/>
                  </a:cubicBezTo>
                  <a:cubicBezTo>
                    <a:pt x="4180646" y="1269654"/>
                    <a:pt x="4176284" y="1247594"/>
                    <a:pt x="4188324" y="1236012"/>
                  </a:cubicBezTo>
                  <a:cubicBezTo>
                    <a:pt x="4201716" y="1223105"/>
                    <a:pt x="4217137" y="1213714"/>
                    <a:pt x="4233177" y="1204598"/>
                  </a:cubicBezTo>
                  <a:cubicBezTo>
                    <a:pt x="4238273" y="1201703"/>
                    <a:pt x="4242816" y="1201893"/>
                    <a:pt x="4247398" y="1205808"/>
                  </a:cubicBezTo>
                  <a:cubicBezTo>
                    <a:pt x="4245216" y="1212809"/>
                    <a:pt x="4239244" y="1213714"/>
                    <a:pt x="4233177" y="1215076"/>
                  </a:cubicBezTo>
                  <a:cubicBezTo>
                    <a:pt x="4212993" y="1219705"/>
                    <a:pt x="4209488" y="1224315"/>
                    <a:pt x="4209736" y="1244508"/>
                  </a:cubicBezTo>
                  <a:cubicBezTo>
                    <a:pt x="4209736" y="1252557"/>
                    <a:pt x="4209288" y="1260843"/>
                    <a:pt x="4210050" y="1268902"/>
                  </a:cubicBezTo>
                  <a:close/>
                  <a:moveTo>
                    <a:pt x="4275535" y="914960"/>
                  </a:moveTo>
                  <a:cubicBezTo>
                    <a:pt x="4263828" y="923937"/>
                    <a:pt x="4248274" y="929932"/>
                    <a:pt x="4243693" y="948444"/>
                  </a:cubicBezTo>
                  <a:cubicBezTo>
                    <a:pt x="4254313" y="944996"/>
                    <a:pt x="4263028" y="942315"/>
                    <a:pt x="4273268" y="939116"/>
                  </a:cubicBezTo>
                  <a:cubicBezTo>
                    <a:pt x="4268619" y="957539"/>
                    <a:pt x="4252103" y="964625"/>
                    <a:pt x="4241711" y="979484"/>
                  </a:cubicBezTo>
                  <a:cubicBezTo>
                    <a:pt x="4255113" y="979484"/>
                    <a:pt x="4265781" y="977160"/>
                    <a:pt x="4274420" y="967864"/>
                  </a:cubicBezTo>
                  <a:cubicBezTo>
                    <a:pt x="4275801" y="967092"/>
                    <a:pt x="4277125" y="966111"/>
                    <a:pt x="4278640" y="965121"/>
                  </a:cubicBezTo>
                  <a:cubicBezTo>
                    <a:pt x="4279907" y="967711"/>
                    <a:pt x="4279354" y="969616"/>
                    <a:pt x="4276392" y="970474"/>
                  </a:cubicBezTo>
                  <a:cubicBezTo>
                    <a:pt x="4276058" y="977732"/>
                    <a:pt x="4270963" y="980646"/>
                    <a:pt x="4265095" y="983142"/>
                  </a:cubicBezTo>
                  <a:cubicBezTo>
                    <a:pt x="4261781" y="984485"/>
                    <a:pt x="4258866" y="986666"/>
                    <a:pt x="4255923" y="988647"/>
                  </a:cubicBezTo>
                  <a:cubicBezTo>
                    <a:pt x="4250998" y="992000"/>
                    <a:pt x="4249055" y="997658"/>
                    <a:pt x="4251589" y="1002182"/>
                  </a:cubicBezTo>
                  <a:cubicBezTo>
                    <a:pt x="4255046" y="1008412"/>
                    <a:pt x="4258856" y="999344"/>
                    <a:pt x="4263666" y="1000830"/>
                  </a:cubicBezTo>
                  <a:cubicBezTo>
                    <a:pt x="4268048" y="1002182"/>
                    <a:pt x="4269048" y="993096"/>
                    <a:pt x="4276801" y="996725"/>
                  </a:cubicBezTo>
                  <a:cubicBezTo>
                    <a:pt x="4270048" y="1005916"/>
                    <a:pt x="4259361" y="1008126"/>
                    <a:pt x="4250408" y="1009926"/>
                  </a:cubicBezTo>
                  <a:cubicBezTo>
                    <a:pt x="4234034" y="1013070"/>
                    <a:pt x="4223242" y="1022842"/>
                    <a:pt x="4213574" y="1034729"/>
                  </a:cubicBezTo>
                  <a:cubicBezTo>
                    <a:pt x="4206193" y="1043521"/>
                    <a:pt x="4199649" y="1058694"/>
                    <a:pt x="4187781" y="1055361"/>
                  </a:cubicBezTo>
                  <a:cubicBezTo>
                    <a:pt x="4175979" y="1052065"/>
                    <a:pt x="4182561" y="1036396"/>
                    <a:pt x="4182561" y="1026519"/>
                  </a:cubicBezTo>
                  <a:cubicBezTo>
                    <a:pt x="4182761" y="1003402"/>
                    <a:pt x="4188257" y="981189"/>
                    <a:pt x="4197201" y="959644"/>
                  </a:cubicBezTo>
                  <a:cubicBezTo>
                    <a:pt x="4203611" y="944481"/>
                    <a:pt x="4214546" y="934657"/>
                    <a:pt x="4228719" y="927187"/>
                  </a:cubicBezTo>
                  <a:cubicBezTo>
                    <a:pt x="4249474" y="916167"/>
                    <a:pt x="4273125" y="909357"/>
                    <a:pt x="4286507" y="886854"/>
                  </a:cubicBezTo>
                  <a:cubicBezTo>
                    <a:pt x="4289165" y="901041"/>
                    <a:pt x="4286041" y="907005"/>
                    <a:pt x="4275535" y="914960"/>
                  </a:cubicBezTo>
                  <a:close/>
                  <a:moveTo>
                    <a:pt x="4264171" y="1113977"/>
                  </a:moveTo>
                  <a:cubicBezTo>
                    <a:pt x="4253551" y="1124398"/>
                    <a:pt x="4249493" y="1140152"/>
                    <a:pt x="4248150" y="1155040"/>
                  </a:cubicBezTo>
                  <a:cubicBezTo>
                    <a:pt x="4245502" y="1182843"/>
                    <a:pt x="4220852" y="1191359"/>
                    <a:pt x="4203649" y="1206522"/>
                  </a:cubicBezTo>
                  <a:cubicBezTo>
                    <a:pt x="4200125" y="1209694"/>
                    <a:pt x="4193819" y="1208837"/>
                    <a:pt x="4191810" y="1201617"/>
                  </a:cubicBezTo>
                  <a:cubicBezTo>
                    <a:pt x="4185809" y="1180586"/>
                    <a:pt x="4206783" y="1145581"/>
                    <a:pt x="4229310" y="1140314"/>
                  </a:cubicBezTo>
                  <a:cubicBezTo>
                    <a:pt x="4234863" y="1139047"/>
                    <a:pt x="4236777" y="1135104"/>
                    <a:pt x="4239197" y="1131513"/>
                  </a:cubicBezTo>
                  <a:cubicBezTo>
                    <a:pt x="4254932" y="1107862"/>
                    <a:pt x="4264600" y="1081878"/>
                    <a:pt x="4265800" y="1053475"/>
                  </a:cubicBezTo>
                  <a:cubicBezTo>
                    <a:pt x="4266181" y="1044283"/>
                    <a:pt x="4268791" y="1036434"/>
                    <a:pt x="4278268" y="1027109"/>
                  </a:cubicBezTo>
                  <a:cubicBezTo>
                    <a:pt x="4282955" y="1059752"/>
                    <a:pt x="4290136" y="1088669"/>
                    <a:pt x="4264171" y="1113977"/>
                  </a:cubicBezTo>
                  <a:close/>
                  <a:moveTo>
                    <a:pt x="4163759" y="765292"/>
                  </a:moveTo>
                  <a:cubicBezTo>
                    <a:pt x="4201811" y="771379"/>
                    <a:pt x="4235691" y="787993"/>
                    <a:pt x="4271353" y="798341"/>
                  </a:cubicBezTo>
                  <a:cubicBezTo>
                    <a:pt x="4285869" y="802500"/>
                    <a:pt x="4291956" y="814841"/>
                    <a:pt x="4290937" y="834610"/>
                  </a:cubicBezTo>
                  <a:cubicBezTo>
                    <a:pt x="4274420" y="830639"/>
                    <a:pt x="4265352" y="811085"/>
                    <a:pt x="4246159" y="813468"/>
                  </a:cubicBezTo>
                  <a:cubicBezTo>
                    <a:pt x="4243416" y="825500"/>
                    <a:pt x="4253951" y="828492"/>
                    <a:pt x="4260780" y="832784"/>
                  </a:cubicBezTo>
                  <a:cubicBezTo>
                    <a:pt x="4268619" y="837862"/>
                    <a:pt x="4274334" y="843887"/>
                    <a:pt x="4279306" y="851161"/>
                  </a:cubicBezTo>
                  <a:cubicBezTo>
                    <a:pt x="4265781" y="848418"/>
                    <a:pt x="4255418" y="836850"/>
                    <a:pt x="4239759" y="841637"/>
                  </a:cubicBezTo>
                  <a:cubicBezTo>
                    <a:pt x="4245045" y="855484"/>
                    <a:pt x="4264857" y="854453"/>
                    <a:pt x="4269943" y="869849"/>
                  </a:cubicBezTo>
                  <a:cubicBezTo>
                    <a:pt x="4256799" y="876358"/>
                    <a:pt x="4245140" y="865544"/>
                    <a:pt x="4231996" y="865226"/>
                  </a:cubicBezTo>
                  <a:cubicBezTo>
                    <a:pt x="4234072" y="876936"/>
                    <a:pt x="4244598" y="879083"/>
                    <a:pt x="4252608" y="887688"/>
                  </a:cubicBezTo>
                  <a:cubicBezTo>
                    <a:pt x="4235358" y="888597"/>
                    <a:pt x="4226262" y="900010"/>
                    <a:pt x="4214737" y="908439"/>
                  </a:cubicBezTo>
                  <a:cubicBezTo>
                    <a:pt x="4204011" y="916466"/>
                    <a:pt x="4185409" y="902175"/>
                    <a:pt x="4185409" y="885150"/>
                  </a:cubicBezTo>
                  <a:cubicBezTo>
                    <a:pt x="4185504" y="864812"/>
                    <a:pt x="4187304" y="844433"/>
                    <a:pt x="4188276" y="824199"/>
                  </a:cubicBezTo>
                  <a:cubicBezTo>
                    <a:pt x="4188800" y="812147"/>
                    <a:pt x="4185409" y="802159"/>
                    <a:pt x="4174608" y="794678"/>
                  </a:cubicBezTo>
                  <a:cubicBezTo>
                    <a:pt x="4164559" y="787848"/>
                    <a:pt x="4160701" y="777580"/>
                    <a:pt x="4163759" y="765292"/>
                  </a:cubicBezTo>
                  <a:close/>
                  <a:moveTo>
                    <a:pt x="3981707" y="646227"/>
                  </a:moveTo>
                  <a:cubicBezTo>
                    <a:pt x="3989385" y="633463"/>
                    <a:pt x="4002158" y="627262"/>
                    <a:pt x="4014864" y="620793"/>
                  </a:cubicBezTo>
                  <a:cubicBezTo>
                    <a:pt x="4020588" y="617934"/>
                    <a:pt x="4026180" y="616686"/>
                    <a:pt x="4031275" y="621712"/>
                  </a:cubicBezTo>
                  <a:cubicBezTo>
                    <a:pt x="4036095" y="622640"/>
                    <a:pt x="4040924" y="623280"/>
                    <a:pt x="4043125" y="628304"/>
                  </a:cubicBezTo>
                  <a:cubicBezTo>
                    <a:pt x="4051087" y="639232"/>
                    <a:pt x="4065022" y="642616"/>
                    <a:pt x="4074233" y="652099"/>
                  </a:cubicBezTo>
                  <a:cubicBezTo>
                    <a:pt x="4080901" y="658858"/>
                    <a:pt x="4087501" y="665079"/>
                    <a:pt x="4090921" y="673829"/>
                  </a:cubicBezTo>
                  <a:cubicBezTo>
                    <a:pt x="4097217" y="682496"/>
                    <a:pt x="4092674" y="692403"/>
                    <a:pt x="4093921" y="701731"/>
                  </a:cubicBezTo>
                  <a:cubicBezTo>
                    <a:pt x="4095093" y="711203"/>
                    <a:pt x="4094512" y="720644"/>
                    <a:pt x="4096226" y="730209"/>
                  </a:cubicBezTo>
                  <a:cubicBezTo>
                    <a:pt x="4098741" y="745790"/>
                    <a:pt x="4108637" y="752507"/>
                    <a:pt x="4121439" y="757697"/>
                  </a:cubicBezTo>
                  <a:cubicBezTo>
                    <a:pt x="4123944" y="761866"/>
                    <a:pt x="4130650" y="761153"/>
                    <a:pt x="4131888" y="766603"/>
                  </a:cubicBezTo>
                  <a:cubicBezTo>
                    <a:pt x="4145433" y="774072"/>
                    <a:pt x="4145433" y="788901"/>
                    <a:pt x="4150986" y="800808"/>
                  </a:cubicBezTo>
                  <a:cubicBezTo>
                    <a:pt x="4154081" y="805760"/>
                    <a:pt x="4157205" y="810899"/>
                    <a:pt x="4160292" y="815924"/>
                  </a:cubicBezTo>
                  <a:cubicBezTo>
                    <a:pt x="4170807" y="825593"/>
                    <a:pt x="4172026" y="837862"/>
                    <a:pt x="4167588" y="850295"/>
                  </a:cubicBezTo>
                  <a:cubicBezTo>
                    <a:pt x="4162997" y="863564"/>
                    <a:pt x="4163378" y="876957"/>
                    <a:pt x="4162520" y="890424"/>
                  </a:cubicBezTo>
                  <a:cubicBezTo>
                    <a:pt x="4165178" y="901401"/>
                    <a:pt x="4178922" y="905726"/>
                    <a:pt x="4179361" y="917859"/>
                  </a:cubicBezTo>
                  <a:cubicBezTo>
                    <a:pt x="4187476" y="932409"/>
                    <a:pt x="4185666" y="946793"/>
                    <a:pt x="4179065" y="961196"/>
                  </a:cubicBezTo>
                  <a:cubicBezTo>
                    <a:pt x="4179065" y="961196"/>
                    <a:pt x="4179132" y="961187"/>
                    <a:pt x="4179275" y="961187"/>
                  </a:cubicBezTo>
                  <a:cubicBezTo>
                    <a:pt x="4178627" y="967864"/>
                    <a:pt x="4177018" y="974293"/>
                    <a:pt x="4172779" y="979675"/>
                  </a:cubicBezTo>
                  <a:cubicBezTo>
                    <a:pt x="4172560" y="982123"/>
                    <a:pt x="4173093" y="985037"/>
                    <a:pt x="4169931" y="985952"/>
                  </a:cubicBezTo>
                  <a:cubicBezTo>
                    <a:pt x="4169931" y="992153"/>
                    <a:pt x="4167949" y="997477"/>
                    <a:pt x="4163378" y="1001887"/>
                  </a:cubicBezTo>
                  <a:cubicBezTo>
                    <a:pt x="4163568" y="1002678"/>
                    <a:pt x="4163378" y="1003297"/>
                    <a:pt x="4162892" y="1004059"/>
                  </a:cubicBezTo>
                  <a:cubicBezTo>
                    <a:pt x="4163444" y="1006783"/>
                    <a:pt x="4163768" y="1009431"/>
                    <a:pt x="4160358" y="1010593"/>
                  </a:cubicBezTo>
                  <a:cubicBezTo>
                    <a:pt x="4156244" y="1049979"/>
                    <a:pt x="4168064" y="1088669"/>
                    <a:pt x="4166711" y="1128055"/>
                  </a:cubicBezTo>
                  <a:cubicBezTo>
                    <a:pt x="4166330" y="1136637"/>
                    <a:pt x="4165835" y="1145181"/>
                    <a:pt x="4160530" y="1152544"/>
                  </a:cubicBezTo>
                  <a:cubicBezTo>
                    <a:pt x="4158234" y="1159621"/>
                    <a:pt x="4156101" y="1170451"/>
                    <a:pt x="4148357" y="1168337"/>
                  </a:cubicBezTo>
                  <a:cubicBezTo>
                    <a:pt x="4142280" y="1166517"/>
                    <a:pt x="4141356" y="1154859"/>
                    <a:pt x="4142718" y="1146705"/>
                  </a:cubicBezTo>
                  <a:cubicBezTo>
                    <a:pt x="4145128" y="1132856"/>
                    <a:pt x="4148452" y="1119102"/>
                    <a:pt x="4150395" y="1105110"/>
                  </a:cubicBezTo>
                  <a:cubicBezTo>
                    <a:pt x="4151481" y="1097385"/>
                    <a:pt x="4152967" y="1089612"/>
                    <a:pt x="4140032" y="1087136"/>
                  </a:cubicBezTo>
                  <a:cubicBezTo>
                    <a:pt x="4127097" y="1084659"/>
                    <a:pt x="4127507" y="1070962"/>
                    <a:pt x="4125887" y="1061076"/>
                  </a:cubicBezTo>
                  <a:cubicBezTo>
                    <a:pt x="4123239" y="1044531"/>
                    <a:pt x="4129488" y="1029243"/>
                    <a:pt x="4136431" y="1014174"/>
                  </a:cubicBezTo>
                  <a:cubicBezTo>
                    <a:pt x="4143947" y="997658"/>
                    <a:pt x="4150843" y="980923"/>
                    <a:pt x="4146194" y="960920"/>
                  </a:cubicBezTo>
                  <a:cubicBezTo>
                    <a:pt x="4137232" y="964911"/>
                    <a:pt x="4128878" y="968607"/>
                    <a:pt x="4119496" y="972941"/>
                  </a:cubicBezTo>
                  <a:cubicBezTo>
                    <a:pt x="4107933" y="921171"/>
                    <a:pt x="4119248" y="871519"/>
                    <a:pt x="4129354" y="821815"/>
                  </a:cubicBezTo>
                  <a:cubicBezTo>
                    <a:pt x="4128878" y="817296"/>
                    <a:pt x="4128383" y="812880"/>
                    <a:pt x="4127830" y="807741"/>
                  </a:cubicBezTo>
                  <a:cubicBezTo>
                    <a:pt x="4115162" y="807535"/>
                    <a:pt x="4113705" y="819536"/>
                    <a:pt x="4107075" y="825593"/>
                  </a:cubicBezTo>
                  <a:cubicBezTo>
                    <a:pt x="4105913" y="827748"/>
                    <a:pt x="4104818" y="829699"/>
                    <a:pt x="4103827" y="831846"/>
                  </a:cubicBezTo>
                  <a:cubicBezTo>
                    <a:pt x="4103827" y="831804"/>
                    <a:pt x="4103827" y="831804"/>
                    <a:pt x="4103999" y="831804"/>
                  </a:cubicBezTo>
                  <a:cubicBezTo>
                    <a:pt x="4103265" y="834662"/>
                    <a:pt x="4103408" y="838130"/>
                    <a:pt x="4101913" y="840358"/>
                  </a:cubicBezTo>
                  <a:cubicBezTo>
                    <a:pt x="4097760" y="847199"/>
                    <a:pt x="4100846" y="861562"/>
                    <a:pt x="4091350" y="860830"/>
                  </a:cubicBezTo>
                  <a:cubicBezTo>
                    <a:pt x="4081148" y="859943"/>
                    <a:pt x="4074100" y="849572"/>
                    <a:pt x="4072157" y="838212"/>
                  </a:cubicBezTo>
                  <a:cubicBezTo>
                    <a:pt x="4059755" y="820959"/>
                    <a:pt x="4060346" y="800271"/>
                    <a:pt x="4056507" y="780944"/>
                  </a:cubicBezTo>
                  <a:cubicBezTo>
                    <a:pt x="4053974" y="767531"/>
                    <a:pt x="4052087" y="754025"/>
                    <a:pt x="4050287" y="740516"/>
                  </a:cubicBezTo>
                  <a:cubicBezTo>
                    <a:pt x="4049220" y="733851"/>
                    <a:pt x="4048201" y="725555"/>
                    <a:pt x="4041372" y="724740"/>
                  </a:cubicBezTo>
                  <a:cubicBezTo>
                    <a:pt x="4033361" y="723750"/>
                    <a:pt x="4032018" y="732490"/>
                    <a:pt x="4030018" y="738649"/>
                  </a:cubicBezTo>
                  <a:cubicBezTo>
                    <a:pt x="4029361" y="741023"/>
                    <a:pt x="4028456" y="743282"/>
                    <a:pt x="4027608" y="745593"/>
                  </a:cubicBezTo>
                  <a:cubicBezTo>
                    <a:pt x="4026332" y="769265"/>
                    <a:pt x="4032980" y="791459"/>
                    <a:pt x="4040324" y="813231"/>
                  </a:cubicBezTo>
                  <a:cubicBezTo>
                    <a:pt x="4040638" y="814201"/>
                    <a:pt x="4040924" y="815182"/>
                    <a:pt x="4041058" y="816193"/>
                  </a:cubicBezTo>
                  <a:cubicBezTo>
                    <a:pt x="4048001" y="825593"/>
                    <a:pt x="4052954" y="836025"/>
                    <a:pt x="4056964" y="846911"/>
                  </a:cubicBezTo>
                  <a:lnTo>
                    <a:pt x="4056650" y="846911"/>
                  </a:lnTo>
                  <a:cubicBezTo>
                    <a:pt x="4065042" y="859839"/>
                    <a:pt x="4072385" y="873046"/>
                    <a:pt x="4078005" y="887204"/>
                  </a:cubicBezTo>
                  <a:cubicBezTo>
                    <a:pt x="4081748" y="895262"/>
                    <a:pt x="4084891" y="903784"/>
                    <a:pt x="4089569" y="911503"/>
                  </a:cubicBezTo>
                  <a:cubicBezTo>
                    <a:pt x="4092692" y="917106"/>
                    <a:pt x="4088340" y="918500"/>
                    <a:pt x="4085911" y="921317"/>
                  </a:cubicBezTo>
                  <a:cubicBezTo>
                    <a:pt x="4082482" y="925134"/>
                    <a:pt x="4079986" y="921326"/>
                    <a:pt x="4078576" y="919449"/>
                  </a:cubicBezTo>
                  <a:cubicBezTo>
                    <a:pt x="4073833" y="912452"/>
                    <a:pt x="4064384" y="917106"/>
                    <a:pt x="4059431" y="911503"/>
                  </a:cubicBezTo>
                  <a:cubicBezTo>
                    <a:pt x="4057241" y="911772"/>
                    <a:pt x="4056964" y="910440"/>
                    <a:pt x="4056278" y="908985"/>
                  </a:cubicBezTo>
                  <a:cubicBezTo>
                    <a:pt x="4048887" y="903165"/>
                    <a:pt x="4039857" y="899162"/>
                    <a:pt x="4034504" y="890969"/>
                  </a:cubicBezTo>
                  <a:cubicBezTo>
                    <a:pt x="4020350" y="882756"/>
                    <a:pt x="4011701" y="866546"/>
                    <a:pt x="3994128" y="862718"/>
                  </a:cubicBezTo>
                  <a:cubicBezTo>
                    <a:pt x="3992775" y="871159"/>
                    <a:pt x="3993814" y="879290"/>
                    <a:pt x="3997319" y="886935"/>
                  </a:cubicBezTo>
                  <a:cubicBezTo>
                    <a:pt x="4000052" y="888132"/>
                    <a:pt x="4000119" y="890702"/>
                    <a:pt x="4000338" y="893250"/>
                  </a:cubicBezTo>
                  <a:cubicBezTo>
                    <a:pt x="4006853" y="908603"/>
                    <a:pt x="4023455" y="911668"/>
                    <a:pt x="4035076" y="921264"/>
                  </a:cubicBezTo>
                  <a:cubicBezTo>
                    <a:pt x="4041058" y="926352"/>
                    <a:pt x="4049640" y="928344"/>
                    <a:pt x="4053364" y="936278"/>
                  </a:cubicBezTo>
                  <a:cubicBezTo>
                    <a:pt x="4064117" y="938527"/>
                    <a:pt x="4068709" y="947999"/>
                    <a:pt x="4075348" y="954710"/>
                  </a:cubicBezTo>
                  <a:cubicBezTo>
                    <a:pt x="4081101" y="960777"/>
                    <a:pt x="4082977" y="969683"/>
                    <a:pt x="4091245" y="973455"/>
                  </a:cubicBezTo>
                  <a:cubicBezTo>
                    <a:pt x="4103637" y="989028"/>
                    <a:pt x="4107580" y="1006983"/>
                    <a:pt x="4107075" y="1026366"/>
                  </a:cubicBezTo>
                  <a:cubicBezTo>
                    <a:pt x="4106513" y="1038196"/>
                    <a:pt x="4102284" y="1034225"/>
                    <a:pt x="4097236" y="1029291"/>
                  </a:cubicBezTo>
                  <a:cubicBezTo>
                    <a:pt x="4087178" y="1030214"/>
                    <a:pt x="4080634" y="1022204"/>
                    <a:pt x="4071157" y="1019699"/>
                  </a:cubicBezTo>
                  <a:cubicBezTo>
                    <a:pt x="4065851" y="1030348"/>
                    <a:pt x="4074443" y="1036539"/>
                    <a:pt x="4079005" y="1043330"/>
                  </a:cubicBezTo>
                  <a:cubicBezTo>
                    <a:pt x="4082996" y="1048769"/>
                    <a:pt x="4087511" y="1053341"/>
                    <a:pt x="4088521" y="1060199"/>
                  </a:cubicBezTo>
                  <a:cubicBezTo>
                    <a:pt x="4097855" y="1059475"/>
                    <a:pt x="4097522" y="1067438"/>
                    <a:pt x="4099989" y="1072820"/>
                  </a:cubicBezTo>
                  <a:cubicBezTo>
                    <a:pt x="4100627" y="1073477"/>
                    <a:pt x="4100846" y="1074268"/>
                    <a:pt x="4100627" y="1075134"/>
                  </a:cubicBezTo>
                  <a:cubicBezTo>
                    <a:pt x="4114972" y="1093489"/>
                    <a:pt x="4119105" y="1115054"/>
                    <a:pt x="4118848" y="1137733"/>
                  </a:cubicBezTo>
                  <a:lnTo>
                    <a:pt x="4118848" y="1142419"/>
                  </a:lnTo>
                  <a:cubicBezTo>
                    <a:pt x="4119105" y="1145877"/>
                    <a:pt x="4119515" y="1149306"/>
                    <a:pt x="4119801" y="1152858"/>
                  </a:cubicBezTo>
                  <a:cubicBezTo>
                    <a:pt x="4119963" y="1154859"/>
                    <a:pt x="4119305" y="1157316"/>
                    <a:pt x="4117105" y="1156735"/>
                  </a:cubicBezTo>
                  <a:cubicBezTo>
                    <a:pt x="4115581" y="1156459"/>
                    <a:pt x="4114638" y="1153840"/>
                    <a:pt x="4113524" y="1152173"/>
                  </a:cubicBezTo>
                  <a:cubicBezTo>
                    <a:pt x="4101627" y="1151544"/>
                    <a:pt x="4101322" y="1140200"/>
                    <a:pt x="4101246" y="1134447"/>
                  </a:cubicBezTo>
                  <a:cubicBezTo>
                    <a:pt x="4100179" y="1104995"/>
                    <a:pt x="4084691" y="1086869"/>
                    <a:pt x="4061127" y="1070267"/>
                  </a:cubicBezTo>
                  <a:cubicBezTo>
                    <a:pt x="4041058" y="1056103"/>
                    <a:pt x="4020807" y="1038997"/>
                    <a:pt x="4018941" y="1010993"/>
                  </a:cubicBezTo>
                  <a:cubicBezTo>
                    <a:pt x="4014283" y="1001887"/>
                    <a:pt x="4018769" y="993867"/>
                    <a:pt x="4021893" y="985637"/>
                  </a:cubicBezTo>
                  <a:cubicBezTo>
                    <a:pt x="4022151" y="984485"/>
                    <a:pt x="4022436" y="983466"/>
                    <a:pt x="4022751" y="982123"/>
                  </a:cubicBezTo>
                  <a:cubicBezTo>
                    <a:pt x="4022436" y="972379"/>
                    <a:pt x="4022151" y="962406"/>
                    <a:pt x="4021893" y="952489"/>
                  </a:cubicBezTo>
                  <a:cubicBezTo>
                    <a:pt x="4022751" y="942924"/>
                    <a:pt x="4012035" y="940632"/>
                    <a:pt x="4009292" y="933286"/>
                  </a:cubicBezTo>
                  <a:cubicBezTo>
                    <a:pt x="4004501" y="934111"/>
                    <a:pt x="4001996" y="931202"/>
                    <a:pt x="3999881" y="927683"/>
                  </a:cubicBezTo>
                  <a:cubicBezTo>
                    <a:pt x="3994128" y="926600"/>
                    <a:pt x="3990499" y="923010"/>
                    <a:pt x="3987451" y="918438"/>
                  </a:cubicBezTo>
                  <a:cubicBezTo>
                    <a:pt x="3976097" y="911576"/>
                    <a:pt x="3971525" y="900297"/>
                    <a:pt x="3967772" y="888402"/>
                  </a:cubicBezTo>
                  <a:cubicBezTo>
                    <a:pt x="3959676" y="862470"/>
                    <a:pt x="3956809" y="835932"/>
                    <a:pt x="3956333" y="809031"/>
                  </a:cubicBezTo>
                  <a:cubicBezTo>
                    <a:pt x="3956009" y="796143"/>
                    <a:pt x="3958104" y="784566"/>
                    <a:pt x="3976307" y="785360"/>
                  </a:cubicBezTo>
                  <a:cubicBezTo>
                    <a:pt x="3990947" y="785980"/>
                    <a:pt x="3996071" y="763630"/>
                    <a:pt x="3992680" y="746966"/>
                  </a:cubicBezTo>
                  <a:cubicBezTo>
                    <a:pt x="3989413" y="731138"/>
                    <a:pt x="3982403" y="716660"/>
                    <a:pt x="3976278" y="701802"/>
                  </a:cubicBezTo>
                  <a:cubicBezTo>
                    <a:pt x="3968506" y="682486"/>
                    <a:pt x="3965696" y="663345"/>
                    <a:pt x="3981707" y="646227"/>
                  </a:cubicBezTo>
                  <a:close/>
                  <a:moveTo>
                    <a:pt x="3984060" y="1031329"/>
                  </a:moveTo>
                  <a:cubicBezTo>
                    <a:pt x="3990194" y="1026090"/>
                    <a:pt x="3994690" y="1032491"/>
                    <a:pt x="3998395" y="1035339"/>
                  </a:cubicBezTo>
                  <a:cubicBezTo>
                    <a:pt x="4024836" y="1055113"/>
                    <a:pt x="4041058" y="1082497"/>
                    <a:pt x="4059193" y="1112558"/>
                  </a:cubicBezTo>
                  <a:cubicBezTo>
                    <a:pt x="4053240" y="1110377"/>
                    <a:pt x="4050116" y="1110110"/>
                    <a:pt x="4048249" y="1108481"/>
                  </a:cubicBezTo>
                  <a:cubicBezTo>
                    <a:pt x="4027942" y="1087412"/>
                    <a:pt x="4004367" y="1069191"/>
                    <a:pt x="3987213" y="1045321"/>
                  </a:cubicBezTo>
                  <a:cubicBezTo>
                    <a:pt x="3984441" y="1041511"/>
                    <a:pt x="3977535" y="1037053"/>
                    <a:pt x="3984060" y="1031329"/>
                  </a:cubicBezTo>
                  <a:close/>
                  <a:moveTo>
                    <a:pt x="3972963" y="965683"/>
                  </a:moveTo>
                  <a:cubicBezTo>
                    <a:pt x="3971173" y="958482"/>
                    <a:pt x="3978269" y="960234"/>
                    <a:pt x="3982631" y="960920"/>
                  </a:cubicBezTo>
                  <a:cubicBezTo>
                    <a:pt x="3992775" y="961482"/>
                    <a:pt x="4002110" y="963949"/>
                    <a:pt x="4001167" y="976112"/>
                  </a:cubicBezTo>
                  <a:cubicBezTo>
                    <a:pt x="4000757" y="982599"/>
                    <a:pt x="3995195" y="991295"/>
                    <a:pt x="3989318" y="989914"/>
                  </a:cubicBezTo>
                  <a:cubicBezTo>
                    <a:pt x="3978040" y="987323"/>
                    <a:pt x="3975554" y="975274"/>
                    <a:pt x="3972963" y="965683"/>
                  </a:cubicBezTo>
                  <a:close/>
                  <a:moveTo>
                    <a:pt x="4060689" y="1150725"/>
                  </a:moveTo>
                  <a:cubicBezTo>
                    <a:pt x="4075919" y="1165689"/>
                    <a:pt x="4091245" y="1180586"/>
                    <a:pt x="4103637" y="1197950"/>
                  </a:cubicBezTo>
                  <a:cubicBezTo>
                    <a:pt x="4104818" y="1199893"/>
                    <a:pt x="4105294" y="1202522"/>
                    <a:pt x="4106694" y="1206522"/>
                  </a:cubicBezTo>
                  <a:cubicBezTo>
                    <a:pt x="4083330" y="1202627"/>
                    <a:pt x="4065680" y="1189701"/>
                    <a:pt x="4046230" y="1181176"/>
                  </a:cubicBezTo>
                  <a:cubicBezTo>
                    <a:pt x="4038667" y="1177985"/>
                    <a:pt x="4031161" y="1174394"/>
                    <a:pt x="4024008" y="1170299"/>
                  </a:cubicBezTo>
                  <a:cubicBezTo>
                    <a:pt x="4021036" y="1168651"/>
                    <a:pt x="4017493" y="1165812"/>
                    <a:pt x="4016921" y="1162841"/>
                  </a:cubicBezTo>
                  <a:cubicBezTo>
                    <a:pt x="4015616" y="1158050"/>
                    <a:pt x="4021017" y="1158173"/>
                    <a:pt x="4024122" y="1156735"/>
                  </a:cubicBezTo>
                  <a:cubicBezTo>
                    <a:pt x="4029056" y="1154001"/>
                    <a:pt x="4034190" y="1151658"/>
                    <a:pt x="4039219" y="1148896"/>
                  </a:cubicBezTo>
                  <a:cubicBezTo>
                    <a:pt x="4046801" y="1144715"/>
                    <a:pt x="4054307" y="1144505"/>
                    <a:pt x="4060689" y="1150725"/>
                  </a:cubicBezTo>
                  <a:close/>
                  <a:moveTo>
                    <a:pt x="4088521" y="1157183"/>
                  </a:moveTo>
                  <a:lnTo>
                    <a:pt x="4088521" y="1143391"/>
                  </a:lnTo>
                  <a:cubicBezTo>
                    <a:pt x="4095112" y="1145181"/>
                    <a:pt x="4097760" y="1149963"/>
                    <a:pt x="4099751" y="1155097"/>
                  </a:cubicBezTo>
                  <a:cubicBezTo>
                    <a:pt x="4100684" y="1157716"/>
                    <a:pt x="4104237" y="1160231"/>
                    <a:pt x="4101608" y="1163050"/>
                  </a:cubicBezTo>
                  <a:cubicBezTo>
                    <a:pt x="4100465" y="1164536"/>
                    <a:pt x="4097026" y="1164403"/>
                    <a:pt x="4094512" y="1164403"/>
                  </a:cubicBezTo>
                  <a:cubicBezTo>
                    <a:pt x="4089987" y="1164260"/>
                    <a:pt x="4088521" y="1161202"/>
                    <a:pt x="4088521" y="1157183"/>
                  </a:cubicBezTo>
                  <a:close/>
                  <a:moveTo>
                    <a:pt x="3968496" y="1011355"/>
                  </a:moveTo>
                  <a:cubicBezTo>
                    <a:pt x="3962638" y="1015841"/>
                    <a:pt x="3957209" y="1015841"/>
                    <a:pt x="3949884" y="1012689"/>
                  </a:cubicBezTo>
                  <a:cubicBezTo>
                    <a:pt x="3934463" y="1006050"/>
                    <a:pt x="3927453" y="990752"/>
                    <a:pt x="3913689" y="982323"/>
                  </a:cubicBezTo>
                  <a:cubicBezTo>
                    <a:pt x="3898497" y="973160"/>
                    <a:pt x="3885438" y="960587"/>
                    <a:pt x="3871198" y="949867"/>
                  </a:cubicBezTo>
                  <a:cubicBezTo>
                    <a:pt x="3866988" y="946710"/>
                    <a:pt x="3864045" y="943273"/>
                    <a:pt x="3866493" y="938331"/>
                  </a:cubicBezTo>
                  <a:cubicBezTo>
                    <a:pt x="3868598" y="934040"/>
                    <a:pt x="3872836" y="931799"/>
                    <a:pt x="3879942" y="933286"/>
                  </a:cubicBezTo>
                  <a:cubicBezTo>
                    <a:pt x="3898516" y="934514"/>
                    <a:pt x="3914966" y="943057"/>
                    <a:pt x="3929768" y="956996"/>
                  </a:cubicBezTo>
                  <a:cubicBezTo>
                    <a:pt x="3938711" y="965359"/>
                    <a:pt x="3951713" y="969378"/>
                    <a:pt x="3958514" y="980646"/>
                  </a:cubicBezTo>
                  <a:cubicBezTo>
                    <a:pt x="3961638" y="985866"/>
                    <a:pt x="3965219" y="990895"/>
                    <a:pt x="3967991" y="996410"/>
                  </a:cubicBezTo>
                  <a:cubicBezTo>
                    <a:pt x="3970430" y="1001068"/>
                    <a:pt x="3974935" y="1006412"/>
                    <a:pt x="3968496" y="1011355"/>
                  </a:cubicBezTo>
                  <a:close/>
                  <a:moveTo>
                    <a:pt x="3913403" y="669743"/>
                  </a:moveTo>
                  <a:cubicBezTo>
                    <a:pt x="3936959" y="671786"/>
                    <a:pt x="3949351" y="681177"/>
                    <a:pt x="3953399" y="702886"/>
                  </a:cubicBezTo>
                  <a:cubicBezTo>
                    <a:pt x="3956637" y="719941"/>
                    <a:pt x="3971468" y="733779"/>
                    <a:pt x="3971906" y="752548"/>
                  </a:cubicBezTo>
                  <a:cubicBezTo>
                    <a:pt x="3971906" y="757820"/>
                    <a:pt x="3971763" y="761248"/>
                    <a:pt x="3964658" y="760937"/>
                  </a:cubicBezTo>
                  <a:cubicBezTo>
                    <a:pt x="3948960" y="760308"/>
                    <a:pt x="3935978" y="764044"/>
                    <a:pt x="3933997" y="782647"/>
                  </a:cubicBezTo>
                  <a:cubicBezTo>
                    <a:pt x="3933444" y="786486"/>
                    <a:pt x="3928701" y="785155"/>
                    <a:pt x="3926901" y="787765"/>
                  </a:cubicBezTo>
                  <a:cubicBezTo>
                    <a:pt x="3925291" y="786125"/>
                    <a:pt x="3922719" y="784752"/>
                    <a:pt x="3922005" y="782823"/>
                  </a:cubicBezTo>
                  <a:cubicBezTo>
                    <a:pt x="3914232" y="761866"/>
                    <a:pt x="3901535" y="740754"/>
                    <a:pt x="3916509" y="718156"/>
                  </a:cubicBezTo>
                  <a:cubicBezTo>
                    <a:pt x="3927453" y="701731"/>
                    <a:pt x="3922119" y="686428"/>
                    <a:pt x="3913403" y="669743"/>
                  </a:cubicBezTo>
                  <a:close/>
                  <a:moveTo>
                    <a:pt x="3917280" y="813231"/>
                  </a:moveTo>
                  <a:cubicBezTo>
                    <a:pt x="3937502" y="828843"/>
                    <a:pt x="3944579" y="847199"/>
                    <a:pt x="3943826" y="869591"/>
                  </a:cubicBezTo>
                  <a:cubicBezTo>
                    <a:pt x="3943445" y="885481"/>
                    <a:pt x="3947398" y="900835"/>
                    <a:pt x="3953942" y="915434"/>
                  </a:cubicBezTo>
                  <a:cubicBezTo>
                    <a:pt x="3955390" y="918500"/>
                    <a:pt x="3957571" y="922214"/>
                    <a:pt x="3954933" y="925537"/>
                  </a:cubicBezTo>
                  <a:cubicBezTo>
                    <a:pt x="3951313" y="929892"/>
                    <a:pt x="3947265" y="926858"/>
                    <a:pt x="3943607" y="925371"/>
                  </a:cubicBezTo>
                  <a:cubicBezTo>
                    <a:pt x="3930672" y="919933"/>
                    <a:pt x="3922290" y="909430"/>
                    <a:pt x="3915918" y="897884"/>
                  </a:cubicBezTo>
                  <a:cubicBezTo>
                    <a:pt x="3900802" y="870344"/>
                    <a:pt x="3903002" y="842577"/>
                    <a:pt x="3917280" y="813231"/>
                  </a:cubicBezTo>
                  <a:close/>
                  <a:moveTo>
                    <a:pt x="3617338" y="317236"/>
                  </a:moveTo>
                  <a:cubicBezTo>
                    <a:pt x="3617338" y="315925"/>
                    <a:pt x="3617338" y="314759"/>
                    <a:pt x="3617443" y="313541"/>
                  </a:cubicBezTo>
                  <a:cubicBezTo>
                    <a:pt x="3617957" y="305370"/>
                    <a:pt x="3617576" y="296846"/>
                    <a:pt x="3626082" y="291977"/>
                  </a:cubicBezTo>
                  <a:cubicBezTo>
                    <a:pt x="3626082" y="290965"/>
                    <a:pt x="3626520" y="289901"/>
                    <a:pt x="3626939" y="289139"/>
                  </a:cubicBezTo>
                  <a:cubicBezTo>
                    <a:pt x="3626520" y="287158"/>
                    <a:pt x="3626987" y="286239"/>
                    <a:pt x="3629244" y="286631"/>
                  </a:cubicBezTo>
                  <a:cubicBezTo>
                    <a:pt x="3630254" y="286352"/>
                    <a:pt x="3631530" y="285836"/>
                    <a:pt x="3632321" y="285392"/>
                  </a:cubicBezTo>
                  <a:cubicBezTo>
                    <a:pt x="3644208" y="278501"/>
                    <a:pt x="3663506" y="282740"/>
                    <a:pt x="3676841" y="295185"/>
                  </a:cubicBezTo>
                  <a:cubicBezTo>
                    <a:pt x="3686242" y="297455"/>
                    <a:pt x="3693214" y="304213"/>
                    <a:pt x="3701653" y="308361"/>
                  </a:cubicBezTo>
                  <a:cubicBezTo>
                    <a:pt x="3727904" y="313820"/>
                    <a:pt x="3724685" y="338181"/>
                    <a:pt x="3732705" y="355352"/>
                  </a:cubicBezTo>
                  <a:cubicBezTo>
                    <a:pt x="3736601" y="363379"/>
                    <a:pt x="3738448" y="372232"/>
                    <a:pt x="3742144" y="380353"/>
                  </a:cubicBezTo>
                  <a:cubicBezTo>
                    <a:pt x="3747278" y="391538"/>
                    <a:pt x="3756051" y="397523"/>
                    <a:pt x="3769005" y="396831"/>
                  </a:cubicBezTo>
                  <a:cubicBezTo>
                    <a:pt x="3776301" y="396614"/>
                    <a:pt x="3783835" y="396119"/>
                    <a:pt x="3790693" y="397274"/>
                  </a:cubicBezTo>
                  <a:cubicBezTo>
                    <a:pt x="3795693" y="397904"/>
                    <a:pt x="3803199" y="398120"/>
                    <a:pt x="3801656" y="406851"/>
                  </a:cubicBezTo>
                  <a:cubicBezTo>
                    <a:pt x="3801780" y="408512"/>
                    <a:pt x="3801847" y="410164"/>
                    <a:pt x="3802037" y="411907"/>
                  </a:cubicBezTo>
                  <a:cubicBezTo>
                    <a:pt x="3809248" y="418769"/>
                    <a:pt x="3809171" y="429190"/>
                    <a:pt x="3814648" y="436959"/>
                  </a:cubicBezTo>
                  <a:cubicBezTo>
                    <a:pt x="3822364" y="447628"/>
                    <a:pt x="3830003" y="458165"/>
                    <a:pt x="3833889" y="470897"/>
                  </a:cubicBezTo>
                  <a:cubicBezTo>
                    <a:pt x="3837041" y="481711"/>
                    <a:pt x="3839375" y="492380"/>
                    <a:pt x="3837365" y="503999"/>
                  </a:cubicBezTo>
                  <a:cubicBezTo>
                    <a:pt x="3834565" y="520197"/>
                    <a:pt x="3837775" y="536223"/>
                    <a:pt x="3842766" y="551865"/>
                  </a:cubicBezTo>
                  <a:cubicBezTo>
                    <a:pt x="3845805" y="561957"/>
                    <a:pt x="3854187" y="559923"/>
                    <a:pt x="3861483" y="560771"/>
                  </a:cubicBezTo>
                  <a:cubicBezTo>
                    <a:pt x="3862902" y="560873"/>
                    <a:pt x="3864207" y="561029"/>
                    <a:pt x="3865426" y="561172"/>
                  </a:cubicBezTo>
                  <a:cubicBezTo>
                    <a:pt x="3871532" y="562876"/>
                    <a:pt x="3876389" y="565714"/>
                    <a:pt x="3874322" y="572813"/>
                  </a:cubicBezTo>
                  <a:cubicBezTo>
                    <a:pt x="3865188" y="603932"/>
                    <a:pt x="3874827" y="631906"/>
                    <a:pt x="3888448" y="659476"/>
                  </a:cubicBezTo>
                  <a:cubicBezTo>
                    <a:pt x="3889277" y="660993"/>
                    <a:pt x="3888972" y="663181"/>
                    <a:pt x="3889277" y="665079"/>
                  </a:cubicBezTo>
                  <a:cubicBezTo>
                    <a:pt x="3889496" y="666070"/>
                    <a:pt x="3889972" y="666968"/>
                    <a:pt x="3890182" y="667967"/>
                  </a:cubicBezTo>
                  <a:cubicBezTo>
                    <a:pt x="3893572" y="669155"/>
                    <a:pt x="3893468" y="671848"/>
                    <a:pt x="3893572" y="674428"/>
                  </a:cubicBezTo>
                  <a:cubicBezTo>
                    <a:pt x="3899707" y="686335"/>
                    <a:pt x="3905155" y="698119"/>
                    <a:pt x="3897030" y="711203"/>
                  </a:cubicBezTo>
                  <a:cubicBezTo>
                    <a:pt x="3893944" y="716517"/>
                    <a:pt x="3890743" y="721738"/>
                    <a:pt x="3887553" y="726969"/>
                  </a:cubicBezTo>
                  <a:cubicBezTo>
                    <a:pt x="3885914" y="735286"/>
                    <a:pt x="3878142" y="742002"/>
                    <a:pt x="3881028" y="751496"/>
                  </a:cubicBezTo>
                  <a:cubicBezTo>
                    <a:pt x="3885791" y="754375"/>
                    <a:pt x="3887876" y="759101"/>
                    <a:pt x="3889496" y="764146"/>
                  </a:cubicBezTo>
                  <a:cubicBezTo>
                    <a:pt x="3889972" y="765292"/>
                    <a:pt x="3890296" y="766209"/>
                    <a:pt x="3890610" y="767314"/>
                  </a:cubicBezTo>
                  <a:cubicBezTo>
                    <a:pt x="3901535" y="782359"/>
                    <a:pt x="3904307" y="797764"/>
                    <a:pt x="3893468" y="813985"/>
                  </a:cubicBezTo>
                  <a:cubicBezTo>
                    <a:pt x="3891086" y="822734"/>
                    <a:pt x="3888753" y="825356"/>
                    <a:pt x="3883381" y="815295"/>
                  </a:cubicBezTo>
                  <a:cubicBezTo>
                    <a:pt x="3872036" y="793772"/>
                    <a:pt x="3868617" y="770378"/>
                    <a:pt x="3864902" y="746966"/>
                  </a:cubicBezTo>
                  <a:cubicBezTo>
                    <a:pt x="3860464" y="718497"/>
                    <a:pt x="3862073" y="689905"/>
                    <a:pt x="3861654" y="661261"/>
                  </a:cubicBezTo>
                  <a:cubicBezTo>
                    <a:pt x="3861654" y="657041"/>
                    <a:pt x="3861387" y="653047"/>
                    <a:pt x="3858387" y="649746"/>
                  </a:cubicBezTo>
                  <a:cubicBezTo>
                    <a:pt x="3850586" y="646062"/>
                    <a:pt x="3838547" y="659744"/>
                    <a:pt x="3833860" y="643699"/>
                  </a:cubicBezTo>
                  <a:cubicBezTo>
                    <a:pt x="3833575" y="642802"/>
                    <a:pt x="3833984" y="641812"/>
                    <a:pt x="3834165" y="640780"/>
                  </a:cubicBezTo>
                  <a:cubicBezTo>
                    <a:pt x="3813715" y="598629"/>
                    <a:pt x="3800599" y="554445"/>
                    <a:pt x="3795551" y="508177"/>
                  </a:cubicBezTo>
                  <a:cubicBezTo>
                    <a:pt x="3794550" y="498704"/>
                    <a:pt x="3791950" y="489180"/>
                    <a:pt x="3788988" y="480070"/>
                  </a:cubicBezTo>
                  <a:cubicBezTo>
                    <a:pt x="3787969" y="476768"/>
                    <a:pt x="3785330" y="469638"/>
                    <a:pt x="3779720" y="477449"/>
                  </a:cubicBezTo>
                  <a:cubicBezTo>
                    <a:pt x="3780482" y="480874"/>
                    <a:pt x="3780834" y="484187"/>
                    <a:pt x="3777320" y="486550"/>
                  </a:cubicBezTo>
                  <a:lnTo>
                    <a:pt x="3777320" y="486653"/>
                  </a:lnTo>
                  <a:cubicBezTo>
                    <a:pt x="3777072" y="490161"/>
                    <a:pt x="3777967" y="494526"/>
                    <a:pt x="3776101" y="497055"/>
                  </a:cubicBezTo>
                  <a:cubicBezTo>
                    <a:pt x="3773634" y="500335"/>
                    <a:pt x="3775786" y="506526"/>
                    <a:pt x="3770929" y="506970"/>
                  </a:cubicBezTo>
                  <a:cubicBezTo>
                    <a:pt x="3766147" y="507517"/>
                    <a:pt x="3763185" y="503213"/>
                    <a:pt x="3761165" y="498849"/>
                  </a:cubicBezTo>
                  <a:cubicBezTo>
                    <a:pt x="3736639" y="473765"/>
                    <a:pt x="3724990" y="442139"/>
                    <a:pt x="3717455" y="409141"/>
                  </a:cubicBezTo>
                  <a:cubicBezTo>
                    <a:pt x="3714988" y="398328"/>
                    <a:pt x="3712493" y="391033"/>
                    <a:pt x="3699758" y="397904"/>
                  </a:cubicBezTo>
                  <a:cubicBezTo>
                    <a:pt x="3696767" y="399463"/>
                    <a:pt x="3694110" y="401156"/>
                    <a:pt x="3692119" y="396729"/>
                  </a:cubicBezTo>
                  <a:cubicBezTo>
                    <a:pt x="3686975" y="384326"/>
                    <a:pt x="3677145" y="373759"/>
                    <a:pt x="3676041" y="359645"/>
                  </a:cubicBezTo>
                  <a:cubicBezTo>
                    <a:pt x="3665020" y="353196"/>
                    <a:pt x="3665487" y="363090"/>
                    <a:pt x="3664353" y="368362"/>
                  </a:cubicBezTo>
                  <a:cubicBezTo>
                    <a:pt x="3660734" y="383119"/>
                    <a:pt x="3669421" y="395593"/>
                    <a:pt x="3673307" y="409069"/>
                  </a:cubicBezTo>
                  <a:cubicBezTo>
                    <a:pt x="3682575" y="418057"/>
                    <a:pt x="3689137" y="428797"/>
                    <a:pt x="3695224" y="439921"/>
                  </a:cubicBezTo>
                  <a:cubicBezTo>
                    <a:pt x="3700205" y="442996"/>
                    <a:pt x="3700729" y="448847"/>
                    <a:pt x="3703891" y="453190"/>
                  </a:cubicBezTo>
                  <a:cubicBezTo>
                    <a:pt x="3708892" y="459918"/>
                    <a:pt x="3705301" y="463086"/>
                    <a:pt x="3698234" y="464324"/>
                  </a:cubicBezTo>
                  <a:cubicBezTo>
                    <a:pt x="3688309" y="471929"/>
                    <a:pt x="3690423" y="478109"/>
                    <a:pt x="3700586" y="483475"/>
                  </a:cubicBezTo>
                  <a:cubicBezTo>
                    <a:pt x="3712055" y="489450"/>
                    <a:pt x="3724685" y="493938"/>
                    <a:pt x="3733133" y="504524"/>
                  </a:cubicBezTo>
                  <a:cubicBezTo>
                    <a:pt x="3751469" y="511984"/>
                    <a:pt x="3758708" y="529320"/>
                    <a:pt x="3770290" y="544220"/>
                  </a:cubicBezTo>
                  <a:cubicBezTo>
                    <a:pt x="3763680" y="543209"/>
                    <a:pt x="3758184" y="542332"/>
                    <a:pt x="3752345" y="541526"/>
                  </a:cubicBezTo>
                  <a:cubicBezTo>
                    <a:pt x="3745011" y="543704"/>
                    <a:pt x="3737067" y="540009"/>
                    <a:pt x="3729561" y="543642"/>
                  </a:cubicBezTo>
                  <a:cubicBezTo>
                    <a:pt x="3721484" y="547325"/>
                    <a:pt x="3720436" y="549720"/>
                    <a:pt x="3726780" y="556230"/>
                  </a:cubicBezTo>
                  <a:cubicBezTo>
                    <a:pt x="3736858" y="566094"/>
                    <a:pt x="3751031" y="563751"/>
                    <a:pt x="3762166" y="569625"/>
                  </a:cubicBezTo>
                  <a:cubicBezTo>
                    <a:pt x="3785007" y="573215"/>
                    <a:pt x="3792588" y="581747"/>
                    <a:pt x="3798599" y="610226"/>
                  </a:cubicBezTo>
                  <a:cubicBezTo>
                    <a:pt x="3798980" y="610958"/>
                    <a:pt x="3799056" y="611743"/>
                    <a:pt x="3799056" y="612476"/>
                  </a:cubicBezTo>
                  <a:cubicBezTo>
                    <a:pt x="3802209" y="613786"/>
                    <a:pt x="3802323" y="616375"/>
                    <a:pt x="3801780" y="619112"/>
                  </a:cubicBezTo>
                  <a:cubicBezTo>
                    <a:pt x="3802342" y="619874"/>
                    <a:pt x="3802561" y="620627"/>
                    <a:pt x="3802342" y="621433"/>
                  </a:cubicBezTo>
                  <a:cubicBezTo>
                    <a:pt x="3810705" y="633278"/>
                    <a:pt x="3810514" y="647785"/>
                    <a:pt x="3814077" y="661085"/>
                  </a:cubicBezTo>
                  <a:cubicBezTo>
                    <a:pt x="3815668" y="666111"/>
                    <a:pt x="3811305" y="665172"/>
                    <a:pt x="3808343" y="664791"/>
                  </a:cubicBezTo>
                  <a:cubicBezTo>
                    <a:pt x="3792960" y="664409"/>
                    <a:pt x="3790379" y="653400"/>
                    <a:pt x="3789807" y="642028"/>
                  </a:cubicBezTo>
                  <a:cubicBezTo>
                    <a:pt x="3787702" y="611877"/>
                    <a:pt x="3766166" y="589321"/>
                    <a:pt x="3735858" y="588444"/>
                  </a:cubicBezTo>
                  <a:cubicBezTo>
                    <a:pt x="3713216" y="587763"/>
                    <a:pt x="3715693" y="569139"/>
                    <a:pt x="3714988" y="557747"/>
                  </a:cubicBezTo>
                  <a:cubicBezTo>
                    <a:pt x="3712636" y="510045"/>
                    <a:pt x="3683880" y="479698"/>
                    <a:pt x="3649685" y="451313"/>
                  </a:cubicBezTo>
                  <a:cubicBezTo>
                    <a:pt x="3630406" y="435350"/>
                    <a:pt x="3617195" y="414393"/>
                    <a:pt x="3619519" y="387463"/>
                  </a:cubicBezTo>
                  <a:cubicBezTo>
                    <a:pt x="3616605" y="364049"/>
                    <a:pt x="3609128" y="340874"/>
                    <a:pt x="3617338" y="317236"/>
                  </a:cubicBezTo>
                  <a:close/>
                  <a:moveTo>
                    <a:pt x="3463328" y="705239"/>
                  </a:moveTo>
                  <a:cubicBezTo>
                    <a:pt x="3444307" y="698985"/>
                    <a:pt x="3424066" y="698170"/>
                    <a:pt x="3404502" y="693610"/>
                  </a:cubicBezTo>
                  <a:cubicBezTo>
                    <a:pt x="3379413" y="687750"/>
                    <a:pt x="3374574" y="681506"/>
                    <a:pt x="3382185" y="657990"/>
                  </a:cubicBezTo>
                  <a:cubicBezTo>
                    <a:pt x="3386966" y="643173"/>
                    <a:pt x="3392348" y="628160"/>
                    <a:pt x="3402768" y="615613"/>
                  </a:cubicBezTo>
                  <a:cubicBezTo>
                    <a:pt x="3409445" y="607595"/>
                    <a:pt x="3416732" y="605058"/>
                    <a:pt x="3426981" y="609906"/>
                  </a:cubicBezTo>
                  <a:cubicBezTo>
                    <a:pt x="3452355" y="622000"/>
                    <a:pt x="3478378" y="632834"/>
                    <a:pt x="3503324" y="645784"/>
                  </a:cubicBezTo>
                  <a:cubicBezTo>
                    <a:pt x="3511925" y="650241"/>
                    <a:pt x="3520050" y="653358"/>
                    <a:pt x="3529365" y="653770"/>
                  </a:cubicBezTo>
                  <a:cubicBezTo>
                    <a:pt x="3544205" y="654607"/>
                    <a:pt x="3559083" y="655565"/>
                    <a:pt x="3573942" y="656174"/>
                  </a:cubicBezTo>
                  <a:cubicBezTo>
                    <a:pt x="3580781" y="656494"/>
                    <a:pt x="3579724" y="662211"/>
                    <a:pt x="3581943" y="665646"/>
                  </a:cubicBezTo>
                  <a:cubicBezTo>
                    <a:pt x="3583058" y="674232"/>
                    <a:pt x="3584953" y="682600"/>
                    <a:pt x="3589287" y="690204"/>
                  </a:cubicBezTo>
                  <a:cubicBezTo>
                    <a:pt x="3601660" y="708746"/>
                    <a:pt x="3620633" y="714515"/>
                    <a:pt x="3641912" y="714742"/>
                  </a:cubicBezTo>
                  <a:cubicBezTo>
                    <a:pt x="3660115" y="714937"/>
                    <a:pt x="3667335" y="719942"/>
                    <a:pt x="3669630" y="735286"/>
                  </a:cubicBezTo>
                  <a:cubicBezTo>
                    <a:pt x="3639683" y="726165"/>
                    <a:pt x="3610356" y="715990"/>
                    <a:pt x="3582591" y="702670"/>
                  </a:cubicBezTo>
                  <a:cubicBezTo>
                    <a:pt x="3551101" y="692588"/>
                    <a:pt x="3520935" y="678823"/>
                    <a:pt x="3489131" y="669877"/>
                  </a:cubicBezTo>
                  <a:cubicBezTo>
                    <a:pt x="3475206" y="665802"/>
                    <a:pt x="3461842" y="665482"/>
                    <a:pt x="3447860" y="665802"/>
                  </a:cubicBezTo>
                  <a:cubicBezTo>
                    <a:pt x="3450279" y="682146"/>
                    <a:pt x="3467529" y="681248"/>
                    <a:pt x="3476244" y="690204"/>
                  </a:cubicBezTo>
                  <a:cubicBezTo>
                    <a:pt x="3505200" y="700429"/>
                    <a:pt x="3536547" y="703165"/>
                    <a:pt x="3563979" y="717713"/>
                  </a:cubicBezTo>
                  <a:cubicBezTo>
                    <a:pt x="3574504" y="721810"/>
                    <a:pt x="3563769" y="725845"/>
                    <a:pt x="3562912" y="725896"/>
                  </a:cubicBezTo>
                  <a:cubicBezTo>
                    <a:pt x="3550101" y="728062"/>
                    <a:pt x="3545367" y="737339"/>
                    <a:pt x="3541595" y="747739"/>
                  </a:cubicBezTo>
                  <a:cubicBezTo>
                    <a:pt x="3546920" y="754066"/>
                    <a:pt x="3551235" y="751238"/>
                    <a:pt x="3557635" y="748018"/>
                  </a:cubicBezTo>
                  <a:cubicBezTo>
                    <a:pt x="3579724" y="736605"/>
                    <a:pt x="3603384" y="727218"/>
                    <a:pt x="3627577" y="740404"/>
                  </a:cubicBezTo>
                  <a:cubicBezTo>
                    <a:pt x="3641493" y="747905"/>
                    <a:pt x="3653000" y="759967"/>
                    <a:pt x="3667335" y="767717"/>
                  </a:cubicBezTo>
                  <a:cubicBezTo>
                    <a:pt x="3674231" y="766603"/>
                    <a:pt x="3676822" y="771741"/>
                    <a:pt x="3680089" y="776311"/>
                  </a:cubicBezTo>
                  <a:cubicBezTo>
                    <a:pt x="3684965" y="776880"/>
                    <a:pt x="3692471" y="778395"/>
                    <a:pt x="3691604" y="782359"/>
                  </a:cubicBezTo>
                  <a:cubicBezTo>
                    <a:pt x="3690461" y="788168"/>
                    <a:pt x="3683422" y="789283"/>
                    <a:pt x="3677212" y="788168"/>
                  </a:cubicBezTo>
                  <a:cubicBezTo>
                    <a:pt x="3673383" y="791510"/>
                    <a:pt x="3665449" y="791510"/>
                    <a:pt x="3667763" y="799528"/>
                  </a:cubicBezTo>
                  <a:cubicBezTo>
                    <a:pt x="3669944" y="807132"/>
                    <a:pt x="3676041" y="806492"/>
                    <a:pt x="3682127" y="807618"/>
                  </a:cubicBezTo>
                  <a:cubicBezTo>
                    <a:pt x="3709797" y="812541"/>
                    <a:pt x="3739506" y="808834"/>
                    <a:pt x="3764747" y="825003"/>
                  </a:cubicBezTo>
                  <a:cubicBezTo>
                    <a:pt x="3773081" y="826841"/>
                    <a:pt x="3777568" y="832031"/>
                    <a:pt x="3778987" y="841153"/>
                  </a:cubicBezTo>
                  <a:cubicBezTo>
                    <a:pt x="3769652" y="840079"/>
                    <a:pt x="3760699" y="843938"/>
                    <a:pt x="3752259" y="838675"/>
                  </a:cubicBezTo>
                  <a:cubicBezTo>
                    <a:pt x="3715484" y="835932"/>
                    <a:pt x="3680651" y="824664"/>
                    <a:pt x="3644808" y="817884"/>
                  </a:cubicBezTo>
                  <a:cubicBezTo>
                    <a:pt x="3625472" y="814201"/>
                    <a:pt x="3624920" y="795524"/>
                    <a:pt x="3614004" y="785155"/>
                  </a:cubicBezTo>
                  <a:cubicBezTo>
                    <a:pt x="3612937" y="784103"/>
                    <a:pt x="3611918" y="783122"/>
                    <a:pt x="3610852" y="782080"/>
                  </a:cubicBezTo>
                  <a:cubicBezTo>
                    <a:pt x="3607318" y="782698"/>
                    <a:pt x="3603812" y="783783"/>
                    <a:pt x="3601136" y="780005"/>
                  </a:cubicBezTo>
                  <a:cubicBezTo>
                    <a:pt x="3599259" y="779768"/>
                    <a:pt x="3597316" y="779190"/>
                    <a:pt x="3595373" y="778870"/>
                  </a:cubicBezTo>
                  <a:cubicBezTo>
                    <a:pt x="3570123" y="778870"/>
                    <a:pt x="3544834" y="783122"/>
                    <a:pt x="3519611" y="776065"/>
                  </a:cubicBezTo>
                  <a:cubicBezTo>
                    <a:pt x="3494484" y="774001"/>
                    <a:pt x="3479416" y="763175"/>
                    <a:pt x="3474282" y="745171"/>
                  </a:cubicBezTo>
                  <a:cubicBezTo>
                    <a:pt x="3471815" y="737050"/>
                    <a:pt x="3476977" y="730560"/>
                    <a:pt x="3476216" y="722738"/>
                  </a:cubicBezTo>
                  <a:cubicBezTo>
                    <a:pt x="3475368" y="713318"/>
                    <a:pt x="3473567" y="708603"/>
                    <a:pt x="3463328" y="705239"/>
                  </a:cubicBezTo>
                  <a:close/>
                  <a:moveTo>
                    <a:pt x="3385728" y="564299"/>
                  </a:moveTo>
                  <a:cubicBezTo>
                    <a:pt x="3390662" y="555870"/>
                    <a:pt x="3401235" y="563329"/>
                    <a:pt x="3409502" y="561667"/>
                  </a:cubicBezTo>
                  <a:cubicBezTo>
                    <a:pt x="3405635" y="569985"/>
                    <a:pt x="3403997" y="580777"/>
                    <a:pt x="3395443" y="580572"/>
                  </a:cubicBezTo>
                  <a:cubicBezTo>
                    <a:pt x="3389833" y="580498"/>
                    <a:pt x="3382461" y="570222"/>
                    <a:pt x="3385728" y="564299"/>
                  </a:cubicBezTo>
                  <a:close/>
                  <a:moveTo>
                    <a:pt x="3699377" y="740445"/>
                  </a:moveTo>
                  <a:cubicBezTo>
                    <a:pt x="3709559" y="738701"/>
                    <a:pt x="3717836" y="745966"/>
                    <a:pt x="3727285" y="746233"/>
                  </a:cubicBezTo>
                  <a:cubicBezTo>
                    <a:pt x="3742287" y="753290"/>
                    <a:pt x="3758222" y="759544"/>
                    <a:pt x="3765356" y="776385"/>
                  </a:cubicBezTo>
                  <a:cubicBezTo>
                    <a:pt x="3766147" y="777262"/>
                    <a:pt x="3767014" y="778014"/>
                    <a:pt x="3767728" y="778870"/>
                  </a:cubicBezTo>
                  <a:cubicBezTo>
                    <a:pt x="3769671" y="779676"/>
                    <a:pt x="3770929" y="780780"/>
                    <a:pt x="3770433" y="783122"/>
                  </a:cubicBezTo>
                  <a:cubicBezTo>
                    <a:pt x="3770548" y="784680"/>
                    <a:pt x="3770786" y="786310"/>
                    <a:pt x="3770929" y="787993"/>
                  </a:cubicBezTo>
                  <a:cubicBezTo>
                    <a:pt x="3776501" y="790923"/>
                    <a:pt x="3775262" y="796453"/>
                    <a:pt x="3773138" y="799229"/>
                  </a:cubicBezTo>
                  <a:cubicBezTo>
                    <a:pt x="3769643" y="803954"/>
                    <a:pt x="3765975" y="795989"/>
                    <a:pt x="3761661" y="797505"/>
                  </a:cubicBezTo>
                  <a:cubicBezTo>
                    <a:pt x="3721484" y="780212"/>
                    <a:pt x="3706978" y="766911"/>
                    <a:pt x="3699377" y="740445"/>
                  </a:cubicBezTo>
                  <a:close/>
                  <a:moveTo>
                    <a:pt x="3747211" y="899792"/>
                  </a:moveTo>
                  <a:cubicBezTo>
                    <a:pt x="3756032" y="899370"/>
                    <a:pt x="3764537" y="900297"/>
                    <a:pt x="3771805" y="905881"/>
                  </a:cubicBezTo>
                  <a:cubicBezTo>
                    <a:pt x="3772567" y="905694"/>
                    <a:pt x="3773253" y="905798"/>
                    <a:pt x="3773958" y="906344"/>
                  </a:cubicBezTo>
                  <a:cubicBezTo>
                    <a:pt x="3781520" y="904900"/>
                    <a:pt x="3787874" y="908150"/>
                    <a:pt x="3794027" y="912030"/>
                  </a:cubicBezTo>
                  <a:cubicBezTo>
                    <a:pt x="3803885" y="913124"/>
                    <a:pt x="3803323" y="920697"/>
                    <a:pt x="3801761" y="926960"/>
                  </a:cubicBezTo>
                  <a:cubicBezTo>
                    <a:pt x="3800237" y="933533"/>
                    <a:pt x="3793769" y="931067"/>
                    <a:pt x="3789998" y="930283"/>
                  </a:cubicBezTo>
                  <a:cubicBezTo>
                    <a:pt x="3770662" y="925815"/>
                    <a:pt x="3749345" y="925371"/>
                    <a:pt x="3736619" y="906427"/>
                  </a:cubicBezTo>
                  <a:cubicBezTo>
                    <a:pt x="3740620" y="900297"/>
                    <a:pt x="3740620" y="900010"/>
                    <a:pt x="3747211" y="899792"/>
                  </a:cubicBezTo>
                  <a:close/>
                  <a:moveTo>
                    <a:pt x="3803276" y="809310"/>
                  </a:moveTo>
                  <a:cubicBezTo>
                    <a:pt x="3814058" y="812147"/>
                    <a:pt x="3814334" y="821815"/>
                    <a:pt x="3818525" y="831804"/>
                  </a:cubicBezTo>
                  <a:cubicBezTo>
                    <a:pt x="3807209" y="826666"/>
                    <a:pt x="3799742" y="821475"/>
                    <a:pt x="3803276" y="809310"/>
                  </a:cubicBezTo>
                  <a:close/>
                  <a:moveTo>
                    <a:pt x="3799294" y="724740"/>
                  </a:moveTo>
                  <a:cubicBezTo>
                    <a:pt x="3796208" y="715660"/>
                    <a:pt x="3794360" y="706281"/>
                    <a:pt x="3792941" y="696870"/>
                  </a:cubicBezTo>
                  <a:cubicBezTo>
                    <a:pt x="3791969" y="690607"/>
                    <a:pt x="3792207" y="686242"/>
                    <a:pt x="3803009" y="688079"/>
                  </a:cubicBezTo>
                  <a:cubicBezTo>
                    <a:pt x="3824754" y="691958"/>
                    <a:pt x="3829765" y="706827"/>
                    <a:pt x="3833765" y="723904"/>
                  </a:cubicBezTo>
                  <a:cubicBezTo>
                    <a:pt x="3837984" y="726165"/>
                    <a:pt x="3836803" y="729837"/>
                    <a:pt x="3836299" y="733315"/>
                  </a:cubicBezTo>
                  <a:cubicBezTo>
                    <a:pt x="3836803" y="733985"/>
                    <a:pt x="3837032" y="734637"/>
                    <a:pt x="3836842" y="735461"/>
                  </a:cubicBezTo>
                  <a:cubicBezTo>
                    <a:pt x="3841776" y="737804"/>
                    <a:pt x="3839499" y="741818"/>
                    <a:pt x="3839499" y="745347"/>
                  </a:cubicBezTo>
                  <a:cubicBezTo>
                    <a:pt x="3840471" y="747390"/>
                    <a:pt x="3841423" y="749504"/>
                    <a:pt x="3842318" y="751496"/>
                  </a:cubicBezTo>
                  <a:cubicBezTo>
                    <a:pt x="3844528" y="762113"/>
                    <a:pt x="3851824" y="771152"/>
                    <a:pt x="3852691" y="782359"/>
                  </a:cubicBezTo>
                  <a:cubicBezTo>
                    <a:pt x="3857511" y="784566"/>
                    <a:pt x="3855682" y="788508"/>
                    <a:pt x="3855120" y="792068"/>
                  </a:cubicBezTo>
                  <a:cubicBezTo>
                    <a:pt x="3855415" y="793935"/>
                    <a:pt x="3855492" y="795700"/>
                    <a:pt x="3855796" y="797526"/>
                  </a:cubicBezTo>
                  <a:cubicBezTo>
                    <a:pt x="3860473" y="804769"/>
                    <a:pt x="3858806" y="810981"/>
                    <a:pt x="3852453" y="816327"/>
                  </a:cubicBezTo>
                  <a:cubicBezTo>
                    <a:pt x="3823745" y="792068"/>
                    <a:pt x="3810686" y="758678"/>
                    <a:pt x="3799294" y="724740"/>
                  </a:cubicBezTo>
                  <a:close/>
                  <a:moveTo>
                    <a:pt x="3311614" y="326191"/>
                  </a:moveTo>
                  <a:cubicBezTo>
                    <a:pt x="3319005" y="328853"/>
                    <a:pt x="3325292" y="333114"/>
                    <a:pt x="3331293" y="337769"/>
                  </a:cubicBezTo>
                  <a:cubicBezTo>
                    <a:pt x="3343066" y="347313"/>
                    <a:pt x="3352486" y="345724"/>
                    <a:pt x="3364106" y="336479"/>
                  </a:cubicBezTo>
                  <a:cubicBezTo>
                    <a:pt x="3369669" y="332239"/>
                    <a:pt x="3374031" y="322116"/>
                    <a:pt x="3384652" y="325924"/>
                  </a:cubicBezTo>
                  <a:cubicBezTo>
                    <a:pt x="3390643" y="326327"/>
                    <a:pt x="3396348" y="327543"/>
                    <a:pt x="3400492" y="332289"/>
                  </a:cubicBezTo>
                  <a:cubicBezTo>
                    <a:pt x="3414979" y="337914"/>
                    <a:pt x="3431819" y="339616"/>
                    <a:pt x="3441392" y="353834"/>
                  </a:cubicBezTo>
                  <a:cubicBezTo>
                    <a:pt x="3469939" y="358581"/>
                    <a:pt x="3484683" y="380074"/>
                    <a:pt x="3499495" y="400948"/>
                  </a:cubicBezTo>
                  <a:cubicBezTo>
                    <a:pt x="3514411" y="421781"/>
                    <a:pt x="3527736" y="427210"/>
                    <a:pt x="3553349" y="420409"/>
                  </a:cubicBezTo>
                  <a:cubicBezTo>
                    <a:pt x="3560264" y="418624"/>
                    <a:pt x="3566617" y="418541"/>
                    <a:pt x="3573247" y="419471"/>
                  </a:cubicBezTo>
                  <a:cubicBezTo>
                    <a:pt x="3595430" y="427900"/>
                    <a:pt x="3611366" y="444049"/>
                    <a:pt x="3626634" y="461219"/>
                  </a:cubicBezTo>
                  <a:lnTo>
                    <a:pt x="3626939" y="461641"/>
                  </a:lnTo>
                  <a:cubicBezTo>
                    <a:pt x="3627720" y="462394"/>
                    <a:pt x="3628758" y="463345"/>
                    <a:pt x="3629539" y="464324"/>
                  </a:cubicBezTo>
                  <a:cubicBezTo>
                    <a:pt x="3632578" y="468822"/>
                    <a:pt x="3639665" y="466088"/>
                    <a:pt x="3642436" y="471031"/>
                  </a:cubicBezTo>
                  <a:cubicBezTo>
                    <a:pt x="3659658" y="480710"/>
                    <a:pt x="3671668" y="494413"/>
                    <a:pt x="3676041" y="514007"/>
                  </a:cubicBezTo>
                  <a:cubicBezTo>
                    <a:pt x="3675107" y="519714"/>
                    <a:pt x="3682460" y="521560"/>
                    <a:pt x="3682146" y="526905"/>
                  </a:cubicBezTo>
                  <a:cubicBezTo>
                    <a:pt x="3682594" y="527711"/>
                    <a:pt x="3682594" y="528464"/>
                    <a:pt x="3682146" y="529197"/>
                  </a:cubicBezTo>
                  <a:cubicBezTo>
                    <a:pt x="3682356" y="530290"/>
                    <a:pt x="3682575" y="531497"/>
                    <a:pt x="3682956" y="532674"/>
                  </a:cubicBezTo>
                  <a:cubicBezTo>
                    <a:pt x="3691004" y="551556"/>
                    <a:pt x="3693100" y="572100"/>
                    <a:pt x="3698443" y="591777"/>
                  </a:cubicBezTo>
                  <a:cubicBezTo>
                    <a:pt x="3698234" y="596162"/>
                    <a:pt x="3700729" y="597731"/>
                    <a:pt x="3704682" y="597959"/>
                  </a:cubicBezTo>
                  <a:cubicBezTo>
                    <a:pt x="3715693" y="598949"/>
                    <a:pt x="3723923" y="606274"/>
                    <a:pt x="3734019" y="609700"/>
                  </a:cubicBezTo>
                  <a:cubicBezTo>
                    <a:pt x="3738820" y="609669"/>
                    <a:pt x="3742087" y="613096"/>
                    <a:pt x="3745630" y="615509"/>
                  </a:cubicBezTo>
                  <a:cubicBezTo>
                    <a:pt x="3753888" y="620864"/>
                    <a:pt x="3771586" y="616284"/>
                    <a:pt x="3767061" y="635125"/>
                  </a:cubicBezTo>
                  <a:cubicBezTo>
                    <a:pt x="3767328" y="636703"/>
                    <a:pt x="3767443" y="638458"/>
                    <a:pt x="3767709" y="640161"/>
                  </a:cubicBezTo>
                  <a:cubicBezTo>
                    <a:pt x="3772710" y="656907"/>
                    <a:pt x="3772072" y="674428"/>
                    <a:pt x="3773367" y="691649"/>
                  </a:cubicBezTo>
                  <a:cubicBezTo>
                    <a:pt x="3773748" y="697282"/>
                    <a:pt x="3769128" y="701802"/>
                    <a:pt x="3762280" y="696696"/>
                  </a:cubicBezTo>
                  <a:cubicBezTo>
                    <a:pt x="3755241" y="684209"/>
                    <a:pt x="3752822" y="670167"/>
                    <a:pt x="3748888" y="656679"/>
                  </a:cubicBezTo>
                  <a:cubicBezTo>
                    <a:pt x="3746764" y="649530"/>
                    <a:pt x="3741735" y="643236"/>
                    <a:pt x="3735105" y="648074"/>
                  </a:cubicBezTo>
                  <a:cubicBezTo>
                    <a:pt x="3727266" y="653853"/>
                    <a:pt x="3723923" y="649747"/>
                    <a:pt x="3720532" y="645009"/>
                  </a:cubicBezTo>
                  <a:cubicBezTo>
                    <a:pt x="3695605" y="611311"/>
                    <a:pt x="3660210" y="586391"/>
                    <a:pt x="3639093" y="549585"/>
                  </a:cubicBezTo>
                  <a:cubicBezTo>
                    <a:pt x="3630568" y="534552"/>
                    <a:pt x="3626082" y="518125"/>
                    <a:pt x="3619862" y="502131"/>
                  </a:cubicBezTo>
                  <a:cubicBezTo>
                    <a:pt x="3614528" y="497055"/>
                    <a:pt x="3609851" y="488738"/>
                    <a:pt x="3601536" y="498746"/>
                  </a:cubicBezTo>
                  <a:lnTo>
                    <a:pt x="3601184" y="499057"/>
                  </a:lnTo>
                  <a:cubicBezTo>
                    <a:pt x="3601679" y="506031"/>
                    <a:pt x="3596164" y="513285"/>
                    <a:pt x="3602374" y="519877"/>
                  </a:cubicBezTo>
                  <a:cubicBezTo>
                    <a:pt x="3605375" y="522861"/>
                    <a:pt x="3602060" y="525689"/>
                    <a:pt x="3600964" y="527711"/>
                  </a:cubicBezTo>
                  <a:cubicBezTo>
                    <a:pt x="3598974" y="531705"/>
                    <a:pt x="3596021" y="527711"/>
                    <a:pt x="3593392" y="527142"/>
                  </a:cubicBezTo>
                  <a:cubicBezTo>
                    <a:pt x="3587725" y="525730"/>
                    <a:pt x="3585067" y="521560"/>
                    <a:pt x="3582105" y="517650"/>
                  </a:cubicBezTo>
                  <a:cubicBezTo>
                    <a:pt x="3551968" y="495888"/>
                    <a:pt x="3520488" y="476077"/>
                    <a:pt x="3488560" y="457030"/>
                  </a:cubicBezTo>
                  <a:cubicBezTo>
                    <a:pt x="3475044" y="448939"/>
                    <a:pt x="3470491" y="434370"/>
                    <a:pt x="3466348" y="420089"/>
                  </a:cubicBezTo>
                  <a:cubicBezTo>
                    <a:pt x="3463576" y="410896"/>
                    <a:pt x="3460823" y="401846"/>
                    <a:pt x="3453756" y="394757"/>
                  </a:cubicBezTo>
                  <a:cubicBezTo>
                    <a:pt x="3448927" y="392786"/>
                    <a:pt x="3446602" y="384697"/>
                    <a:pt x="3441707" y="386565"/>
                  </a:cubicBezTo>
                  <a:cubicBezTo>
                    <a:pt x="3435591" y="388958"/>
                    <a:pt x="3438735" y="396614"/>
                    <a:pt x="3438125" y="402010"/>
                  </a:cubicBezTo>
                  <a:cubicBezTo>
                    <a:pt x="3436944" y="412928"/>
                    <a:pt x="3439916" y="423102"/>
                    <a:pt x="3445040" y="432461"/>
                  </a:cubicBezTo>
                  <a:cubicBezTo>
                    <a:pt x="3446840" y="435948"/>
                    <a:pt x="3449069" y="439095"/>
                    <a:pt x="3445983" y="442139"/>
                  </a:cubicBezTo>
                  <a:cubicBezTo>
                    <a:pt x="3443068" y="445142"/>
                    <a:pt x="3440211" y="441169"/>
                    <a:pt x="3437773" y="440200"/>
                  </a:cubicBezTo>
                  <a:cubicBezTo>
                    <a:pt x="3431467" y="437888"/>
                    <a:pt x="3425352" y="434391"/>
                    <a:pt x="3419066" y="431418"/>
                  </a:cubicBezTo>
                  <a:cubicBezTo>
                    <a:pt x="3388833" y="418769"/>
                    <a:pt x="3358515" y="406303"/>
                    <a:pt x="3328254" y="393622"/>
                  </a:cubicBezTo>
                  <a:cubicBezTo>
                    <a:pt x="3325292" y="394107"/>
                    <a:pt x="3322691" y="388958"/>
                    <a:pt x="3320263" y="392240"/>
                  </a:cubicBezTo>
                  <a:cubicBezTo>
                    <a:pt x="3317024" y="396729"/>
                    <a:pt x="3323492" y="399905"/>
                    <a:pt x="3323444" y="404456"/>
                  </a:cubicBezTo>
                  <a:cubicBezTo>
                    <a:pt x="3324149" y="404807"/>
                    <a:pt x="3324387" y="405395"/>
                    <a:pt x="3324273" y="406179"/>
                  </a:cubicBezTo>
                  <a:cubicBezTo>
                    <a:pt x="3333141" y="418769"/>
                    <a:pt x="3348514" y="422101"/>
                    <a:pt x="3359934" y="430810"/>
                  </a:cubicBezTo>
                  <a:lnTo>
                    <a:pt x="3359934" y="430759"/>
                  </a:lnTo>
                  <a:cubicBezTo>
                    <a:pt x="3365049" y="432740"/>
                    <a:pt x="3370240" y="434731"/>
                    <a:pt x="3375546" y="436826"/>
                  </a:cubicBezTo>
                  <a:cubicBezTo>
                    <a:pt x="3399673" y="444791"/>
                    <a:pt x="3425019" y="449827"/>
                    <a:pt x="3446621" y="468761"/>
                  </a:cubicBezTo>
                  <a:cubicBezTo>
                    <a:pt x="3424257" y="477666"/>
                    <a:pt x="3404883" y="473177"/>
                    <a:pt x="3385728" y="474550"/>
                  </a:cubicBezTo>
                  <a:cubicBezTo>
                    <a:pt x="3377603" y="480329"/>
                    <a:pt x="3364011" y="476697"/>
                    <a:pt x="3360411" y="489450"/>
                  </a:cubicBezTo>
                  <a:cubicBezTo>
                    <a:pt x="3362659" y="489841"/>
                    <a:pt x="3365364" y="489450"/>
                    <a:pt x="3366164" y="492607"/>
                  </a:cubicBezTo>
                  <a:cubicBezTo>
                    <a:pt x="3400444" y="499994"/>
                    <a:pt x="3433953" y="493247"/>
                    <a:pt x="3467957" y="491007"/>
                  </a:cubicBezTo>
                  <a:cubicBezTo>
                    <a:pt x="3480883" y="490377"/>
                    <a:pt x="3495799" y="489336"/>
                    <a:pt x="3507353" y="498704"/>
                  </a:cubicBezTo>
                  <a:cubicBezTo>
                    <a:pt x="3525746" y="505061"/>
                    <a:pt x="3540176" y="517371"/>
                    <a:pt x="3554625" y="529537"/>
                  </a:cubicBezTo>
                  <a:cubicBezTo>
                    <a:pt x="3566893" y="537089"/>
                    <a:pt x="3578409" y="545664"/>
                    <a:pt x="3588582" y="555766"/>
                  </a:cubicBezTo>
                  <a:cubicBezTo>
                    <a:pt x="3590954" y="558212"/>
                    <a:pt x="3595907" y="559977"/>
                    <a:pt x="3594240" y="564083"/>
                  </a:cubicBezTo>
                  <a:cubicBezTo>
                    <a:pt x="3592211" y="568911"/>
                    <a:pt x="3586915" y="566094"/>
                    <a:pt x="3583076" y="566899"/>
                  </a:cubicBezTo>
                  <a:cubicBezTo>
                    <a:pt x="3575142" y="572183"/>
                    <a:pt x="3566255" y="569417"/>
                    <a:pt x="3558035" y="569685"/>
                  </a:cubicBezTo>
                  <a:cubicBezTo>
                    <a:pt x="3548272" y="569985"/>
                    <a:pt x="3538614" y="569625"/>
                    <a:pt x="3529175" y="572337"/>
                  </a:cubicBezTo>
                  <a:cubicBezTo>
                    <a:pt x="3527136" y="572575"/>
                    <a:pt x="3525098" y="572915"/>
                    <a:pt x="3523040" y="573245"/>
                  </a:cubicBezTo>
                  <a:cubicBezTo>
                    <a:pt x="3516859" y="578435"/>
                    <a:pt x="3510572" y="583563"/>
                    <a:pt x="3504562" y="588836"/>
                  </a:cubicBezTo>
                  <a:cubicBezTo>
                    <a:pt x="3504353" y="589724"/>
                    <a:pt x="3504353" y="590796"/>
                    <a:pt x="3504562" y="591736"/>
                  </a:cubicBezTo>
                  <a:cubicBezTo>
                    <a:pt x="3518964" y="597339"/>
                    <a:pt x="3533489" y="594502"/>
                    <a:pt x="3547872" y="591777"/>
                  </a:cubicBezTo>
                  <a:cubicBezTo>
                    <a:pt x="3550053" y="591602"/>
                    <a:pt x="3552139" y="591489"/>
                    <a:pt x="3554263" y="591241"/>
                  </a:cubicBezTo>
                  <a:cubicBezTo>
                    <a:pt x="3564360" y="587661"/>
                    <a:pt x="3574571" y="584625"/>
                    <a:pt x="3585572" y="585628"/>
                  </a:cubicBezTo>
                  <a:cubicBezTo>
                    <a:pt x="3587725" y="585761"/>
                    <a:pt x="3589782" y="585761"/>
                    <a:pt x="3591830" y="585761"/>
                  </a:cubicBezTo>
                  <a:cubicBezTo>
                    <a:pt x="3601212" y="583935"/>
                    <a:pt x="3609261" y="587661"/>
                    <a:pt x="3617557" y="591241"/>
                  </a:cubicBezTo>
                  <a:cubicBezTo>
                    <a:pt x="3618500" y="591075"/>
                    <a:pt x="3619386" y="591241"/>
                    <a:pt x="3620472" y="591777"/>
                  </a:cubicBezTo>
                  <a:cubicBezTo>
                    <a:pt x="3629920" y="593749"/>
                    <a:pt x="3638360" y="598072"/>
                    <a:pt x="3646227" y="603593"/>
                  </a:cubicBezTo>
                  <a:cubicBezTo>
                    <a:pt x="3656800" y="610887"/>
                    <a:pt x="3668563" y="617078"/>
                    <a:pt x="3676650" y="627417"/>
                  </a:cubicBezTo>
                  <a:cubicBezTo>
                    <a:pt x="3685470" y="634939"/>
                    <a:pt x="3694090" y="642802"/>
                    <a:pt x="3699539" y="653047"/>
                  </a:cubicBezTo>
                  <a:cubicBezTo>
                    <a:pt x="3706025" y="657041"/>
                    <a:pt x="3709350" y="662830"/>
                    <a:pt x="3711083" y="671001"/>
                  </a:cubicBezTo>
                  <a:cubicBezTo>
                    <a:pt x="3698662" y="671084"/>
                    <a:pt x="3687070" y="672395"/>
                    <a:pt x="3676145" y="676605"/>
                  </a:cubicBezTo>
                  <a:cubicBezTo>
                    <a:pt x="3672202" y="678297"/>
                    <a:pt x="3663877" y="676264"/>
                    <a:pt x="3664896" y="683827"/>
                  </a:cubicBezTo>
                  <a:cubicBezTo>
                    <a:pt x="3665449" y="689502"/>
                    <a:pt x="3672316" y="689286"/>
                    <a:pt x="3677060" y="690606"/>
                  </a:cubicBezTo>
                  <a:cubicBezTo>
                    <a:pt x="3693100" y="696559"/>
                    <a:pt x="3710111" y="696343"/>
                    <a:pt x="3726533" y="698923"/>
                  </a:cubicBezTo>
                  <a:cubicBezTo>
                    <a:pt x="3730476" y="699533"/>
                    <a:pt x="3733209" y="701214"/>
                    <a:pt x="3736267" y="702813"/>
                  </a:cubicBezTo>
                  <a:cubicBezTo>
                    <a:pt x="3738420" y="702412"/>
                    <a:pt x="3739420" y="703485"/>
                    <a:pt x="3739801" y="705301"/>
                  </a:cubicBezTo>
                  <a:cubicBezTo>
                    <a:pt x="3743201" y="705413"/>
                    <a:pt x="3746097" y="706125"/>
                    <a:pt x="3746945" y="710118"/>
                  </a:cubicBezTo>
                  <a:lnTo>
                    <a:pt x="3747240" y="710450"/>
                  </a:lnTo>
                  <a:cubicBezTo>
                    <a:pt x="3751803" y="711006"/>
                    <a:pt x="3752450" y="714133"/>
                    <a:pt x="3752241" y="717713"/>
                  </a:cubicBezTo>
                  <a:cubicBezTo>
                    <a:pt x="3756184" y="720571"/>
                    <a:pt x="3757565" y="724740"/>
                    <a:pt x="3758365" y="729012"/>
                  </a:cubicBezTo>
                  <a:cubicBezTo>
                    <a:pt x="3759956" y="739206"/>
                    <a:pt x="3754984" y="737338"/>
                    <a:pt x="3749326" y="733593"/>
                  </a:cubicBezTo>
                  <a:cubicBezTo>
                    <a:pt x="3726237" y="728280"/>
                    <a:pt x="3705606" y="717454"/>
                    <a:pt x="3685461" y="705703"/>
                  </a:cubicBezTo>
                  <a:cubicBezTo>
                    <a:pt x="3682213" y="705239"/>
                    <a:pt x="3678336" y="706827"/>
                    <a:pt x="3676012" y="702670"/>
                  </a:cubicBezTo>
                  <a:cubicBezTo>
                    <a:pt x="3656266" y="693805"/>
                    <a:pt x="3634759" y="688533"/>
                    <a:pt x="3615566" y="678297"/>
                  </a:cubicBezTo>
                  <a:cubicBezTo>
                    <a:pt x="3610337" y="675584"/>
                    <a:pt x="3609384" y="674149"/>
                    <a:pt x="3610213" y="668453"/>
                  </a:cubicBezTo>
                  <a:cubicBezTo>
                    <a:pt x="3612233" y="657216"/>
                    <a:pt x="3609242" y="646609"/>
                    <a:pt x="3601107" y="638076"/>
                  </a:cubicBezTo>
                  <a:cubicBezTo>
                    <a:pt x="3599221" y="637673"/>
                    <a:pt x="3597278" y="637323"/>
                    <a:pt x="3595402" y="637012"/>
                  </a:cubicBezTo>
                  <a:cubicBezTo>
                    <a:pt x="3573466" y="635125"/>
                    <a:pt x="3551196" y="644452"/>
                    <a:pt x="3529536" y="635125"/>
                  </a:cubicBezTo>
                  <a:cubicBezTo>
                    <a:pt x="3514087" y="632205"/>
                    <a:pt x="3502781" y="622113"/>
                    <a:pt x="3490932" y="613096"/>
                  </a:cubicBezTo>
                  <a:cubicBezTo>
                    <a:pt x="3485893" y="610143"/>
                    <a:pt x="3480721" y="607213"/>
                    <a:pt x="3475578" y="604180"/>
                  </a:cubicBezTo>
                  <a:cubicBezTo>
                    <a:pt x="3467500" y="603695"/>
                    <a:pt x="3459785" y="601249"/>
                    <a:pt x="3451670" y="600310"/>
                  </a:cubicBezTo>
                  <a:cubicBezTo>
                    <a:pt x="3438906" y="598629"/>
                    <a:pt x="3433601" y="589806"/>
                    <a:pt x="3434753" y="576433"/>
                  </a:cubicBezTo>
                  <a:cubicBezTo>
                    <a:pt x="3435344" y="568943"/>
                    <a:pt x="3436277" y="561812"/>
                    <a:pt x="3437744" y="554445"/>
                  </a:cubicBezTo>
                  <a:cubicBezTo>
                    <a:pt x="3432315" y="544437"/>
                    <a:pt x="3422866" y="542332"/>
                    <a:pt x="3412227" y="542218"/>
                  </a:cubicBezTo>
                  <a:cubicBezTo>
                    <a:pt x="3397920" y="542114"/>
                    <a:pt x="3383928" y="540236"/>
                    <a:pt x="3370164" y="536543"/>
                  </a:cubicBezTo>
                  <a:cubicBezTo>
                    <a:pt x="3350390" y="535171"/>
                    <a:pt x="3331569" y="530909"/>
                    <a:pt x="3315748" y="518279"/>
                  </a:cubicBezTo>
                  <a:cubicBezTo>
                    <a:pt x="3298279" y="508930"/>
                    <a:pt x="3281220" y="489336"/>
                    <a:pt x="3277791" y="474550"/>
                  </a:cubicBezTo>
                  <a:cubicBezTo>
                    <a:pt x="3282972" y="468822"/>
                    <a:pt x="3288163" y="463209"/>
                    <a:pt x="3293631" y="457710"/>
                  </a:cubicBezTo>
                  <a:cubicBezTo>
                    <a:pt x="3303423" y="447628"/>
                    <a:pt x="3302803" y="442593"/>
                    <a:pt x="3290430" y="435948"/>
                  </a:cubicBezTo>
                  <a:cubicBezTo>
                    <a:pt x="3267923" y="424000"/>
                    <a:pt x="3243577" y="414703"/>
                    <a:pt x="3224575" y="397274"/>
                  </a:cubicBezTo>
                  <a:cubicBezTo>
                    <a:pt x="3215916" y="389020"/>
                    <a:pt x="3206696" y="380858"/>
                    <a:pt x="3205801" y="367414"/>
                  </a:cubicBezTo>
                  <a:cubicBezTo>
                    <a:pt x="3204829" y="352698"/>
                    <a:pt x="3209030" y="341855"/>
                    <a:pt x="3224003" y="335809"/>
                  </a:cubicBezTo>
                  <a:cubicBezTo>
                    <a:pt x="3252283" y="324468"/>
                    <a:pt x="3280486" y="314439"/>
                    <a:pt x="3311614" y="326191"/>
                  </a:cubicBezTo>
                  <a:close/>
                  <a:moveTo>
                    <a:pt x="3050419" y="147899"/>
                  </a:moveTo>
                  <a:cubicBezTo>
                    <a:pt x="3053477" y="122610"/>
                    <a:pt x="3058163" y="97494"/>
                    <a:pt x="3062783" y="68623"/>
                  </a:cubicBezTo>
                  <a:cubicBezTo>
                    <a:pt x="3086214" y="96638"/>
                    <a:pt x="3109817" y="121381"/>
                    <a:pt x="3129153" y="149003"/>
                  </a:cubicBezTo>
                  <a:cubicBezTo>
                    <a:pt x="3161900" y="195179"/>
                    <a:pt x="3197933" y="238413"/>
                    <a:pt x="3239062" y="277447"/>
                  </a:cubicBezTo>
                  <a:cubicBezTo>
                    <a:pt x="3259960" y="297361"/>
                    <a:pt x="3258169" y="303202"/>
                    <a:pt x="3230347" y="312922"/>
                  </a:cubicBezTo>
                  <a:cubicBezTo>
                    <a:pt x="3227556" y="314088"/>
                    <a:pt x="3224613" y="314985"/>
                    <a:pt x="3221698" y="315451"/>
                  </a:cubicBezTo>
                  <a:cubicBezTo>
                    <a:pt x="3197705" y="318855"/>
                    <a:pt x="3185751" y="333114"/>
                    <a:pt x="3183817" y="356434"/>
                  </a:cubicBezTo>
                  <a:cubicBezTo>
                    <a:pt x="3183312" y="362379"/>
                    <a:pt x="3180474" y="364742"/>
                    <a:pt x="3174864" y="359221"/>
                  </a:cubicBezTo>
                  <a:cubicBezTo>
                    <a:pt x="3150670" y="335622"/>
                    <a:pt x="3127324" y="311158"/>
                    <a:pt x="3105369" y="285392"/>
                  </a:cubicBezTo>
                  <a:cubicBezTo>
                    <a:pt x="3093711" y="272102"/>
                    <a:pt x="3079271" y="261392"/>
                    <a:pt x="3068584" y="247669"/>
                  </a:cubicBezTo>
                  <a:cubicBezTo>
                    <a:pt x="3045495" y="217859"/>
                    <a:pt x="3046228" y="182817"/>
                    <a:pt x="3050419" y="147899"/>
                  </a:cubicBezTo>
                  <a:close/>
                  <a:moveTo>
                    <a:pt x="3028474" y="368362"/>
                  </a:moveTo>
                  <a:cubicBezTo>
                    <a:pt x="3040247" y="356434"/>
                    <a:pt x="3039799" y="338418"/>
                    <a:pt x="3037265" y="321847"/>
                  </a:cubicBezTo>
                  <a:cubicBezTo>
                    <a:pt x="3035246" y="307567"/>
                    <a:pt x="3034160" y="293296"/>
                    <a:pt x="3038027" y="279025"/>
                  </a:cubicBezTo>
                  <a:cubicBezTo>
                    <a:pt x="3042390" y="263219"/>
                    <a:pt x="3047543" y="261278"/>
                    <a:pt x="3060106" y="272763"/>
                  </a:cubicBezTo>
                  <a:cubicBezTo>
                    <a:pt x="3080623" y="291387"/>
                    <a:pt x="3101483" y="309992"/>
                    <a:pt x="3120971" y="329968"/>
                  </a:cubicBezTo>
                  <a:cubicBezTo>
                    <a:pt x="3155756" y="365617"/>
                    <a:pt x="3190475" y="401423"/>
                    <a:pt x="3223765" y="438694"/>
                  </a:cubicBezTo>
                  <a:cubicBezTo>
                    <a:pt x="3236033" y="452509"/>
                    <a:pt x="3243005" y="470897"/>
                    <a:pt x="3253807" y="486025"/>
                  </a:cubicBezTo>
                  <a:cubicBezTo>
                    <a:pt x="3267647" y="505453"/>
                    <a:pt x="3289106" y="517082"/>
                    <a:pt x="3306261" y="533271"/>
                  </a:cubicBezTo>
                  <a:cubicBezTo>
                    <a:pt x="3329131" y="554548"/>
                    <a:pt x="3352772" y="575143"/>
                    <a:pt x="3376251" y="596162"/>
                  </a:cubicBezTo>
                  <a:cubicBezTo>
                    <a:pt x="3381213" y="600661"/>
                    <a:pt x="3381299" y="607822"/>
                    <a:pt x="3378508" y="611960"/>
                  </a:cubicBezTo>
                  <a:cubicBezTo>
                    <a:pt x="3371241" y="622113"/>
                    <a:pt x="3370859" y="634939"/>
                    <a:pt x="3364268" y="645370"/>
                  </a:cubicBezTo>
                  <a:cubicBezTo>
                    <a:pt x="3346904" y="672736"/>
                    <a:pt x="3362849" y="694940"/>
                    <a:pt x="3390071" y="707643"/>
                  </a:cubicBezTo>
                  <a:cubicBezTo>
                    <a:pt x="3404483" y="714391"/>
                    <a:pt x="3421533" y="716517"/>
                    <a:pt x="3437525" y="719860"/>
                  </a:cubicBezTo>
                  <a:cubicBezTo>
                    <a:pt x="3444926" y="721377"/>
                    <a:pt x="3448641" y="724740"/>
                    <a:pt x="3448641" y="732077"/>
                  </a:cubicBezTo>
                  <a:cubicBezTo>
                    <a:pt x="3448526" y="739959"/>
                    <a:pt x="3442907" y="742891"/>
                    <a:pt x="3436315" y="743386"/>
                  </a:cubicBezTo>
                  <a:cubicBezTo>
                    <a:pt x="3419856" y="745171"/>
                    <a:pt x="3406111" y="736875"/>
                    <a:pt x="3393081" y="729012"/>
                  </a:cubicBezTo>
                  <a:cubicBezTo>
                    <a:pt x="3363649" y="711203"/>
                    <a:pt x="3336351" y="690917"/>
                    <a:pt x="3310157" y="668329"/>
                  </a:cubicBezTo>
                  <a:cubicBezTo>
                    <a:pt x="3294088" y="654254"/>
                    <a:pt x="3277600" y="640161"/>
                    <a:pt x="3260627" y="626839"/>
                  </a:cubicBezTo>
                  <a:cubicBezTo>
                    <a:pt x="3220736" y="595771"/>
                    <a:pt x="3188313" y="556943"/>
                    <a:pt x="3150213" y="524016"/>
                  </a:cubicBezTo>
                  <a:cubicBezTo>
                    <a:pt x="3146584" y="520972"/>
                    <a:pt x="3047791" y="421090"/>
                    <a:pt x="3031417" y="400948"/>
                  </a:cubicBezTo>
                  <a:cubicBezTo>
                    <a:pt x="3029093" y="398120"/>
                    <a:pt x="3027245" y="395315"/>
                    <a:pt x="3025207" y="392240"/>
                  </a:cubicBezTo>
                  <a:cubicBezTo>
                    <a:pt x="3019635" y="383241"/>
                    <a:pt x="3019254" y="377578"/>
                    <a:pt x="3028474" y="368362"/>
                  </a:cubicBezTo>
                  <a:close/>
                  <a:moveTo>
                    <a:pt x="3785007" y="1010593"/>
                  </a:moveTo>
                  <a:cubicBezTo>
                    <a:pt x="3769081" y="1011355"/>
                    <a:pt x="3752755" y="1012689"/>
                    <a:pt x="3739934" y="1000192"/>
                  </a:cubicBezTo>
                  <a:cubicBezTo>
                    <a:pt x="3736734" y="997306"/>
                    <a:pt x="3731590" y="994658"/>
                    <a:pt x="3733876" y="988962"/>
                  </a:cubicBezTo>
                  <a:cubicBezTo>
                    <a:pt x="3736162" y="983923"/>
                    <a:pt x="3741115" y="986438"/>
                    <a:pt x="3745011" y="986171"/>
                  </a:cubicBezTo>
                  <a:cubicBezTo>
                    <a:pt x="3748535" y="985866"/>
                    <a:pt x="3752345" y="985990"/>
                    <a:pt x="3758632" y="985990"/>
                  </a:cubicBezTo>
                  <a:cubicBezTo>
                    <a:pt x="3770929" y="983256"/>
                    <a:pt x="3782568" y="987238"/>
                    <a:pt x="3788645" y="1001954"/>
                  </a:cubicBezTo>
                  <a:cubicBezTo>
                    <a:pt x="3790283" y="1005888"/>
                    <a:pt x="3791969" y="1010326"/>
                    <a:pt x="3785007" y="1010593"/>
                  </a:cubicBezTo>
                  <a:close/>
                  <a:moveTo>
                    <a:pt x="3811962" y="976598"/>
                  </a:moveTo>
                  <a:cubicBezTo>
                    <a:pt x="3787874" y="963520"/>
                    <a:pt x="3762832" y="955462"/>
                    <a:pt x="3735858" y="951982"/>
                  </a:cubicBezTo>
                  <a:cubicBezTo>
                    <a:pt x="3725551" y="950725"/>
                    <a:pt x="3716284" y="955462"/>
                    <a:pt x="3711664" y="963520"/>
                  </a:cubicBezTo>
                  <a:cubicBezTo>
                    <a:pt x="3704558" y="976112"/>
                    <a:pt x="3693376" y="975160"/>
                    <a:pt x="3683194" y="973017"/>
                  </a:cubicBezTo>
                  <a:cubicBezTo>
                    <a:pt x="3646103" y="965683"/>
                    <a:pt x="3609861" y="955024"/>
                    <a:pt x="3573504" y="944678"/>
                  </a:cubicBezTo>
                  <a:cubicBezTo>
                    <a:pt x="3534156" y="933409"/>
                    <a:pt x="3496618" y="918438"/>
                    <a:pt x="3458928" y="903105"/>
                  </a:cubicBezTo>
                  <a:cubicBezTo>
                    <a:pt x="3412608" y="884263"/>
                    <a:pt x="3370850" y="857589"/>
                    <a:pt x="3328426" y="832010"/>
                  </a:cubicBezTo>
                  <a:cubicBezTo>
                    <a:pt x="3288944" y="808102"/>
                    <a:pt x="3251254" y="781884"/>
                    <a:pt x="3216040" y="752363"/>
                  </a:cubicBezTo>
                  <a:cubicBezTo>
                    <a:pt x="3197200" y="736564"/>
                    <a:pt x="3179245" y="719941"/>
                    <a:pt x="3160852" y="703598"/>
                  </a:cubicBezTo>
                  <a:cubicBezTo>
                    <a:pt x="3133935" y="679454"/>
                    <a:pt x="3107312" y="654844"/>
                    <a:pt x="3081833" y="629440"/>
                  </a:cubicBezTo>
                  <a:cubicBezTo>
                    <a:pt x="3052763" y="600661"/>
                    <a:pt x="3022321" y="573245"/>
                    <a:pt x="2994927" y="543126"/>
                  </a:cubicBezTo>
                  <a:cubicBezTo>
                    <a:pt x="2954617" y="498849"/>
                    <a:pt x="2910173" y="457937"/>
                    <a:pt x="2875741" y="408759"/>
                  </a:cubicBezTo>
                  <a:cubicBezTo>
                    <a:pt x="2854462" y="378485"/>
                    <a:pt x="2855109" y="374719"/>
                    <a:pt x="2891400" y="374275"/>
                  </a:cubicBezTo>
                  <a:cubicBezTo>
                    <a:pt x="2931643" y="373729"/>
                    <a:pt x="2972772" y="374740"/>
                    <a:pt x="3005166" y="408367"/>
                  </a:cubicBezTo>
                  <a:cubicBezTo>
                    <a:pt x="3029779" y="433906"/>
                    <a:pt x="3057077" y="457205"/>
                    <a:pt x="3082452" y="482434"/>
                  </a:cubicBezTo>
                  <a:cubicBezTo>
                    <a:pt x="3085509" y="485539"/>
                    <a:pt x="3088015" y="488367"/>
                    <a:pt x="3092930" y="487077"/>
                  </a:cubicBezTo>
                  <a:cubicBezTo>
                    <a:pt x="3092634" y="493681"/>
                    <a:pt x="3097730" y="496631"/>
                    <a:pt x="3101835" y="500439"/>
                  </a:cubicBezTo>
                  <a:cubicBezTo>
                    <a:pt x="3125981" y="523779"/>
                    <a:pt x="3150908" y="546572"/>
                    <a:pt x="3174854" y="569985"/>
                  </a:cubicBezTo>
                  <a:cubicBezTo>
                    <a:pt x="3202200" y="596565"/>
                    <a:pt x="3229118" y="623486"/>
                    <a:pt x="3256559" y="649952"/>
                  </a:cubicBezTo>
                  <a:cubicBezTo>
                    <a:pt x="3294459" y="686335"/>
                    <a:pt x="3335217" y="718952"/>
                    <a:pt x="3381185" y="745171"/>
                  </a:cubicBezTo>
                  <a:cubicBezTo>
                    <a:pt x="3438592" y="777757"/>
                    <a:pt x="3498333" y="806049"/>
                    <a:pt x="3560093" y="829946"/>
                  </a:cubicBezTo>
                  <a:cubicBezTo>
                    <a:pt x="3602746" y="846446"/>
                    <a:pt x="3646494" y="860086"/>
                    <a:pt x="3689604" y="875462"/>
                  </a:cubicBezTo>
                  <a:cubicBezTo>
                    <a:pt x="3697072" y="878299"/>
                    <a:pt x="3703520" y="882590"/>
                    <a:pt x="3705101" y="892775"/>
                  </a:cubicBezTo>
                  <a:cubicBezTo>
                    <a:pt x="3710102" y="927642"/>
                    <a:pt x="3735838" y="943367"/>
                    <a:pt x="3767423" y="949206"/>
                  </a:cubicBezTo>
                  <a:cubicBezTo>
                    <a:pt x="3818173" y="958386"/>
                    <a:pt x="3867788" y="970817"/>
                    <a:pt x="3910184" y="1002182"/>
                  </a:cubicBezTo>
                  <a:cubicBezTo>
                    <a:pt x="3913023" y="1004287"/>
                    <a:pt x="3916861" y="1006202"/>
                    <a:pt x="3918166" y="1009098"/>
                  </a:cubicBezTo>
                  <a:cubicBezTo>
                    <a:pt x="3920871" y="1015632"/>
                    <a:pt x="3929729" y="1021537"/>
                    <a:pt x="3923843" y="1029576"/>
                  </a:cubicBezTo>
                  <a:cubicBezTo>
                    <a:pt x="3917118" y="1038263"/>
                    <a:pt x="3910746" y="1028776"/>
                    <a:pt x="3904774" y="1027109"/>
                  </a:cubicBezTo>
                  <a:cubicBezTo>
                    <a:pt x="3869474" y="1018022"/>
                    <a:pt x="3843071" y="993334"/>
                    <a:pt x="3811962" y="976598"/>
                  </a:cubicBezTo>
                  <a:close/>
                  <a:moveTo>
                    <a:pt x="3811962" y="1080030"/>
                  </a:moveTo>
                  <a:cubicBezTo>
                    <a:pt x="3821040" y="1069191"/>
                    <a:pt x="3834641" y="1067676"/>
                    <a:pt x="3846586" y="1066943"/>
                  </a:cubicBezTo>
                  <a:cubicBezTo>
                    <a:pt x="3867198" y="1065495"/>
                    <a:pt x="3887648" y="1063142"/>
                    <a:pt x="3908517" y="1062742"/>
                  </a:cubicBezTo>
                  <a:cubicBezTo>
                    <a:pt x="3946074" y="1061904"/>
                    <a:pt x="3975840" y="1078306"/>
                    <a:pt x="4004024" y="1099223"/>
                  </a:cubicBezTo>
                  <a:cubicBezTo>
                    <a:pt x="4011397" y="1104690"/>
                    <a:pt x="4018645" y="1110377"/>
                    <a:pt x="4024875" y="1116968"/>
                  </a:cubicBezTo>
                  <a:cubicBezTo>
                    <a:pt x="4030285" y="1122674"/>
                    <a:pt x="4032257" y="1127351"/>
                    <a:pt x="4021017" y="1131722"/>
                  </a:cubicBezTo>
                  <a:cubicBezTo>
                    <a:pt x="3998824" y="1140552"/>
                    <a:pt x="3975269" y="1144095"/>
                    <a:pt x="3952046" y="1149010"/>
                  </a:cubicBezTo>
                  <a:cubicBezTo>
                    <a:pt x="3940178" y="1151430"/>
                    <a:pt x="3928396" y="1145096"/>
                    <a:pt x="3918004" y="1138342"/>
                  </a:cubicBezTo>
                  <a:cubicBezTo>
                    <a:pt x="3902555" y="1128303"/>
                    <a:pt x="3886076" y="1121350"/>
                    <a:pt x="3864474" y="1121474"/>
                  </a:cubicBezTo>
                  <a:cubicBezTo>
                    <a:pt x="3870474" y="1118883"/>
                    <a:pt x="3874618" y="1117892"/>
                    <a:pt x="3877618" y="1115568"/>
                  </a:cubicBezTo>
                  <a:cubicBezTo>
                    <a:pt x="3881390" y="1112291"/>
                    <a:pt x="3889772" y="1114701"/>
                    <a:pt x="3889772" y="1109291"/>
                  </a:cubicBezTo>
                  <a:cubicBezTo>
                    <a:pt x="3889962" y="1101033"/>
                    <a:pt x="3880247" y="1103538"/>
                    <a:pt x="3875351" y="1100738"/>
                  </a:cubicBezTo>
                  <a:cubicBezTo>
                    <a:pt x="3868855" y="1096947"/>
                    <a:pt x="3861654" y="1102966"/>
                    <a:pt x="3854615" y="1103319"/>
                  </a:cubicBezTo>
                  <a:cubicBezTo>
                    <a:pt x="3852205" y="1103538"/>
                    <a:pt x="3849976" y="1106072"/>
                    <a:pt x="3847576" y="1106072"/>
                  </a:cubicBezTo>
                  <a:cubicBezTo>
                    <a:pt x="3842747" y="1105948"/>
                    <a:pt x="3837337" y="1108500"/>
                    <a:pt x="3832917" y="1103671"/>
                  </a:cubicBezTo>
                  <a:cubicBezTo>
                    <a:pt x="3831774" y="1102271"/>
                    <a:pt x="3831679" y="1101500"/>
                    <a:pt x="3832679" y="1100157"/>
                  </a:cubicBezTo>
                  <a:cubicBezTo>
                    <a:pt x="3836013" y="1095661"/>
                    <a:pt x="3839928" y="1093784"/>
                    <a:pt x="3845947" y="1093842"/>
                  </a:cubicBezTo>
                  <a:cubicBezTo>
                    <a:pt x="3852148" y="1093965"/>
                    <a:pt x="3859597" y="1097090"/>
                    <a:pt x="3864731" y="1089251"/>
                  </a:cubicBezTo>
                  <a:cubicBezTo>
                    <a:pt x="3849262" y="1080497"/>
                    <a:pt x="3833355" y="1085574"/>
                    <a:pt x="3817611" y="1088241"/>
                  </a:cubicBezTo>
                  <a:cubicBezTo>
                    <a:pt x="3814906" y="1088812"/>
                    <a:pt x="3812153" y="1093032"/>
                    <a:pt x="3809667" y="1089431"/>
                  </a:cubicBezTo>
                  <a:cubicBezTo>
                    <a:pt x="3807533" y="1086288"/>
                    <a:pt x="3809429" y="1083116"/>
                    <a:pt x="3811962" y="1080030"/>
                  </a:cubicBezTo>
                  <a:close/>
                  <a:moveTo>
                    <a:pt x="3849119" y="1233573"/>
                  </a:moveTo>
                  <a:cubicBezTo>
                    <a:pt x="3858911" y="1233049"/>
                    <a:pt x="3866541" y="1232716"/>
                    <a:pt x="3878494" y="1232135"/>
                  </a:cubicBezTo>
                  <a:cubicBezTo>
                    <a:pt x="3864045" y="1221400"/>
                    <a:pt x="3852891" y="1212809"/>
                    <a:pt x="3839499" y="1202627"/>
                  </a:cubicBezTo>
                  <a:lnTo>
                    <a:pt x="3870560" y="1202627"/>
                  </a:lnTo>
                  <a:cubicBezTo>
                    <a:pt x="3854053" y="1187301"/>
                    <a:pt x="3829479" y="1187625"/>
                    <a:pt x="3822344" y="1165689"/>
                  </a:cubicBezTo>
                  <a:cubicBezTo>
                    <a:pt x="3832060" y="1163498"/>
                    <a:pt x="3840109" y="1168651"/>
                    <a:pt x="3848719" y="1170727"/>
                  </a:cubicBezTo>
                  <a:cubicBezTo>
                    <a:pt x="3852891" y="1171623"/>
                    <a:pt x="3859492" y="1173547"/>
                    <a:pt x="3861397" y="1169041"/>
                  </a:cubicBezTo>
                  <a:cubicBezTo>
                    <a:pt x="3863712" y="1163365"/>
                    <a:pt x="3856958" y="1162298"/>
                    <a:pt x="3852958" y="1160612"/>
                  </a:cubicBezTo>
                  <a:cubicBezTo>
                    <a:pt x="3836508" y="1152858"/>
                    <a:pt x="3820116" y="1145000"/>
                    <a:pt x="3808867" y="1127636"/>
                  </a:cubicBezTo>
                  <a:cubicBezTo>
                    <a:pt x="3893477" y="1152296"/>
                    <a:pt x="3976659" y="1176138"/>
                    <a:pt x="4056993" y="1208256"/>
                  </a:cubicBezTo>
                  <a:cubicBezTo>
                    <a:pt x="4082834" y="1218429"/>
                    <a:pt x="4103999" y="1237002"/>
                    <a:pt x="4127116" y="1251871"/>
                  </a:cubicBezTo>
                  <a:cubicBezTo>
                    <a:pt x="4165607" y="1276293"/>
                    <a:pt x="4201973" y="1303077"/>
                    <a:pt x="4233196" y="1336472"/>
                  </a:cubicBezTo>
                  <a:cubicBezTo>
                    <a:pt x="4253503" y="1358037"/>
                    <a:pt x="4270239" y="1382135"/>
                    <a:pt x="4288993" y="1404680"/>
                  </a:cubicBezTo>
                  <a:cubicBezTo>
                    <a:pt x="4329370" y="1453820"/>
                    <a:pt x="4371975" y="1500388"/>
                    <a:pt x="4424525" y="1537773"/>
                  </a:cubicBezTo>
                  <a:cubicBezTo>
                    <a:pt x="4465158" y="1566796"/>
                    <a:pt x="4511040" y="1587056"/>
                    <a:pt x="4553217" y="1613640"/>
                  </a:cubicBezTo>
                  <a:cubicBezTo>
                    <a:pt x="4588155" y="1635500"/>
                    <a:pt x="4622911" y="1657407"/>
                    <a:pt x="4647162" y="1691773"/>
                  </a:cubicBezTo>
                  <a:cubicBezTo>
                    <a:pt x="4638218" y="1694860"/>
                    <a:pt x="4638218" y="1694860"/>
                    <a:pt x="4628083" y="1692393"/>
                  </a:cubicBezTo>
                  <a:cubicBezTo>
                    <a:pt x="4631093" y="1706061"/>
                    <a:pt x="4641209" y="1715529"/>
                    <a:pt x="4648419" y="1729054"/>
                  </a:cubicBezTo>
                  <a:cubicBezTo>
                    <a:pt x="4639571" y="1725130"/>
                    <a:pt x="4633151" y="1722215"/>
                    <a:pt x="4624359" y="1718320"/>
                  </a:cubicBezTo>
                  <a:cubicBezTo>
                    <a:pt x="4628674" y="1734436"/>
                    <a:pt x="4640123" y="1743447"/>
                    <a:pt x="4646848" y="1755105"/>
                  </a:cubicBezTo>
                  <a:cubicBezTo>
                    <a:pt x="4652896" y="1765487"/>
                    <a:pt x="4656297" y="1776060"/>
                    <a:pt x="4650191" y="1787757"/>
                  </a:cubicBezTo>
                  <a:cubicBezTo>
                    <a:pt x="4647343" y="1793348"/>
                    <a:pt x="4645305" y="1795129"/>
                    <a:pt x="4638837" y="1790214"/>
                  </a:cubicBezTo>
                  <a:cubicBezTo>
                    <a:pt x="4617844" y="1774517"/>
                    <a:pt x="4595860" y="1759991"/>
                    <a:pt x="4574705" y="1744256"/>
                  </a:cubicBezTo>
                  <a:cubicBezTo>
                    <a:pt x="4548378" y="1724578"/>
                    <a:pt x="4518374" y="1710871"/>
                    <a:pt x="4489123" y="1696679"/>
                  </a:cubicBezTo>
                  <a:cubicBezTo>
                    <a:pt x="4451919" y="1678905"/>
                    <a:pt x="4418514" y="1656760"/>
                    <a:pt x="4387949" y="1630023"/>
                  </a:cubicBezTo>
                  <a:cubicBezTo>
                    <a:pt x="4351697" y="1598257"/>
                    <a:pt x="4315139" y="1566682"/>
                    <a:pt x="4280307" y="1533239"/>
                  </a:cubicBezTo>
                  <a:cubicBezTo>
                    <a:pt x="4257218" y="1511256"/>
                    <a:pt x="4240978" y="1483243"/>
                    <a:pt x="4218442" y="1460021"/>
                  </a:cubicBezTo>
                  <a:cubicBezTo>
                    <a:pt x="4181732" y="1422749"/>
                    <a:pt x="4137374" y="1396632"/>
                    <a:pt x="4092169" y="1371638"/>
                  </a:cubicBezTo>
                  <a:cubicBezTo>
                    <a:pt x="4036971" y="1341311"/>
                    <a:pt x="3978269" y="1318689"/>
                    <a:pt x="3921547" y="1291761"/>
                  </a:cubicBezTo>
                  <a:cubicBezTo>
                    <a:pt x="3900611" y="1281770"/>
                    <a:pt x="3880390" y="1271016"/>
                    <a:pt x="3855520" y="1258157"/>
                  </a:cubicBezTo>
                  <a:cubicBezTo>
                    <a:pt x="3867217" y="1257310"/>
                    <a:pt x="3874380" y="1258367"/>
                    <a:pt x="3880275" y="1252747"/>
                  </a:cubicBezTo>
                  <a:cubicBezTo>
                    <a:pt x="3870560" y="1246823"/>
                    <a:pt x="3860864" y="1240765"/>
                    <a:pt x="3849119" y="1233573"/>
                  </a:cubicBezTo>
                  <a:close/>
                  <a:moveTo>
                    <a:pt x="3937950" y="1416920"/>
                  </a:moveTo>
                  <a:cubicBezTo>
                    <a:pt x="3946360" y="1415834"/>
                    <a:pt x="3940321" y="1409148"/>
                    <a:pt x="3938588" y="1406852"/>
                  </a:cubicBezTo>
                  <a:cubicBezTo>
                    <a:pt x="3934177" y="1399975"/>
                    <a:pt x="3927634" y="1394498"/>
                    <a:pt x="3923205" y="1387554"/>
                  </a:cubicBezTo>
                  <a:cubicBezTo>
                    <a:pt x="3916223" y="1377172"/>
                    <a:pt x="3909584" y="1366390"/>
                    <a:pt x="3922528" y="1354750"/>
                  </a:cubicBezTo>
                  <a:cubicBezTo>
                    <a:pt x="3929444" y="1348645"/>
                    <a:pt x="3920624" y="1346692"/>
                    <a:pt x="3917709" y="1343606"/>
                  </a:cubicBezTo>
                  <a:cubicBezTo>
                    <a:pt x="3913708" y="1339120"/>
                    <a:pt x="3899983" y="1338186"/>
                    <a:pt x="3913928" y="1328509"/>
                  </a:cubicBezTo>
                  <a:cubicBezTo>
                    <a:pt x="3918357" y="1325490"/>
                    <a:pt x="3914699" y="1320546"/>
                    <a:pt x="3908993" y="1318689"/>
                  </a:cubicBezTo>
                  <a:cubicBezTo>
                    <a:pt x="3903183" y="1316707"/>
                    <a:pt x="3897163" y="1314822"/>
                    <a:pt x="3891715" y="1308811"/>
                  </a:cubicBezTo>
                  <a:cubicBezTo>
                    <a:pt x="3901393" y="1304735"/>
                    <a:pt x="3910222" y="1305220"/>
                    <a:pt x="3918757" y="1308487"/>
                  </a:cubicBezTo>
                  <a:cubicBezTo>
                    <a:pt x="3959552" y="1324289"/>
                    <a:pt x="3998538" y="1343368"/>
                    <a:pt x="4036657" y="1364742"/>
                  </a:cubicBezTo>
                  <a:cubicBezTo>
                    <a:pt x="4081863" y="1390174"/>
                    <a:pt x="4127526" y="1414948"/>
                    <a:pt x="4169702" y="1445066"/>
                  </a:cubicBezTo>
                  <a:cubicBezTo>
                    <a:pt x="4203078" y="1468898"/>
                    <a:pt x="4231663" y="1497978"/>
                    <a:pt x="4255618" y="1531230"/>
                  </a:cubicBezTo>
                  <a:cubicBezTo>
                    <a:pt x="4303147" y="1597009"/>
                    <a:pt x="4362069" y="1650216"/>
                    <a:pt x="4433031" y="1691030"/>
                  </a:cubicBezTo>
                  <a:cubicBezTo>
                    <a:pt x="4475779" y="1715672"/>
                    <a:pt x="4519898" y="1738141"/>
                    <a:pt x="4563332" y="1761935"/>
                  </a:cubicBezTo>
                  <a:cubicBezTo>
                    <a:pt x="4584659" y="1773574"/>
                    <a:pt x="4606481" y="1786280"/>
                    <a:pt x="4620597" y="1807493"/>
                  </a:cubicBezTo>
                  <a:cubicBezTo>
                    <a:pt x="4623083" y="1811093"/>
                    <a:pt x="4628750" y="1814779"/>
                    <a:pt x="4624435" y="1819304"/>
                  </a:cubicBezTo>
                  <a:cubicBezTo>
                    <a:pt x="4619654" y="1824304"/>
                    <a:pt x="4616596" y="1818332"/>
                    <a:pt x="4613396" y="1815341"/>
                  </a:cubicBezTo>
                  <a:cubicBezTo>
                    <a:pt x="4610929" y="1813065"/>
                    <a:pt x="4608319" y="1811912"/>
                    <a:pt x="4604862" y="1814398"/>
                  </a:cubicBezTo>
                  <a:cubicBezTo>
                    <a:pt x="4604862" y="1820694"/>
                    <a:pt x="4611834" y="1822809"/>
                    <a:pt x="4613396" y="1827762"/>
                  </a:cubicBezTo>
                  <a:cubicBezTo>
                    <a:pt x="4615548" y="1833239"/>
                    <a:pt x="4624997" y="1841697"/>
                    <a:pt x="4608538" y="1843507"/>
                  </a:cubicBezTo>
                  <a:cubicBezTo>
                    <a:pt x="4598851" y="1844478"/>
                    <a:pt x="4605795" y="1851155"/>
                    <a:pt x="4607747" y="1854737"/>
                  </a:cubicBezTo>
                  <a:cubicBezTo>
                    <a:pt x="4612186" y="1862795"/>
                    <a:pt x="4622083" y="1870177"/>
                    <a:pt x="4605976" y="1877044"/>
                  </a:cubicBezTo>
                  <a:cubicBezTo>
                    <a:pt x="4600994" y="1879349"/>
                    <a:pt x="4605100" y="1885360"/>
                    <a:pt x="4606776" y="1889589"/>
                  </a:cubicBezTo>
                  <a:cubicBezTo>
                    <a:pt x="4607747" y="1892637"/>
                    <a:pt x="4612491" y="1895770"/>
                    <a:pt x="4608186" y="1898999"/>
                  </a:cubicBezTo>
                  <a:cubicBezTo>
                    <a:pt x="4605176" y="1901228"/>
                    <a:pt x="4601147" y="1899114"/>
                    <a:pt x="4597975" y="1897523"/>
                  </a:cubicBezTo>
                  <a:cubicBezTo>
                    <a:pt x="4596242" y="1896628"/>
                    <a:pt x="4594365" y="1895370"/>
                    <a:pt x="4593117" y="1893751"/>
                  </a:cubicBezTo>
                  <a:cubicBezTo>
                    <a:pt x="4578820" y="1876549"/>
                    <a:pt x="4558951" y="1876311"/>
                    <a:pt x="4540863" y="1881407"/>
                  </a:cubicBezTo>
                  <a:cubicBezTo>
                    <a:pt x="4522432" y="1886807"/>
                    <a:pt x="4511840" y="1876377"/>
                    <a:pt x="4498715" y="1869272"/>
                  </a:cubicBezTo>
                  <a:cubicBezTo>
                    <a:pt x="4482084" y="1860423"/>
                    <a:pt x="4465749" y="1850431"/>
                    <a:pt x="4450213" y="1840687"/>
                  </a:cubicBezTo>
                  <a:cubicBezTo>
                    <a:pt x="4439555" y="1834020"/>
                    <a:pt x="4422734" y="1836706"/>
                    <a:pt x="4416324" y="1820942"/>
                  </a:cubicBezTo>
                  <a:cubicBezTo>
                    <a:pt x="4413914" y="1814779"/>
                    <a:pt x="4403208" y="1818113"/>
                    <a:pt x="4396055" y="1818589"/>
                  </a:cubicBezTo>
                  <a:lnTo>
                    <a:pt x="4396055" y="1818656"/>
                  </a:lnTo>
                  <a:lnTo>
                    <a:pt x="4395978" y="1818656"/>
                  </a:lnTo>
                  <a:cubicBezTo>
                    <a:pt x="4397064" y="1826466"/>
                    <a:pt x="4404694" y="1827762"/>
                    <a:pt x="4409675" y="1831705"/>
                  </a:cubicBezTo>
                  <a:cubicBezTo>
                    <a:pt x="4433031" y="1850117"/>
                    <a:pt x="4455633" y="1868843"/>
                    <a:pt x="4479503" y="1886426"/>
                  </a:cubicBezTo>
                  <a:cubicBezTo>
                    <a:pt x="4489123" y="1893465"/>
                    <a:pt x="4487532" y="1899209"/>
                    <a:pt x="4480179" y="1904190"/>
                  </a:cubicBezTo>
                  <a:cubicBezTo>
                    <a:pt x="4456567" y="1919707"/>
                    <a:pt x="4440117" y="1940433"/>
                    <a:pt x="4428011" y="1965312"/>
                  </a:cubicBezTo>
                  <a:cubicBezTo>
                    <a:pt x="4423315" y="1974656"/>
                    <a:pt x="4413742" y="1975009"/>
                    <a:pt x="4405008" y="1970342"/>
                  </a:cubicBezTo>
                  <a:cubicBezTo>
                    <a:pt x="4383415" y="1959197"/>
                    <a:pt x="4364079" y="1944986"/>
                    <a:pt x="4346486" y="1928536"/>
                  </a:cubicBezTo>
                  <a:cubicBezTo>
                    <a:pt x="4341533" y="1924031"/>
                    <a:pt x="4342095" y="1918335"/>
                    <a:pt x="4343143" y="1912696"/>
                  </a:cubicBezTo>
                  <a:cubicBezTo>
                    <a:pt x="4352478" y="1866900"/>
                    <a:pt x="4335180" y="1824752"/>
                    <a:pt x="4324474" y="1781889"/>
                  </a:cubicBezTo>
                  <a:cubicBezTo>
                    <a:pt x="4323398" y="1777517"/>
                    <a:pt x="4320931" y="1773450"/>
                    <a:pt x="4315825" y="1774860"/>
                  </a:cubicBezTo>
                  <a:cubicBezTo>
                    <a:pt x="4307529" y="1777527"/>
                    <a:pt x="4302357" y="1771069"/>
                    <a:pt x="4295556" y="1769164"/>
                  </a:cubicBezTo>
                  <a:cubicBezTo>
                    <a:pt x="4288317" y="1767154"/>
                    <a:pt x="4283336" y="1761011"/>
                    <a:pt x="4287107" y="1753857"/>
                  </a:cubicBezTo>
                  <a:cubicBezTo>
                    <a:pt x="4290794" y="1746247"/>
                    <a:pt x="4298709" y="1748447"/>
                    <a:pt x="4304500" y="1752390"/>
                  </a:cubicBezTo>
                  <a:cubicBezTo>
                    <a:pt x="4320931" y="1763830"/>
                    <a:pt x="4337076" y="1775612"/>
                    <a:pt x="4353097" y="1787681"/>
                  </a:cubicBezTo>
                  <a:cubicBezTo>
                    <a:pt x="4363831" y="1795615"/>
                    <a:pt x="4375242" y="1802844"/>
                    <a:pt x="4383653" y="1813512"/>
                  </a:cubicBezTo>
                  <a:cubicBezTo>
                    <a:pt x="4386872" y="1817361"/>
                    <a:pt x="4390835" y="1819065"/>
                    <a:pt x="4395978" y="1818656"/>
                  </a:cubicBezTo>
                  <a:lnTo>
                    <a:pt x="4396055" y="1818589"/>
                  </a:lnTo>
                  <a:cubicBezTo>
                    <a:pt x="4404313" y="1799339"/>
                    <a:pt x="4389063" y="1790214"/>
                    <a:pt x="4377347" y="1782089"/>
                  </a:cubicBezTo>
                  <a:cubicBezTo>
                    <a:pt x="4362193" y="1771317"/>
                    <a:pt x="4347429" y="1759144"/>
                    <a:pt x="4334971" y="1746914"/>
                  </a:cubicBezTo>
                  <a:cubicBezTo>
                    <a:pt x="4313339" y="1725625"/>
                    <a:pt x="4293451" y="1701251"/>
                    <a:pt x="4282250" y="1672285"/>
                  </a:cubicBezTo>
                  <a:cubicBezTo>
                    <a:pt x="4270706" y="1642110"/>
                    <a:pt x="4252722" y="1614754"/>
                    <a:pt x="4240397" y="1585122"/>
                  </a:cubicBezTo>
                  <a:cubicBezTo>
                    <a:pt x="4237092" y="1576902"/>
                    <a:pt x="4230929" y="1574749"/>
                    <a:pt x="4222728" y="1576721"/>
                  </a:cubicBezTo>
                  <a:cubicBezTo>
                    <a:pt x="4218147" y="1577788"/>
                    <a:pt x="4213603" y="1578607"/>
                    <a:pt x="4208955" y="1578607"/>
                  </a:cubicBezTo>
                  <a:cubicBezTo>
                    <a:pt x="4188152" y="1578883"/>
                    <a:pt x="4188305" y="1577492"/>
                    <a:pt x="4191172" y="1557499"/>
                  </a:cubicBezTo>
                  <a:cubicBezTo>
                    <a:pt x="4193486" y="1541993"/>
                    <a:pt x="4189600" y="1526000"/>
                    <a:pt x="4186904" y="1510351"/>
                  </a:cubicBezTo>
                  <a:cubicBezTo>
                    <a:pt x="4184761" y="1499387"/>
                    <a:pt x="4179465" y="1513665"/>
                    <a:pt x="4176617" y="1506950"/>
                  </a:cubicBezTo>
                  <a:cubicBezTo>
                    <a:pt x="4183990" y="1495949"/>
                    <a:pt x="4176932" y="1495711"/>
                    <a:pt x="4165759" y="1489796"/>
                  </a:cubicBezTo>
                  <a:cubicBezTo>
                    <a:pt x="4148281" y="1480366"/>
                    <a:pt x="4136431" y="1495263"/>
                    <a:pt x="4121363" y="1492558"/>
                  </a:cubicBezTo>
                  <a:cubicBezTo>
                    <a:pt x="4114191" y="1491225"/>
                    <a:pt x="4110514" y="1502559"/>
                    <a:pt x="4106104" y="1508389"/>
                  </a:cubicBezTo>
                  <a:cubicBezTo>
                    <a:pt x="4088149" y="1532477"/>
                    <a:pt x="4088149" y="1533620"/>
                    <a:pt x="4061460" y="1520104"/>
                  </a:cubicBezTo>
                  <a:cubicBezTo>
                    <a:pt x="4030875" y="1504798"/>
                    <a:pt x="4001996" y="1487576"/>
                    <a:pt x="3976659" y="1463735"/>
                  </a:cubicBezTo>
                  <a:cubicBezTo>
                    <a:pt x="3963934" y="1451610"/>
                    <a:pt x="3947636" y="1442542"/>
                    <a:pt x="3935501" y="1429436"/>
                  </a:cubicBezTo>
                  <a:cubicBezTo>
                    <a:pt x="3931263" y="1424759"/>
                    <a:pt x="3922824" y="1419235"/>
                    <a:pt x="3937950" y="1416920"/>
                  </a:cubicBezTo>
                  <a:close/>
                  <a:moveTo>
                    <a:pt x="3981784" y="1608525"/>
                  </a:moveTo>
                  <a:cubicBezTo>
                    <a:pt x="3978269" y="1605534"/>
                    <a:pt x="3975269" y="1602077"/>
                    <a:pt x="3972192" y="1598733"/>
                  </a:cubicBezTo>
                  <a:cubicBezTo>
                    <a:pt x="3967963" y="1594018"/>
                    <a:pt x="3949465" y="1590304"/>
                    <a:pt x="3971525" y="1583627"/>
                  </a:cubicBezTo>
                  <a:cubicBezTo>
                    <a:pt x="3976288" y="1582064"/>
                    <a:pt x="3971287" y="1575616"/>
                    <a:pt x="3968496" y="1572559"/>
                  </a:cubicBezTo>
                  <a:cubicBezTo>
                    <a:pt x="3961838" y="1565548"/>
                    <a:pt x="3955247" y="1558481"/>
                    <a:pt x="3948798" y="1546003"/>
                  </a:cubicBezTo>
                  <a:cubicBezTo>
                    <a:pt x="3960838" y="1551280"/>
                    <a:pt x="3969058" y="1554756"/>
                    <a:pt x="3978678" y="1558985"/>
                  </a:cubicBezTo>
                  <a:cubicBezTo>
                    <a:pt x="3975449" y="1544669"/>
                    <a:pt x="3966496" y="1537973"/>
                    <a:pt x="3955428" y="1533182"/>
                  </a:cubicBezTo>
                  <a:cubicBezTo>
                    <a:pt x="3952208" y="1531715"/>
                    <a:pt x="3949084" y="1529715"/>
                    <a:pt x="3946570" y="1527305"/>
                  </a:cubicBezTo>
                  <a:cubicBezTo>
                    <a:pt x="3942664" y="1523533"/>
                    <a:pt x="3935483" y="1519561"/>
                    <a:pt x="3939302" y="1513665"/>
                  </a:cubicBezTo>
                  <a:cubicBezTo>
                    <a:pt x="3944198" y="1506455"/>
                    <a:pt x="3948970" y="1514504"/>
                    <a:pt x="3953704" y="1516485"/>
                  </a:cubicBezTo>
                  <a:cubicBezTo>
                    <a:pt x="3956009" y="1517409"/>
                    <a:pt x="3958104" y="1518828"/>
                    <a:pt x="3960171" y="1520266"/>
                  </a:cubicBezTo>
                  <a:cubicBezTo>
                    <a:pt x="3963115" y="1522362"/>
                    <a:pt x="3966096" y="1523343"/>
                    <a:pt x="3968515" y="1520485"/>
                  </a:cubicBezTo>
                  <a:cubicBezTo>
                    <a:pt x="3970639" y="1517761"/>
                    <a:pt x="3968944" y="1514408"/>
                    <a:pt x="3966801" y="1512065"/>
                  </a:cubicBezTo>
                  <a:cubicBezTo>
                    <a:pt x="3961505" y="1506455"/>
                    <a:pt x="3955409" y="1501445"/>
                    <a:pt x="3948093" y="1498683"/>
                  </a:cubicBezTo>
                  <a:cubicBezTo>
                    <a:pt x="3942683" y="1496616"/>
                    <a:pt x="3935673" y="1495149"/>
                    <a:pt x="3937302" y="1488281"/>
                  </a:cubicBezTo>
                  <a:cubicBezTo>
                    <a:pt x="3938521" y="1483071"/>
                    <a:pt x="3945465" y="1486414"/>
                    <a:pt x="3949770" y="1485690"/>
                  </a:cubicBezTo>
                  <a:cubicBezTo>
                    <a:pt x="3951189" y="1485471"/>
                    <a:pt x="3952446" y="1484795"/>
                    <a:pt x="3954656" y="1483824"/>
                  </a:cubicBezTo>
                  <a:cubicBezTo>
                    <a:pt x="3949627" y="1473441"/>
                    <a:pt x="3935311" y="1470793"/>
                    <a:pt x="3933711" y="1458763"/>
                  </a:cubicBezTo>
                  <a:cubicBezTo>
                    <a:pt x="3953990" y="1463231"/>
                    <a:pt x="3966258" y="1480204"/>
                    <a:pt x="3983041" y="1490577"/>
                  </a:cubicBezTo>
                  <a:cubicBezTo>
                    <a:pt x="4009911" y="1507303"/>
                    <a:pt x="4034781" y="1527248"/>
                    <a:pt x="4061136" y="1544860"/>
                  </a:cubicBezTo>
                  <a:cubicBezTo>
                    <a:pt x="4067766" y="1549346"/>
                    <a:pt x="4069871" y="1553966"/>
                    <a:pt x="4069137" y="1561271"/>
                  </a:cubicBezTo>
                  <a:cubicBezTo>
                    <a:pt x="4067985" y="1572911"/>
                    <a:pt x="4066813" y="1584693"/>
                    <a:pt x="4066061" y="1596438"/>
                  </a:cubicBezTo>
                  <a:cubicBezTo>
                    <a:pt x="4065499" y="1608258"/>
                    <a:pt x="4066223" y="1619850"/>
                    <a:pt x="4072576" y="1630756"/>
                  </a:cubicBezTo>
                  <a:cubicBezTo>
                    <a:pt x="4074757" y="1634500"/>
                    <a:pt x="4075376" y="1639462"/>
                    <a:pt x="4075805" y="1644006"/>
                  </a:cubicBezTo>
                  <a:cubicBezTo>
                    <a:pt x="4076872" y="1658960"/>
                    <a:pt x="4065499" y="1666885"/>
                    <a:pt x="4051802" y="1660179"/>
                  </a:cubicBezTo>
                  <a:cubicBezTo>
                    <a:pt x="4025170" y="1647282"/>
                    <a:pt x="4004024" y="1627327"/>
                    <a:pt x="3981784" y="1608525"/>
                  </a:cubicBezTo>
                  <a:close/>
                  <a:moveTo>
                    <a:pt x="4139365" y="2005089"/>
                  </a:moveTo>
                  <a:cubicBezTo>
                    <a:pt x="4136651" y="1994478"/>
                    <a:pt x="4132383" y="1988239"/>
                    <a:pt x="4121439" y="1985324"/>
                  </a:cubicBezTo>
                  <a:cubicBezTo>
                    <a:pt x="4084739" y="1975514"/>
                    <a:pt x="4051792" y="1956311"/>
                    <a:pt x="4017035" y="1942024"/>
                  </a:cubicBezTo>
                  <a:cubicBezTo>
                    <a:pt x="3999262" y="1934699"/>
                    <a:pt x="4001986" y="1922297"/>
                    <a:pt x="4005025" y="1910820"/>
                  </a:cubicBezTo>
                  <a:cubicBezTo>
                    <a:pt x="4009997" y="1892637"/>
                    <a:pt x="4006349" y="1882378"/>
                    <a:pt x="3988956" y="1872425"/>
                  </a:cubicBezTo>
                  <a:cubicBezTo>
                    <a:pt x="3970239" y="1861642"/>
                    <a:pt x="3950770" y="1850631"/>
                    <a:pt x="3935721" y="1834115"/>
                  </a:cubicBezTo>
                  <a:cubicBezTo>
                    <a:pt x="3928091" y="1825914"/>
                    <a:pt x="3925576" y="1817856"/>
                    <a:pt x="3931596" y="1808140"/>
                  </a:cubicBezTo>
                  <a:cubicBezTo>
                    <a:pt x="3945274" y="1785576"/>
                    <a:pt x="3944579" y="1765259"/>
                    <a:pt x="3922024" y="1748161"/>
                  </a:cubicBezTo>
                  <a:cubicBezTo>
                    <a:pt x="3908403" y="1741456"/>
                    <a:pt x="3894706" y="1735293"/>
                    <a:pt x="3886248" y="1721682"/>
                  </a:cubicBezTo>
                  <a:cubicBezTo>
                    <a:pt x="3872227" y="1714595"/>
                    <a:pt x="3870322" y="1700232"/>
                    <a:pt x="3866064" y="1687620"/>
                  </a:cubicBezTo>
                  <a:cubicBezTo>
                    <a:pt x="3863645" y="1680753"/>
                    <a:pt x="3869874" y="1677572"/>
                    <a:pt x="3875180" y="1675457"/>
                  </a:cubicBezTo>
                  <a:cubicBezTo>
                    <a:pt x="3896144" y="1667066"/>
                    <a:pt x="3917147" y="1659303"/>
                    <a:pt x="3938083" y="1650673"/>
                  </a:cubicBezTo>
                  <a:cubicBezTo>
                    <a:pt x="3947284" y="1646873"/>
                    <a:pt x="3949913" y="1653378"/>
                    <a:pt x="3953847" y="1658569"/>
                  </a:cubicBezTo>
                  <a:cubicBezTo>
                    <a:pt x="3961838" y="1669971"/>
                    <a:pt x="3974154" y="1678238"/>
                    <a:pt x="3978678" y="1692154"/>
                  </a:cubicBezTo>
                  <a:cubicBezTo>
                    <a:pt x="3984889" y="1698527"/>
                    <a:pt x="3991070" y="1704908"/>
                    <a:pt x="3996976" y="1711309"/>
                  </a:cubicBezTo>
                  <a:cubicBezTo>
                    <a:pt x="3999643" y="1714433"/>
                    <a:pt x="4001986" y="1713729"/>
                    <a:pt x="4004863" y="1711738"/>
                  </a:cubicBezTo>
                  <a:cubicBezTo>
                    <a:pt x="4009549" y="1708052"/>
                    <a:pt x="4014673" y="1704832"/>
                    <a:pt x="4019550" y="1701394"/>
                  </a:cubicBezTo>
                  <a:cubicBezTo>
                    <a:pt x="4028084" y="1691935"/>
                    <a:pt x="4036419" y="1690516"/>
                    <a:pt x="4045049" y="1701356"/>
                  </a:cubicBezTo>
                  <a:cubicBezTo>
                    <a:pt x="4046230" y="1701851"/>
                    <a:pt x="4047344" y="1702222"/>
                    <a:pt x="4048430" y="1702603"/>
                  </a:cubicBezTo>
                  <a:cubicBezTo>
                    <a:pt x="4058879" y="1706490"/>
                    <a:pt x="4068718" y="1711309"/>
                    <a:pt x="4076271" y="1719796"/>
                  </a:cubicBezTo>
                  <a:cubicBezTo>
                    <a:pt x="4089749" y="1726949"/>
                    <a:pt x="4101227" y="1736436"/>
                    <a:pt x="4107580" y="1750838"/>
                  </a:cubicBezTo>
                  <a:cubicBezTo>
                    <a:pt x="4119305" y="1761011"/>
                    <a:pt x="4116819" y="1774831"/>
                    <a:pt x="4117267" y="1787852"/>
                  </a:cubicBezTo>
                  <a:cubicBezTo>
                    <a:pt x="4121363" y="1792186"/>
                    <a:pt x="4121363" y="1797949"/>
                    <a:pt x="4123211" y="1803035"/>
                  </a:cubicBezTo>
                  <a:cubicBezTo>
                    <a:pt x="4130154" y="1806978"/>
                    <a:pt x="4137479" y="1805654"/>
                    <a:pt x="4144766" y="1804016"/>
                  </a:cubicBezTo>
                  <a:cubicBezTo>
                    <a:pt x="4160701" y="1794405"/>
                    <a:pt x="4170426" y="1803864"/>
                    <a:pt x="4179751" y="1814779"/>
                  </a:cubicBezTo>
                  <a:cubicBezTo>
                    <a:pt x="4182971" y="1820561"/>
                    <a:pt x="4188819" y="1824685"/>
                    <a:pt x="4190000" y="1831677"/>
                  </a:cubicBezTo>
                  <a:lnTo>
                    <a:pt x="4189771" y="1831886"/>
                  </a:lnTo>
                  <a:cubicBezTo>
                    <a:pt x="4205431" y="1853060"/>
                    <a:pt x="4225138" y="1871710"/>
                    <a:pt x="4230339" y="1898799"/>
                  </a:cubicBezTo>
                  <a:lnTo>
                    <a:pt x="4230024" y="1898495"/>
                  </a:lnTo>
                  <a:cubicBezTo>
                    <a:pt x="4234101" y="1910706"/>
                    <a:pt x="4238178" y="1922774"/>
                    <a:pt x="4231510" y="1935328"/>
                  </a:cubicBezTo>
                  <a:cubicBezTo>
                    <a:pt x="4227510" y="1943481"/>
                    <a:pt x="4231443" y="1952473"/>
                    <a:pt x="4229319" y="1960893"/>
                  </a:cubicBezTo>
                  <a:cubicBezTo>
                    <a:pt x="4232386" y="1980876"/>
                    <a:pt x="4238501" y="1998888"/>
                    <a:pt x="4255570" y="2012366"/>
                  </a:cubicBezTo>
                  <a:cubicBezTo>
                    <a:pt x="4264495" y="2019462"/>
                    <a:pt x="4258523" y="2031121"/>
                    <a:pt x="4257513" y="2039941"/>
                  </a:cubicBezTo>
                  <a:cubicBezTo>
                    <a:pt x="4256094" y="2054562"/>
                    <a:pt x="4253275" y="2069573"/>
                    <a:pt x="4246474" y="2085194"/>
                  </a:cubicBezTo>
                  <a:cubicBezTo>
                    <a:pt x="4237092" y="2073097"/>
                    <a:pt x="4234101" y="2061067"/>
                    <a:pt x="4237387" y="2047827"/>
                  </a:cubicBezTo>
                  <a:cubicBezTo>
                    <a:pt x="4240473" y="2036483"/>
                    <a:pt x="4240854" y="2028082"/>
                    <a:pt x="4229214" y="2019052"/>
                  </a:cubicBezTo>
                  <a:cubicBezTo>
                    <a:pt x="4194391" y="1991754"/>
                    <a:pt x="4177618" y="1954816"/>
                    <a:pt x="4172798" y="1911344"/>
                  </a:cubicBezTo>
                  <a:cubicBezTo>
                    <a:pt x="4170817" y="1892141"/>
                    <a:pt x="4171617" y="1872825"/>
                    <a:pt x="4169340" y="1851632"/>
                  </a:cubicBezTo>
                  <a:cubicBezTo>
                    <a:pt x="4160015" y="1858604"/>
                    <a:pt x="4149576" y="1861214"/>
                    <a:pt x="4149128" y="1874434"/>
                  </a:cubicBezTo>
                  <a:cubicBezTo>
                    <a:pt x="4148890" y="1881759"/>
                    <a:pt x="4143404" y="1882731"/>
                    <a:pt x="4136431" y="1876377"/>
                  </a:cubicBezTo>
                  <a:cubicBezTo>
                    <a:pt x="4118048" y="1859604"/>
                    <a:pt x="4101246" y="1841373"/>
                    <a:pt x="4085587" y="1822199"/>
                  </a:cubicBezTo>
                  <a:cubicBezTo>
                    <a:pt x="4074233" y="1808350"/>
                    <a:pt x="4068623" y="1791824"/>
                    <a:pt x="4064280" y="1774565"/>
                  </a:cubicBezTo>
                  <a:cubicBezTo>
                    <a:pt x="4063032" y="1769431"/>
                    <a:pt x="4060708" y="1764230"/>
                    <a:pt x="4057869" y="1759429"/>
                  </a:cubicBezTo>
                  <a:cubicBezTo>
                    <a:pt x="4056183" y="1756601"/>
                    <a:pt x="4053240" y="1752791"/>
                    <a:pt x="4049144" y="1754524"/>
                  </a:cubicBezTo>
                  <a:cubicBezTo>
                    <a:pt x="4046887" y="1755448"/>
                    <a:pt x="4045067" y="1759049"/>
                    <a:pt x="4044144" y="1761906"/>
                  </a:cubicBezTo>
                  <a:cubicBezTo>
                    <a:pt x="4037295" y="1781499"/>
                    <a:pt x="4034447" y="1782966"/>
                    <a:pt x="4017159" y="1771317"/>
                  </a:cubicBezTo>
                  <a:cubicBezTo>
                    <a:pt x="3997890" y="1758544"/>
                    <a:pt x="3979145" y="1745056"/>
                    <a:pt x="3963305" y="1727968"/>
                  </a:cubicBezTo>
                  <a:cubicBezTo>
                    <a:pt x="3955856" y="1719863"/>
                    <a:pt x="3946617" y="1714843"/>
                    <a:pt x="3936692" y="1710966"/>
                  </a:cubicBezTo>
                  <a:cubicBezTo>
                    <a:pt x="3931615" y="1717824"/>
                    <a:pt x="3939959" y="1722749"/>
                    <a:pt x="3938092" y="1728826"/>
                  </a:cubicBezTo>
                  <a:cubicBezTo>
                    <a:pt x="3941121" y="1730121"/>
                    <a:pt x="3941378" y="1732683"/>
                    <a:pt x="3941378" y="1735503"/>
                  </a:cubicBezTo>
                  <a:cubicBezTo>
                    <a:pt x="3949770" y="1744685"/>
                    <a:pt x="3958104" y="1754048"/>
                    <a:pt x="3966505" y="1763335"/>
                  </a:cubicBezTo>
                  <a:cubicBezTo>
                    <a:pt x="3974011" y="1773955"/>
                    <a:pt x="3987299" y="1775612"/>
                    <a:pt x="3997328" y="1782299"/>
                  </a:cubicBezTo>
                  <a:cubicBezTo>
                    <a:pt x="4008892" y="1786823"/>
                    <a:pt x="4020074" y="1791900"/>
                    <a:pt x="4029266" y="1800120"/>
                  </a:cubicBezTo>
                  <a:cubicBezTo>
                    <a:pt x="4030142" y="1800406"/>
                    <a:pt x="4031180" y="1800520"/>
                    <a:pt x="4032066" y="1800806"/>
                  </a:cubicBezTo>
                  <a:cubicBezTo>
                    <a:pt x="4045830" y="1805978"/>
                    <a:pt x="4054716" y="1816665"/>
                    <a:pt x="4063899" y="1827638"/>
                  </a:cubicBezTo>
                  <a:cubicBezTo>
                    <a:pt x="4060327" y="1833143"/>
                    <a:pt x="4055450" y="1830543"/>
                    <a:pt x="4051354" y="1830705"/>
                  </a:cubicBezTo>
                  <a:lnTo>
                    <a:pt x="4038095" y="1830705"/>
                  </a:lnTo>
                  <a:lnTo>
                    <a:pt x="4007510" y="1830705"/>
                  </a:lnTo>
                  <a:cubicBezTo>
                    <a:pt x="4006358" y="1830934"/>
                    <a:pt x="4005329" y="1831172"/>
                    <a:pt x="4004177" y="1831277"/>
                  </a:cubicBezTo>
                  <a:cubicBezTo>
                    <a:pt x="3995023" y="1835544"/>
                    <a:pt x="4001567" y="1839525"/>
                    <a:pt x="4004386" y="1843507"/>
                  </a:cubicBezTo>
                  <a:cubicBezTo>
                    <a:pt x="4013721" y="1846355"/>
                    <a:pt x="4022436" y="1850974"/>
                    <a:pt x="4032533" y="1850431"/>
                  </a:cubicBezTo>
                  <a:cubicBezTo>
                    <a:pt x="4033714" y="1851155"/>
                    <a:pt x="4034599" y="1851803"/>
                    <a:pt x="4035714" y="1852441"/>
                  </a:cubicBezTo>
                  <a:cubicBezTo>
                    <a:pt x="4037562" y="1852746"/>
                    <a:pt x="4039505" y="1853146"/>
                    <a:pt x="4041401" y="1853479"/>
                  </a:cubicBezTo>
                  <a:cubicBezTo>
                    <a:pt x="4053393" y="1853146"/>
                    <a:pt x="4065394" y="1853146"/>
                    <a:pt x="4077415" y="1852584"/>
                  </a:cubicBezTo>
                  <a:cubicBezTo>
                    <a:pt x="4082510" y="1852441"/>
                    <a:pt x="4086244" y="1854051"/>
                    <a:pt x="4089168" y="1858127"/>
                  </a:cubicBezTo>
                  <a:cubicBezTo>
                    <a:pt x="4102437" y="1875930"/>
                    <a:pt x="4115648" y="1893751"/>
                    <a:pt x="4129107" y="1911344"/>
                  </a:cubicBezTo>
                  <a:cubicBezTo>
                    <a:pt x="4129393" y="1914373"/>
                    <a:pt x="4129897" y="1917297"/>
                    <a:pt x="4133136" y="1918478"/>
                  </a:cubicBezTo>
                  <a:cubicBezTo>
                    <a:pt x="4139956" y="1920192"/>
                    <a:pt x="4138108" y="1928203"/>
                    <a:pt x="4143994" y="1931137"/>
                  </a:cubicBezTo>
                  <a:cubicBezTo>
                    <a:pt x="4129516" y="1934213"/>
                    <a:pt x="4116534" y="1929622"/>
                    <a:pt x="4103265" y="1927708"/>
                  </a:cubicBezTo>
                  <a:cubicBezTo>
                    <a:pt x="4089044" y="1925641"/>
                    <a:pt x="4075843" y="1927174"/>
                    <a:pt x="4062622" y="1932346"/>
                  </a:cubicBezTo>
                  <a:cubicBezTo>
                    <a:pt x="4057888" y="1934213"/>
                    <a:pt x="4053764" y="1935718"/>
                    <a:pt x="4054354" y="1941643"/>
                  </a:cubicBezTo>
                  <a:cubicBezTo>
                    <a:pt x="4064670" y="1944986"/>
                    <a:pt x="4074595" y="1949320"/>
                    <a:pt x="4085844" y="1948967"/>
                  </a:cubicBezTo>
                  <a:cubicBezTo>
                    <a:pt x="4089168" y="1948224"/>
                    <a:pt x="4092721" y="1947377"/>
                    <a:pt x="4095141" y="1950977"/>
                  </a:cubicBezTo>
                  <a:cubicBezTo>
                    <a:pt x="4097055" y="1951282"/>
                    <a:pt x="4098789" y="1951777"/>
                    <a:pt x="4100875" y="1951996"/>
                  </a:cubicBezTo>
                  <a:cubicBezTo>
                    <a:pt x="4112381" y="1952739"/>
                    <a:pt x="4124516" y="1947205"/>
                    <a:pt x="4135346" y="1955054"/>
                  </a:cubicBezTo>
                  <a:cubicBezTo>
                    <a:pt x="4141851" y="1957121"/>
                    <a:pt x="4148404" y="1959150"/>
                    <a:pt x="4154910" y="1961169"/>
                  </a:cubicBezTo>
                  <a:cubicBezTo>
                    <a:pt x="4160387" y="1959483"/>
                    <a:pt x="4162501" y="1963426"/>
                    <a:pt x="4164587" y="1967074"/>
                  </a:cubicBezTo>
                  <a:lnTo>
                    <a:pt x="4165073" y="1967456"/>
                  </a:lnTo>
                  <a:cubicBezTo>
                    <a:pt x="4172017" y="1974371"/>
                    <a:pt x="4177894" y="1981800"/>
                    <a:pt x="4179941" y="1991468"/>
                  </a:cubicBezTo>
                  <a:cubicBezTo>
                    <a:pt x="4182990" y="1992382"/>
                    <a:pt x="4182809" y="1994716"/>
                    <a:pt x="4182990" y="1996897"/>
                  </a:cubicBezTo>
                  <a:cubicBezTo>
                    <a:pt x="4195334" y="2004308"/>
                    <a:pt x="4190934" y="2019224"/>
                    <a:pt x="4198020" y="2029435"/>
                  </a:cubicBezTo>
                  <a:cubicBezTo>
                    <a:pt x="4201049" y="2033759"/>
                    <a:pt x="4194344" y="2039303"/>
                    <a:pt x="4188485" y="2037198"/>
                  </a:cubicBezTo>
                  <a:cubicBezTo>
                    <a:pt x="4182618" y="2034864"/>
                    <a:pt x="4178513" y="2034159"/>
                    <a:pt x="4176951" y="2041179"/>
                  </a:cubicBezTo>
                  <a:cubicBezTo>
                    <a:pt x="4175789" y="2047361"/>
                    <a:pt x="4176332" y="2053190"/>
                    <a:pt x="4184028" y="2055657"/>
                  </a:cubicBezTo>
                  <a:cubicBezTo>
                    <a:pt x="4201049" y="2061201"/>
                    <a:pt x="4213365" y="2071897"/>
                    <a:pt x="4220032" y="2088413"/>
                  </a:cubicBezTo>
                  <a:cubicBezTo>
                    <a:pt x="4220709" y="2090176"/>
                    <a:pt x="4220328" y="2092281"/>
                    <a:pt x="4220709" y="2096243"/>
                  </a:cubicBezTo>
                  <a:cubicBezTo>
                    <a:pt x="4197782" y="2084108"/>
                    <a:pt x="4176951" y="2072221"/>
                    <a:pt x="4161120" y="2053523"/>
                  </a:cubicBezTo>
                  <a:cubicBezTo>
                    <a:pt x="4145251" y="2041122"/>
                    <a:pt x="4143918" y="2022262"/>
                    <a:pt x="4139365" y="2005089"/>
                  </a:cubicBezTo>
                  <a:close/>
                  <a:moveTo>
                    <a:pt x="4221166" y="2202075"/>
                  </a:moveTo>
                  <a:cubicBezTo>
                    <a:pt x="4225405" y="2201532"/>
                    <a:pt x="4226843" y="2204304"/>
                    <a:pt x="4228624" y="2206647"/>
                  </a:cubicBezTo>
                  <a:cubicBezTo>
                    <a:pt x="4238739" y="2219506"/>
                    <a:pt x="4246779" y="2233489"/>
                    <a:pt x="4249379" y="2250053"/>
                  </a:cubicBezTo>
                  <a:cubicBezTo>
                    <a:pt x="4251351" y="2261673"/>
                    <a:pt x="4245045" y="2269560"/>
                    <a:pt x="4236044" y="2275827"/>
                  </a:cubicBezTo>
                  <a:cubicBezTo>
                    <a:pt x="4231358" y="2278971"/>
                    <a:pt x="4225624" y="2280371"/>
                    <a:pt x="4222823" y="2287915"/>
                  </a:cubicBezTo>
                  <a:cubicBezTo>
                    <a:pt x="4210850" y="2269493"/>
                    <a:pt x="4204907" y="2252024"/>
                    <a:pt x="4199649" y="2234460"/>
                  </a:cubicBezTo>
                  <a:cubicBezTo>
                    <a:pt x="4195925" y="2222126"/>
                    <a:pt x="4208726" y="2203980"/>
                    <a:pt x="4221166" y="2202075"/>
                  </a:cubicBezTo>
                  <a:close/>
                  <a:moveTo>
                    <a:pt x="4172893" y="2099891"/>
                  </a:moveTo>
                  <a:cubicBezTo>
                    <a:pt x="4188343" y="2099891"/>
                    <a:pt x="4200144" y="2106806"/>
                    <a:pt x="4211231" y="2114017"/>
                  </a:cubicBezTo>
                  <a:cubicBezTo>
                    <a:pt x="4221185" y="2120789"/>
                    <a:pt x="4229596" y="2130485"/>
                    <a:pt x="4237749" y="2139753"/>
                  </a:cubicBezTo>
                  <a:cubicBezTo>
                    <a:pt x="4241111" y="2143649"/>
                    <a:pt x="4245359" y="2148764"/>
                    <a:pt x="4238168" y="2155165"/>
                  </a:cubicBezTo>
                  <a:cubicBezTo>
                    <a:pt x="4232224" y="2160613"/>
                    <a:pt x="4228624" y="2159746"/>
                    <a:pt x="4223128" y="2155851"/>
                  </a:cubicBezTo>
                  <a:cubicBezTo>
                    <a:pt x="4202935" y="2140677"/>
                    <a:pt x="4182618" y="2125818"/>
                    <a:pt x="4172893" y="2099891"/>
                  </a:cubicBezTo>
                  <a:close/>
                  <a:moveTo>
                    <a:pt x="4128868" y="2130162"/>
                  </a:moveTo>
                  <a:cubicBezTo>
                    <a:pt x="4139746" y="2127885"/>
                    <a:pt x="4149300" y="2113369"/>
                    <a:pt x="4161854" y="2129228"/>
                  </a:cubicBezTo>
                  <a:cubicBezTo>
                    <a:pt x="4173769" y="2144382"/>
                    <a:pt x="4190429" y="2155574"/>
                    <a:pt x="4201811" y="2171691"/>
                  </a:cubicBezTo>
                  <a:cubicBezTo>
                    <a:pt x="4208726" y="2181196"/>
                    <a:pt x="4202230" y="2184816"/>
                    <a:pt x="4196572" y="2188398"/>
                  </a:cubicBezTo>
                  <a:cubicBezTo>
                    <a:pt x="4191800" y="2191407"/>
                    <a:pt x="4185742" y="2194941"/>
                    <a:pt x="4182761" y="2184892"/>
                  </a:cubicBezTo>
                  <a:cubicBezTo>
                    <a:pt x="4180951" y="2178968"/>
                    <a:pt x="4175722" y="2173986"/>
                    <a:pt x="4172760" y="2168081"/>
                  </a:cubicBezTo>
                  <a:cubicBezTo>
                    <a:pt x="4164054" y="2149145"/>
                    <a:pt x="4163368" y="2148726"/>
                    <a:pt x="4141032" y="2153936"/>
                  </a:cubicBezTo>
                  <a:cubicBezTo>
                    <a:pt x="4136555" y="2154936"/>
                    <a:pt x="4131526" y="2154546"/>
                    <a:pt x="4127507" y="2156441"/>
                  </a:cubicBezTo>
                  <a:cubicBezTo>
                    <a:pt x="4118162" y="2160765"/>
                    <a:pt x="4116486" y="2156632"/>
                    <a:pt x="4117077" y="2148488"/>
                  </a:cubicBezTo>
                  <a:cubicBezTo>
                    <a:pt x="4118020" y="2140782"/>
                    <a:pt x="4118286" y="2132295"/>
                    <a:pt x="4128868" y="2130162"/>
                  </a:cubicBezTo>
                  <a:close/>
                  <a:moveTo>
                    <a:pt x="3996328" y="2313632"/>
                  </a:moveTo>
                  <a:cubicBezTo>
                    <a:pt x="4008749" y="2336578"/>
                    <a:pt x="4011701" y="2358933"/>
                    <a:pt x="4020807" y="2379059"/>
                  </a:cubicBezTo>
                  <a:cubicBezTo>
                    <a:pt x="4022398" y="2382298"/>
                    <a:pt x="4021017" y="2383231"/>
                    <a:pt x="4019760" y="2385241"/>
                  </a:cubicBezTo>
                  <a:cubicBezTo>
                    <a:pt x="4012016" y="2396595"/>
                    <a:pt x="4003196" y="2406815"/>
                    <a:pt x="3990023" y="2413540"/>
                  </a:cubicBezTo>
                  <a:cubicBezTo>
                    <a:pt x="3985146" y="2380117"/>
                    <a:pt x="3984622" y="2347817"/>
                    <a:pt x="3996328" y="2313632"/>
                  </a:cubicBezTo>
                  <a:close/>
                  <a:moveTo>
                    <a:pt x="4135536" y="2642597"/>
                  </a:moveTo>
                  <a:cubicBezTo>
                    <a:pt x="4131126" y="2628443"/>
                    <a:pt x="4129068" y="2613555"/>
                    <a:pt x="4123820" y="2599382"/>
                  </a:cubicBezTo>
                  <a:cubicBezTo>
                    <a:pt x="4116819" y="2579494"/>
                    <a:pt x="4117258" y="2579313"/>
                    <a:pt x="4139536" y="2571369"/>
                  </a:cubicBezTo>
                  <a:cubicBezTo>
                    <a:pt x="4137593" y="2605754"/>
                    <a:pt x="4155843" y="2633548"/>
                    <a:pt x="4167264" y="2663742"/>
                  </a:cubicBezTo>
                  <a:cubicBezTo>
                    <a:pt x="4178894" y="2694508"/>
                    <a:pt x="4180570" y="2726979"/>
                    <a:pt x="4170293" y="2759345"/>
                  </a:cubicBezTo>
                  <a:cubicBezTo>
                    <a:pt x="4163873" y="2718692"/>
                    <a:pt x="4147690" y="2681278"/>
                    <a:pt x="4135536" y="2642597"/>
                  </a:cubicBezTo>
                  <a:close/>
                  <a:moveTo>
                    <a:pt x="4150243" y="2782281"/>
                  </a:moveTo>
                  <a:cubicBezTo>
                    <a:pt x="4120906" y="2765717"/>
                    <a:pt x="4115610" y="2736485"/>
                    <a:pt x="4103208" y="2707434"/>
                  </a:cubicBezTo>
                  <a:cubicBezTo>
                    <a:pt x="4129354" y="2718854"/>
                    <a:pt x="4144632" y="2744295"/>
                    <a:pt x="4150243" y="2782281"/>
                  </a:cubicBezTo>
                  <a:close/>
                  <a:moveTo>
                    <a:pt x="4129869" y="2700052"/>
                  </a:moveTo>
                  <a:cubicBezTo>
                    <a:pt x="4111581" y="2689394"/>
                    <a:pt x="4095579" y="2676925"/>
                    <a:pt x="4082482" y="2660323"/>
                  </a:cubicBezTo>
                  <a:cubicBezTo>
                    <a:pt x="4113638" y="2652979"/>
                    <a:pt x="4130745" y="2667629"/>
                    <a:pt x="4129869" y="2700052"/>
                  </a:cubicBezTo>
                  <a:close/>
                  <a:moveTo>
                    <a:pt x="4080825" y="2608869"/>
                  </a:moveTo>
                  <a:cubicBezTo>
                    <a:pt x="4061708" y="2602011"/>
                    <a:pt x="4045544" y="2577884"/>
                    <a:pt x="4046353" y="2555882"/>
                  </a:cubicBezTo>
                  <a:cubicBezTo>
                    <a:pt x="4071137" y="2561758"/>
                    <a:pt x="4078434" y="2582885"/>
                    <a:pt x="4090778" y="2598715"/>
                  </a:cubicBezTo>
                  <a:cubicBezTo>
                    <a:pt x="4094378" y="2603126"/>
                    <a:pt x="4089987" y="2605002"/>
                    <a:pt x="4088140" y="2607840"/>
                  </a:cubicBezTo>
                  <a:cubicBezTo>
                    <a:pt x="4086082" y="2611022"/>
                    <a:pt x="4084025" y="2609974"/>
                    <a:pt x="4080825" y="2608869"/>
                  </a:cubicBezTo>
                  <a:close/>
                  <a:moveTo>
                    <a:pt x="4061222" y="2530945"/>
                  </a:moveTo>
                  <a:cubicBezTo>
                    <a:pt x="4057907" y="2528535"/>
                    <a:pt x="4051106" y="2527516"/>
                    <a:pt x="4053954" y="2521258"/>
                  </a:cubicBezTo>
                  <a:cubicBezTo>
                    <a:pt x="4056459" y="2515515"/>
                    <a:pt x="4062584" y="2512819"/>
                    <a:pt x="4067880" y="2510133"/>
                  </a:cubicBezTo>
                  <a:cubicBezTo>
                    <a:pt x="4072766" y="2507456"/>
                    <a:pt x="4076081" y="2511038"/>
                    <a:pt x="4078996" y="2515095"/>
                  </a:cubicBezTo>
                  <a:cubicBezTo>
                    <a:pt x="4085816" y="2524363"/>
                    <a:pt x="4094703" y="2532298"/>
                    <a:pt x="4094216" y="2546814"/>
                  </a:cubicBezTo>
                  <a:cubicBezTo>
                    <a:pt x="4081748" y="2543489"/>
                    <a:pt x="4070890" y="2538127"/>
                    <a:pt x="4061222" y="2530945"/>
                  </a:cubicBezTo>
                  <a:close/>
                  <a:moveTo>
                    <a:pt x="4034571" y="2509333"/>
                  </a:moveTo>
                  <a:cubicBezTo>
                    <a:pt x="4021350" y="2521258"/>
                    <a:pt x="4016112" y="2518172"/>
                    <a:pt x="4008596" y="2502037"/>
                  </a:cubicBezTo>
                  <a:cubicBezTo>
                    <a:pt x="4002605" y="2489064"/>
                    <a:pt x="3998386" y="2476176"/>
                    <a:pt x="4000814" y="2463060"/>
                  </a:cubicBezTo>
                  <a:cubicBezTo>
                    <a:pt x="3998271" y="2439448"/>
                    <a:pt x="4004024" y="2420493"/>
                    <a:pt x="4025399" y="2408682"/>
                  </a:cubicBezTo>
                  <a:cubicBezTo>
                    <a:pt x="4036876" y="2402377"/>
                    <a:pt x="4040734" y="2403901"/>
                    <a:pt x="4042705" y="2416855"/>
                  </a:cubicBezTo>
                  <a:cubicBezTo>
                    <a:pt x="4044382" y="2428666"/>
                    <a:pt x="4046325" y="2440448"/>
                    <a:pt x="4051773" y="2450802"/>
                  </a:cubicBezTo>
                  <a:cubicBezTo>
                    <a:pt x="4068880" y="2482758"/>
                    <a:pt x="4062251" y="2484444"/>
                    <a:pt x="4034571" y="2509333"/>
                  </a:cubicBezTo>
                  <a:close/>
                  <a:moveTo>
                    <a:pt x="3747802" y="3184836"/>
                  </a:moveTo>
                  <a:cubicBezTo>
                    <a:pt x="3749935" y="3181131"/>
                    <a:pt x="3752279" y="3177178"/>
                    <a:pt x="3754431" y="3173501"/>
                  </a:cubicBezTo>
                  <a:cubicBezTo>
                    <a:pt x="3751316" y="3158023"/>
                    <a:pt x="3759346" y="3144793"/>
                    <a:pt x="3764051" y="3131239"/>
                  </a:cubicBezTo>
                  <a:cubicBezTo>
                    <a:pt x="3766871" y="3123038"/>
                    <a:pt x="3775310" y="3126715"/>
                    <a:pt x="3781520" y="3128058"/>
                  </a:cubicBezTo>
                  <a:cubicBezTo>
                    <a:pt x="3800637" y="3132535"/>
                    <a:pt x="3808181" y="3127448"/>
                    <a:pt x="3813715" y="3108341"/>
                  </a:cubicBezTo>
                  <a:cubicBezTo>
                    <a:pt x="3819668" y="3087900"/>
                    <a:pt x="3820992" y="3066688"/>
                    <a:pt x="3825850" y="3045971"/>
                  </a:cubicBezTo>
                  <a:cubicBezTo>
                    <a:pt x="3828879" y="3033217"/>
                    <a:pt x="3836489" y="3027455"/>
                    <a:pt x="3847833" y="3032151"/>
                  </a:cubicBezTo>
                  <a:cubicBezTo>
                    <a:pt x="3862902" y="3038551"/>
                    <a:pt x="3879114" y="3042561"/>
                    <a:pt x="3892029" y="3053553"/>
                  </a:cubicBezTo>
                  <a:cubicBezTo>
                    <a:pt x="3919804" y="3067974"/>
                    <a:pt x="3925291" y="3083633"/>
                    <a:pt x="3917280" y="3099635"/>
                  </a:cubicBezTo>
                  <a:cubicBezTo>
                    <a:pt x="3917690" y="3100464"/>
                    <a:pt x="3917280" y="3101293"/>
                    <a:pt x="3916718" y="3102007"/>
                  </a:cubicBezTo>
                  <a:cubicBezTo>
                    <a:pt x="3916337" y="3113713"/>
                    <a:pt x="3912051" y="3124010"/>
                    <a:pt x="3904802" y="3133230"/>
                  </a:cubicBezTo>
                  <a:lnTo>
                    <a:pt x="3904898" y="3133230"/>
                  </a:lnTo>
                  <a:cubicBezTo>
                    <a:pt x="3895068" y="3150432"/>
                    <a:pt x="3890391" y="3168425"/>
                    <a:pt x="3899707" y="3187484"/>
                  </a:cubicBezTo>
                  <a:cubicBezTo>
                    <a:pt x="3901535" y="3187846"/>
                    <a:pt x="3903621" y="3188037"/>
                    <a:pt x="3905422" y="3188627"/>
                  </a:cubicBezTo>
                  <a:cubicBezTo>
                    <a:pt x="3915937" y="3191666"/>
                    <a:pt x="3926176" y="3192399"/>
                    <a:pt x="3921071" y="3209792"/>
                  </a:cubicBezTo>
                  <a:cubicBezTo>
                    <a:pt x="3914613" y="3231623"/>
                    <a:pt x="3915242" y="3255588"/>
                    <a:pt x="3901631" y="3275505"/>
                  </a:cubicBezTo>
                  <a:cubicBezTo>
                    <a:pt x="3899707" y="3285811"/>
                    <a:pt x="3891086" y="3290830"/>
                    <a:pt x="3882476" y="3292831"/>
                  </a:cubicBezTo>
                  <a:cubicBezTo>
                    <a:pt x="3875913" y="3294364"/>
                    <a:pt x="3870208" y="3297812"/>
                    <a:pt x="3863712" y="3299060"/>
                  </a:cubicBezTo>
                  <a:cubicBezTo>
                    <a:pt x="3850843" y="3304223"/>
                    <a:pt x="3854644" y="3316843"/>
                    <a:pt x="3851462" y="3326292"/>
                  </a:cubicBezTo>
                  <a:cubicBezTo>
                    <a:pt x="3850396" y="3329683"/>
                    <a:pt x="3852958" y="3334284"/>
                    <a:pt x="3848452" y="3336846"/>
                  </a:cubicBezTo>
                  <a:cubicBezTo>
                    <a:pt x="3845662" y="3354962"/>
                    <a:pt x="3828831" y="3360573"/>
                    <a:pt x="3816782" y="3369917"/>
                  </a:cubicBezTo>
                  <a:cubicBezTo>
                    <a:pt x="3808105" y="3376975"/>
                    <a:pt x="3798199" y="3382518"/>
                    <a:pt x="3791607" y="3391538"/>
                  </a:cubicBezTo>
                  <a:cubicBezTo>
                    <a:pt x="3781092" y="3402101"/>
                    <a:pt x="3778530" y="3415046"/>
                    <a:pt x="3778939" y="3428991"/>
                  </a:cubicBezTo>
                  <a:cubicBezTo>
                    <a:pt x="3776682" y="3440106"/>
                    <a:pt x="3775805" y="3451546"/>
                    <a:pt x="3767023" y="3460299"/>
                  </a:cubicBezTo>
                  <a:cubicBezTo>
                    <a:pt x="3762299" y="3467243"/>
                    <a:pt x="3756851" y="3473034"/>
                    <a:pt x="3748068" y="3475015"/>
                  </a:cubicBezTo>
                  <a:cubicBezTo>
                    <a:pt x="3731924" y="3482388"/>
                    <a:pt x="3732238" y="3481959"/>
                    <a:pt x="3728923" y="3465367"/>
                  </a:cubicBezTo>
                  <a:cubicBezTo>
                    <a:pt x="3723961" y="3440106"/>
                    <a:pt x="3725713" y="3415303"/>
                    <a:pt x="3731695" y="3390319"/>
                  </a:cubicBezTo>
                  <a:cubicBezTo>
                    <a:pt x="3736619" y="3369221"/>
                    <a:pt x="3751050" y="3360144"/>
                    <a:pt x="3769690" y="3355553"/>
                  </a:cubicBezTo>
                  <a:cubicBezTo>
                    <a:pt x="3782320" y="3352400"/>
                    <a:pt x="3793579" y="3347104"/>
                    <a:pt x="3805066" y="3340646"/>
                  </a:cubicBezTo>
                  <a:cubicBezTo>
                    <a:pt x="3792236" y="3328216"/>
                    <a:pt x="3779225" y="3328407"/>
                    <a:pt x="3765223" y="3335846"/>
                  </a:cubicBezTo>
                  <a:cubicBezTo>
                    <a:pt x="3761518" y="3337865"/>
                    <a:pt x="3756755" y="3342542"/>
                    <a:pt x="3752784" y="3338465"/>
                  </a:cubicBezTo>
                  <a:cubicBezTo>
                    <a:pt x="3748469" y="3334427"/>
                    <a:pt x="3752307" y="3329235"/>
                    <a:pt x="3753803" y="3324444"/>
                  </a:cubicBezTo>
                  <a:cubicBezTo>
                    <a:pt x="3759860" y="3305909"/>
                    <a:pt x="3775834" y="3296812"/>
                    <a:pt x="3790712" y="3287420"/>
                  </a:cubicBezTo>
                  <a:cubicBezTo>
                    <a:pt x="3808905" y="3276257"/>
                    <a:pt x="3829145" y="3268132"/>
                    <a:pt x="3844328" y="3252607"/>
                  </a:cubicBezTo>
                  <a:cubicBezTo>
                    <a:pt x="3845995" y="3250997"/>
                    <a:pt x="3848243" y="3249235"/>
                    <a:pt x="3847367" y="3245682"/>
                  </a:cubicBezTo>
                  <a:cubicBezTo>
                    <a:pt x="3839975" y="3240910"/>
                    <a:pt x="3833355" y="3247644"/>
                    <a:pt x="3825707" y="3247416"/>
                  </a:cubicBezTo>
                  <a:cubicBezTo>
                    <a:pt x="3811133" y="3247054"/>
                    <a:pt x="3808714" y="3244853"/>
                    <a:pt x="3815239" y="3232128"/>
                  </a:cubicBezTo>
                  <a:cubicBezTo>
                    <a:pt x="3826545" y="3210144"/>
                    <a:pt x="3836165" y="3187208"/>
                    <a:pt x="3844947" y="3164158"/>
                  </a:cubicBezTo>
                  <a:cubicBezTo>
                    <a:pt x="3850681" y="3148851"/>
                    <a:pt x="3854149" y="3132973"/>
                    <a:pt x="3857416" y="3117152"/>
                  </a:cubicBezTo>
                  <a:cubicBezTo>
                    <a:pt x="3857959" y="3114789"/>
                    <a:pt x="3857416" y="3112132"/>
                    <a:pt x="3857454" y="3109665"/>
                  </a:cubicBezTo>
                  <a:cubicBezTo>
                    <a:pt x="3857692" y="3102959"/>
                    <a:pt x="3854901" y="3095330"/>
                    <a:pt x="3849710" y="3094349"/>
                  </a:cubicBezTo>
                  <a:cubicBezTo>
                    <a:pt x="3843652" y="3093044"/>
                    <a:pt x="3841061" y="3101245"/>
                    <a:pt x="3838623" y="3106436"/>
                  </a:cubicBezTo>
                  <a:cubicBezTo>
                    <a:pt x="3834765" y="3115142"/>
                    <a:pt x="3831889" y="3124076"/>
                    <a:pt x="3828736" y="3132963"/>
                  </a:cubicBezTo>
                  <a:cubicBezTo>
                    <a:pt x="3827107" y="3148156"/>
                    <a:pt x="3823554" y="3162595"/>
                    <a:pt x="3817068" y="3176492"/>
                  </a:cubicBezTo>
                  <a:cubicBezTo>
                    <a:pt x="3816658" y="3178340"/>
                    <a:pt x="3816487" y="3180207"/>
                    <a:pt x="3816201" y="3182227"/>
                  </a:cubicBezTo>
                  <a:cubicBezTo>
                    <a:pt x="3815325" y="3190504"/>
                    <a:pt x="3813534" y="3198362"/>
                    <a:pt x="3807247" y="3204696"/>
                  </a:cubicBezTo>
                  <a:cubicBezTo>
                    <a:pt x="3807400" y="3205286"/>
                    <a:pt x="3807247" y="3205858"/>
                    <a:pt x="3806924" y="3206420"/>
                  </a:cubicBezTo>
                  <a:cubicBezTo>
                    <a:pt x="3807581" y="3216383"/>
                    <a:pt x="3799789" y="3222231"/>
                    <a:pt x="3794951" y="3229413"/>
                  </a:cubicBezTo>
                  <a:cubicBezTo>
                    <a:pt x="3792017" y="3232833"/>
                    <a:pt x="3789836" y="3236881"/>
                    <a:pt x="3783511" y="3237738"/>
                  </a:cubicBezTo>
                  <a:cubicBezTo>
                    <a:pt x="3780406" y="3222451"/>
                    <a:pt x="3785664" y="3206239"/>
                    <a:pt x="3778701" y="3191990"/>
                  </a:cubicBezTo>
                  <a:cubicBezTo>
                    <a:pt x="3775053" y="3184284"/>
                    <a:pt x="3775196" y="3171625"/>
                    <a:pt x="3760880" y="3173740"/>
                  </a:cubicBezTo>
                  <a:cubicBezTo>
                    <a:pt x="3761242" y="3193999"/>
                    <a:pt x="3760337" y="3214107"/>
                    <a:pt x="3762985" y="3234538"/>
                  </a:cubicBezTo>
                  <a:cubicBezTo>
                    <a:pt x="3765719" y="3258760"/>
                    <a:pt x="3756860" y="3281610"/>
                    <a:pt x="3742163" y="3302079"/>
                  </a:cubicBezTo>
                  <a:cubicBezTo>
                    <a:pt x="3738801" y="3307033"/>
                    <a:pt x="3737382" y="3305347"/>
                    <a:pt x="3734162" y="3303394"/>
                  </a:cubicBezTo>
                  <a:cubicBezTo>
                    <a:pt x="3729228" y="3300079"/>
                    <a:pt x="3724104" y="3297022"/>
                    <a:pt x="3719132" y="3293631"/>
                  </a:cubicBezTo>
                  <a:cubicBezTo>
                    <a:pt x="3716312" y="3292869"/>
                    <a:pt x="3713321" y="3291954"/>
                    <a:pt x="3710397" y="3291021"/>
                  </a:cubicBezTo>
                  <a:cubicBezTo>
                    <a:pt x="3709207" y="3315910"/>
                    <a:pt x="3719036" y="3339761"/>
                    <a:pt x="3716569" y="3364887"/>
                  </a:cubicBezTo>
                  <a:cubicBezTo>
                    <a:pt x="3716217" y="3369755"/>
                    <a:pt x="3716312" y="3374946"/>
                    <a:pt x="3715960" y="3379918"/>
                  </a:cubicBezTo>
                  <a:cubicBezTo>
                    <a:pt x="3716426" y="3380956"/>
                    <a:pt x="3716503" y="3381928"/>
                    <a:pt x="3716312" y="3382880"/>
                  </a:cubicBezTo>
                  <a:cubicBezTo>
                    <a:pt x="3716979" y="3391129"/>
                    <a:pt x="3717617" y="3399244"/>
                    <a:pt x="3710178" y="3405407"/>
                  </a:cubicBezTo>
                  <a:cubicBezTo>
                    <a:pt x="3710007" y="3407007"/>
                    <a:pt x="3710150" y="3408959"/>
                    <a:pt x="3709321" y="3409874"/>
                  </a:cubicBezTo>
                  <a:cubicBezTo>
                    <a:pt x="3705149" y="3414141"/>
                    <a:pt x="3701053" y="3422056"/>
                    <a:pt x="3694871" y="3419199"/>
                  </a:cubicBezTo>
                  <a:cubicBezTo>
                    <a:pt x="3687671" y="3415875"/>
                    <a:pt x="3691319" y="3407626"/>
                    <a:pt x="3692909" y="3401606"/>
                  </a:cubicBezTo>
                  <a:cubicBezTo>
                    <a:pt x="3696700" y="3388100"/>
                    <a:pt x="3700625" y="3374793"/>
                    <a:pt x="3704606" y="3361401"/>
                  </a:cubicBezTo>
                  <a:lnTo>
                    <a:pt x="3704606" y="3336941"/>
                  </a:lnTo>
                  <a:cubicBezTo>
                    <a:pt x="3701244" y="3325463"/>
                    <a:pt x="3697310" y="3314043"/>
                    <a:pt x="3694891" y="3302327"/>
                  </a:cubicBezTo>
                  <a:cubicBezTo>
                    <a:pt x="3690633" y="3283344"/>
                    <a:pt x="3698005" y="3267980"/>
                    <a:pt x="3714159" y="3257960"/>
                  </a:cubicBezTo>
                  <a:cubicBezTo>
                    <a:pt x="3723256" y="3252435"/>
                    <a:pt x="3727875" y="3245844"/>
                    <a:pt x="3730524" y="3235938"/>
                  </a:cubicBezTo>
                  <a:cubicBezTo>
                    <a:pt x="3735410" y="3218612"/>
                    <a:pt x="3741973" y="3201753"/>
                    <a:pt x="3747802" y="3184836"/>
                  </a:cubicBezTo>
                  <a:close/>
                  <a:moveTo>
                    <a:pt x="3948941" y="3296117"/>
                  </a:moveTo>
                  <a:cubicBezTo>
                    <a:pt x="3939626" y="3292783"/>
                    <a:pt x="3926224" y="3297326"/>
                    <a:pt x="3921052" y="3286211"/>
                  </a:cubicBezTo>
                  <a:cubicBezTo>
                    <a:pt x="3918166" y="3279934"/>
                    <a:pt x="3933206" y="3253578"/>
                    <a:pt x="3937502" y="3253407"/>
                  </a:cubicBezTo>
                  <a:cubicBezTo>
                    <a:pt x="3945026" y="3252797"/>
                    <a:pt x="3958085" y="3275524"/>
                    <a:pt x="3957943" y="3289316"/>
                  </a:cubicBezTo>
                  <a:cubicBezTo>
                    <a:pt x="3959609" y="3296669"/>
                    <a:pt x="3954132" y="3298041"/>
                    <a:pt x="3948941" y="3296117"/>
                  </a:cubicBezTo>
                  <a:close/>
                  <a:moveTo>
                    <a:pt x="3964276" y="3324444"/>
                  </a:moveTo>
                  <a:cubicBezTo>
                    <a:pt x="3965239" y="3330512"/>
                    <a:pt x="3959867" y="3330121"/>
                    <a:pt x="3956161" y="3331493"/>
                  </a:cubicBezTo>
                  <a:cubicBezTo>
                    <a:pt x="3951713" y="3333026"/>
                    <a:pt x="3947398" y="3336731"/>
                    <a:pt x="3943188" y="3336351"/>
                  </a:cubicBezTo>
                  <a:cubicBezTo>
                    <a:pt x="3912451" y="3333712"/>
                    <a:pt x="3904307" y="3354029"/>
                    <a:pt x="3899707" y="3377222"/>
                  </a:cubicBezTo>
                  <a:cubicBezTo>
                    <a:pt x="3897573" y="3388090"/>
                    <a:pt x="3892029" y="3389891"/>
                    <a:pt x="3883266" y="3385680"/>
                  </a:cubicBezTo>
                  <a:cubicBezTo>
                    <a:pt x="3865417" y="3377336"/>
                    <a:pt x="3849424" y="3378003"/>
                    <a:pt x="3834946" y="3392510"/>
                  </a:cubicBezTo>
                  <a:cubicBezTo>
                    <a:pt x="3832317" y="3395082"/>
                    <a:pt x="3829164" y="3402368"/>
                    <a:pt x="3824259" y="3395968"/>
                  </a:cubicBezTo>
                  <a:cubicBezTo>
                    <a:pt x="3820754" y="3391538"/>
                    <a:pt x="3823745" y="3384966"/>
                    <a:pt x="3827031" y="3382070"/>
                  </a:cubicBezTo>
                  <a:cubicBezTo>
                    <a:pt x="3833175" y="3376193"/>
                    <a:pt x="3840585" y="3371412"/>
                    <a:pt x="3848214" y="3367869"/>
                  </a:cubicBezTo>
                  <a:cubicBezTo>
                    <a:pt x="3865664" y="3359553"/>
                    <a:pt x="3876437" y="3345494"/>
                    <a:pt x="3878028" y="3327940"/>
                  </a:cubicBezTo>
                  <a:cubicBezTo>
                    <a:pt x="3879333" y="3314967"/>
                    <a:pt x="3882838" y="3310347"/>
                    <a:pt x="3895106" y="3311585"/>
                  </a:cubicBezTo>
                  <a:cubicBezTo>
                    <a:pt x="3900916" y="3312176"/>
                    <a:pt x="3906669" y="3311585"/>
                    <a:pt x="3908898" y="3311585"/>
                  </a:cubicBezTo>
                  <a:cubicBezTo>
                    <a:pt x="3927196" y="3310347"/>
                    <a:pt x="3941502" y="3311585"/>
                    <a:pt x="3955390" y="3316938"/>
                  </a:cubicBezTo>
                  <a:cubicBezTo>
                    <a:pt x="3959552" y="3318453"/>
                    <a:pt x="3963486" y="3319501"/>
                    <a:pt x="3964276" y="3324444"/>
                  </a:cubicBezTo>
                  <a:close/>
                  <a:moveTo>
                    <a:pt x="3737848" y="3628073"/>
                  </a:moveTo>
                  <a:cubicBezTo>
                    <a:pt x="3757184" y="3633835"/>
                    <a:pt x="3765690" y="3648913"/>
                    <a:pt x="3760308" y="3669697"/>
                  </a:cubicBezTo>
                  <a:cubicBezTo>
                    <a:pt x="3757451" y="3680374"/>
                    <a:pt x="3752469" y="3691338"/>
                    <a:pt x="3746126" y="3700548"/>
                  </a:cubicBezTo>
                  <a:cubicBezTo>
                    <a:pt x="3737020" y="3713607"/>
                    <a:pt x="3722170" y="3705968"/>
                    <a:pt x="3709968" y="3706368"/>
                  </a:cubicBezTo>
                  <a:cubicBezTo>
                    <a:pt x="3701291" y="3706540"/>
                    <a:pt x="3702996" y="3696843"/>
                    <a:pt x="3700729" y="3690490"/>
                  </a:cubicBezTo>
                  <a:cubicBezTo>
                    <a:pt x="3695605" y="3675774"/>
                    <a:pt x="3698443" y="3660553"/>
                    <a:pt x="3695605" y="3645570"/>
                  </a:cubicBezTo>
                  <a:cubicBezTo>
                    <a:pt x="3692852" y="3629920"/>
                    <a:pt x="3690585" y="3625520"/>
                    <a:pt x="3717951" y="3626320"/>
                  </a:cubicBezTo>
                  <a:cubicBezTo>
                    <a:pt x="3724627" y="3626777"/>
                    <a:pt x="3731733" y="3626015"/>
                    <a:pt x="3737848" y="3628073"/>
                  </a:cubicBezTo>
                  <a:close/>
                  <a:moveTo>
                    <a:pt x="3678374" y="3190028"/>
                  </a:moveTo>
                  <a:cubicBezTo>
                    <a:pt x="3686975" y="3175635"/>
                    <a:pt x="3699443" y="3169501"/>
                    <a:pt x="3715369" y="3167196"/>
                  </a:cubicBezTo>
                  <a:cubicBezTo>
                    <a:pt x="3724694" y="3165729"/>
                    <a:pt x="3727999" y="3170349"/>
                    <a:pt x="3725551" y="3178331"/>
                  </a:cubicBezTo>
                  <a:cubicBezTo>
                    <a:pt x="3719960" y="3195857"/>
                    <a:pt x="3710483" y="3212278"/>
                    <a:pt x="3713216" y="3231623"/>
                  </a:cubicBezTo>
                  <a:cubicBezTo>
                    <a:pt x="3713512" y="3235585"/>
                    <a:pt x="3709368" y="3237814"/>
                    <a:pt x="3706511" y="3239633"/>
                  </a:cubicBezTo>
                  <a:cubicBezTo>
                    <a:pt x="3696243" y="3246673"/>
                    <a:pt x="3685566" y="3253083"/>
                    <a:pt x="3673955" y="3260589"/>
                  </a:cubicBezTo>
                  <a:cubicBezTo>
                    <a:pt x="3668382" y="3235909"/>
                    <a:pt x="3664734" y="3212868"/>
                    <a:pt x="3678374" y="3190028"/>
                  </a:cubicBezTo>
                  <a:close/>
                  <a:moveTo>
                    <a:pt x="3570008" y="3343770"/>
                  </a:moveTo>
                  <a:cubicBezTo>
                    <a:pt x="3601184" y="3316462"/>
                    <a:pt x="3619862" y="3279429"/>
                    <a:pt x="3646532" y="3248311"/>
                  </a:cubicBezTo>
                  <a:cubicBezTo>
                    <a:pt x="3651980" y="3258122"/>
                    <a:pt x="3650333" y="3269361"/>
                    <a:pt x="3653571" y="3279667"/>
                  </a:cubicBezTo>
                  <a:cubicBezTo>
                    <a:pt x="3655162" y="3285430"/>
                    <a:pt x="3652218" y="3286897"/>
                    <a:pt x="3646113" y="3287783"/>
                  </a:cubicBezTo>
                  <a:cubicBezTo>
                    <a:pt x="3627577" y="3290240"/>
                    <a:pt x="3614566" y="3299422"/>
                    <a:pt x="3605260" y="3316786"/>
                  </a:cubicBezTo>
                  <a:cubicBezTo>
                    <a:pt x="3598555" y="3329331"/>
                    <a:pt x="3590954" y="3343627"/>
                    <a:pt x="3576047" y="3350428"/>
                  </a:cubicBezTo>
                  <a:cubicBezTo>
                    <a:pt x="3573390" y="3351466"/>
                    <a:pt x="3572094" y="3357210"/>
                    <a:pt x="3567779" y="3352486"/>
                  </a:cubicBezTo>
                  <a:cubicBezTo>
                    <a:pt x="3563865" y="3348295"/>
                    <a:pt x="3567522" y="3345923"/>
                    <a:pt x="3570008" y="3343770"/>
                  </a:cubicBezTo>
                  <a:close/>
                  <a:moveTo>
                    <a:pt x="3580991" y="3428409"/>
                  </a:moveTo>
                  <a:cubicBezTo>
                    <a:pt x="3569294" y="3423295"/>
                    <a:pt x="3567874" y="3413951"/>
                    <a:pt x="3569675" y="3402435"/>
                  </a:cubicBezTo>
                  <a:cubicBezTo>
                    <a:pt x="3581714" y="3408388"/>
                    <a:pt x="3583419" y="3417465"/>
                    <a:pt x="3580991" y="3428409"/>
                  </a:cubicBezTo>
                  <a:close/>
                  <a:moveTo>
                    <a:pt x="3567779" y="3452213"/>
                  </a:moveTo>
                  <a:cubicBezTo>
                    <a:pt x="3573961" y="3456289"/>
                    <a:pt x="3579076" y="3462033"/>
                    <a:pt x="3584810" y="3467052"/>
                  </a:cubicBezTo>
                  <a:cubicBezTo>
                    <a:pt x="3591725" y="3466157"/>
                    <a:pt x="3599526" y="3467929"/>
                    <a:pt x="3603622" y="3459804"/>
                  </a:cubicBezTo>
                  <a:cubicBezTo>
                    <a:pt x="3612509" y="3435649"/>
                    <a:pt x="3600231" y="3414455"/>
                    <a:pt x="3593573" y="3392462"/>
                  </a:cubicBezTo>
                  <a:cubicBezTo>
                    <a:pt x="3586658" y="3383233"/>
                    <a:pt x="3588277" y="3374793"/>
                    <a:pt x="3594049" y="3365192"/>
                  </a:cubicBezTo>
                  <a:cubicBezTo>
                    <a:pt x="3601660" y="3352229"/>
                    <a:pt x="3607632" y="3338151"/>
                    <a:pt x="3614433" y="3324616"/>
                  </a:cubicBezTo>
                  <a:cubicBezTo>
                    <a:pt x="3617576" y="3318672"/>
                    <a:pt x="3620633" y="3312624"/>
                    <a:pt x="3628387" y="3311909"/>
                  </a:cubicBezTo>
                  <a:cubicBezTo>
                    <a:pt x="3649571" y="3299851"/>
                    <a:pt x="3664334" y="3305251"/>
                    <a:pt x="3676041" y="3324902"/>
                  </a:cubicBezTo>
                  <a:cubicBezTo>
                    <a:pt x="3693928" y="3354696"/>
                    <a:pt x="3681003" y="3379585"/>
                    <a:pt x="3666668" y="3404873"/>
                  </a:cubicBezTo>
                  <a:cubicBezTo>
                    <a:pt x="3663715" y="3416960"/>
                    <a:pt x="3655162" y="3428409"/>
                    <a:pt x="3663429" y="3441411"/>
                  </a:cubicBezTo>
                  <a:cubicBezTo>
                    <a:pt x="3664544" y="3441649"/>
                    <a:pt x="3665487" y="3441840"/>
                    <a:pt x="3666668" y="3442097"/>
                  </a:cubicBezTo>
                  <a:cubicBezTo>
                    <a:pt x="3673516" y="3440125"/>
                    <a:pt x="3679489" y="3443983"/>
                    <a:pt x="3685861" y="3445412"/>
                  </a:cubicBezTo>
                  <a:cubicBezTo>
                    <a:pt x="3687642" y="3445412"/>
                    <a:pt x="3689309" y="3445412"/>
                    <a:pt x="3691052" y="3445297"/>
                  </a:cubicBezTo>
                  <a:cubicBezTo>
                    <a:pt x="3697710" y="3447450"/>
                    <a:pt x="3706863" y="3444469"/>
                    <a:pt x="3709940" y="3454013"/>
                  </a:cubicBezTo>
                  <a:cubicBezTo>
                    <a:pt x="3709968" y="3455965"/>
                    <a:pt x="3710207" y="3457832"/>
                    <a:pt x="3710483" y="3459823"/>
                  </a:cubicBezTo>
                  <a:cubicBezTo>
                    <a:pt x="3718398" y="3475920"/>
                    <a:pt x="3711035" y="3488360"/>
                    <a:pt x="3701215" y="3500352"/>
                  </a:cubicBezTo>
                  <a:cubicBezTo>
                    <a:pt x="3696605" y="3509086"/>
                    <a:pt x="3690061" y="3517430"/>
                    <a:pt x="3694138" y="3528451"/>
                  </a:cubicBezTo>
                  <a:cubicBezTo>
                    <a:pt x="3695291" y="3529498"/>
                    <a:pt x="3696481" y="3530679"/>
                    <a:pt x="3697596" y="3531765"/>
                  </a:cubicBezTo>
                  <a:cubicBezTo>
                    <a:pt x="3709178" y="3545158"/>
                    <a:pt x="3726390" y="3554825"/>
                    <a:pt x="3723399" y="3577276"/>
                  </a:cubicBezTo>
                  <a:cubicBezTo>
                    <a:pt x="3722113" y="3586172"/>
                    <a:pt x="3720608" y="3592421"/>
                    <a:pt x="3712188" y="3596697"/>
                  </a:cubicBezTo>
                  <a:cubicBezTo>
                    <a:pt x="3701749" y="3602165"/>
                    <a:pt x="3692052" y="3608737"/>
                    <a:pt x="3682079" y="3614757"/>
                  </a:cubicBezTo>
                  <a:cubicBezTo>
                    <a:pt x="3675869" y="3618805"/>
                    <a:pt x="3669821" y="3622939"/>
                    <a:pt x="3663506" y="3627006"/>
                  </a:cubicBezTo>
                  <a:cubicBezTo>
                    <a:pt x="3658591" y="3643551"/>
                    <a:pt x="3675107" y="3651142"/>
                    <a:pt x="3679546" y="3663829"/>
                  </a:cubicBezTo>
                  <a:cubicBezTo>
                    <a:pt x="3684889" y="3670316"/>
                    <a:pt x="3682356" y="3676488"/>
                    <a:pt x="3678850" y="3682527"/>
                  </a:cubicBezTo>
                  <a:cubicBezTo>
                    <a:pt x="3674755" y="3699234"/>
                    <a:pt x="3669097" y="3715188"/>
                    <a:pt x="3654142" y="3725875"/>
                  </a:cubicBezTo>
                  <a:cubicBezTo>
                    <a:pt x="3645046" y="3744563"/>
                    <a:pt x="3630987" y="3750126"/>
                    <a:pt x="3610070" y="3743735"/>
                  </a:cubicBezTo>
                  <a:cubicBezTo>
                    <a:pt x="3608013" y="3744106"/>
                    <a:pt x="3607175" y="3743144"/>
                    <a:pt x="3606803" y="3741449"/>
                  </a:cubicBezTo>
                  <a:cubicBezTo>
                    <a:pt x="3596850" y="3739458"/>
                    <a:pt x="3587153" y="3736810"/>
                    <a:pt x="3578362" y="3731838"/>
                  </a:cubicBezTo>
                  <a:cubicBezTo>
                    <a:pt x="3573256" y="3731124"/>
                    <a:pt x="3570923" y="3734467"/>
                    <a:pt x="3568722" y="3738153"/>
                  </a:cubicBezTo>
                  <a:cubicBezTo>
                    <a:pt x="3567589" y="3746392"/>
                    <a:pt x="3566779" y="3754850"/>
                    <a:pt x="3565884" y="3763166"/>
                  </a:cubicBezTo>
                  <a:cubicBezTo>
                    <a:pt x="3566522" y="3763690"/>
                    <a:pt x="3566636" y="3764518"/>
                    <a:pt x="3566379" y="3765156"/>
                  </a:cubicBezTo>
                  <a:cubicBezTo>
                    <a:pt x="3578895" y="3776710"/>
                    <a:pt x="3577161" y="3788169"/>
                    <a:pt x="3566522" y="3799761"/>
                  </a:cubicBezTo>
                  <a:cubicBezTo>
                    <a:pt x="3562569" y="3810057"/>
                    <a:pt x="3552777" y="3814563"/>
                    <a:pt x="3544862" y="3820630"/>
                  </a:cubicBezTo>
                  <a:cubicBezTo>
                    <a:pt x="3529175" y="3829584"/>
                    <a:pt x="3512715" y="3836108"/>
                    <a:pt x="3494323" y="3837003"/>
                  </a:cubicBezTo>
                  <a:cubicBezTo>
                    <a:pt x="3487665" y="3842842"/>
                    <a:pt x="3479854" y="3839099"/>
                    <a:pt x="3472482" y="3839537"/>
                  </a:cubicBezTo>
                  <a:cubicBezTo>
                    <a:pt x="3468500" y="3839947"/>
                    <a:pt x="3461861" y="3842347"/>
                    <a:pt x="3460414" y="3836861"/>
                  </a:cubicBezTo>
                  <a:cubicBezTo>
                    <a:pt x="3459499" y="3832936"/>
                    <a:pt x="3464252" y="3829260"/>
                    <a:pt x="3468881" y="3827764"/>
                  </a:cubicBezTo>
                  <a:cubicBezTo>
                    <a:pt x="3485626" y="3817220"/>
                    <a:pt x="3506153" y="3817544"/>
                    <a:pt x="3523869" y="3809514"/>
                  </a:cubicBezTo>
                  <a:cubicBezTo>
                    <a:pt x="3528279" y="3807619"/>
                    <a:pt x="3533156" y="3806095"/>
                    <a:pt x="3537709" y="3804409"/>
                  </a:cubicBezTo>
                  <a:cubicBezTo>
                    <a:pt x="3537109" y="3802656"/>
                    <a:pt x="3537099" y="3801332"/>
                    <a:pt x="3536471" y="3800789"/>
                  </a:cubicBezTo>
                  <a:cubicBezTo>
                    <a:pt x="3514277" y="3787864"/>
                    <a:pt x="3514134" y="3787864"/>
                    <a:pt x="3528022" y="3767004"/>
                  </a:cubicBezTo>
                  <a:cubicBezTo>
                    <a:pt x="3542119" y="3745840"/>
                    <a:pt x="3556978" y="3725218"/>
                    <a:pt x="3570541" y="3703720"/>
                  </a:cubicBezTo>
                  <a:cubicBezTo>
                    <a:pt x="3575142" y="3696224"/>
                    <a:pt x="3580114" y="3694833"/>
                    <a:pt x="3587963" y="3694567"/>
                  </a:cubicBezTo>
                  <a:cubicBezTo>
                    <a:pt x="3604860" y="3693814"/>
                    <a:pt x="3622434" y="3699072"/>
                    <a:pt x="3638198" y="3688423"/>
                  </a:cubicBezTo>
                  <a:cubicBezTo>
                    <a:pt x="3640760" y="3686823"/>
                    <a:pt x="3643475" y="3685489"/>
                    <a:pt x="3644208" y="3681146"/>
                  </a:cubicBezTo>
                  <a:cubicBezTo>
                    <a:pt x="3627577" y="3676460"/>
                    <a:pt x="3610870" y="3670887"/>
                    <a:pt x="3593649" y="3667382"/>
                  </a:cubicBezTo>
                  <a:cubicBezTo>
                    <a:pt x="3584362" y="3665649"/>
                    <a:pt x="3585077" y="3663344"/>
                    <a:pt x="3587439" y="3655571"/>
                  </a:cubicBezTo>
                  <a:cubicBezTo>
                    <a:pt x="3593935" y="3634711"/>
                    <a:pt x="3608832" y="3621443"/>
                    <a:pt x="3625987" y="3610042"/>
                  </a:cubicBezTo>
                  <a:cubicBezTo>
                    <a:pt x="3640608" y="3600202"/>
                    <a:pt x="3653647" y="3588896"/>
                    <a:pt x="3666296" y="3577038"/>
                  </a:cubicBezTo>
                  <a:cubicBezTo>
                    <a:pt x="3666458" y="3573656"/>
                    <a:pt x="3666268" y="3570732"/>
                    <a:pt x="3661362" y="3572047"/>
                  </a:cubicBezTo>
                  <a:cubicBezTo>
                    <a:pt x="3652342" y="3574428"/>
                    <a:pt x="3643427" y="3577561"/>
                    <a:pt x="3632835" y="3576800"/>
                  </a:cubicBezTo>
                  <a:cubicBezTo>
                    <a:pt x="3638674" y="3564312"/>
                    <a:pt x="3644332" y="3552673"/>
                    <a:pt x="3653638" y="3543357"/>
                  </a:cubicBezTo>
                  <a:cubicBezTo>
                    <a:pt x="3654047" y="3540967"/>
                    <a:pt x="3653876" y="3538309"/>
                    <a:pt x="3656819" y="3536985"/>
                  </a:cubicBezTo>
                  <a:cubicBezTo>
                    <a:pt x="3657076" y="3532851"/>
                    <a:pt x="3659381" y="3530079"/>
                    <a:pt x="3663210" y="3528136"/>
                  </a:cubicBezTo>
                  <a:cubicBezTo>
                    <a:pt x="3666268" y="3518964"/>
                    <a:pt x="3669802" y="3509905"/>
                    <a:pt x="3672269" y="3500666"/>
                  </a:cubicBezTo>
                  <a:cubicBezTo>
                    <a:pt x="3673240" y="3496999"/>
                    <a:pt x="3672831" y="3491418"/>
                    <a:pt x="3670602" y="3489122"/>
                  </a:cubicBezTo>
                  <a:cubicBezTo>
                    <a:pt x="3667535" y="3485779"/>
                    <a:pt x="3662763" y="3489532"/>
                    <a:pt x="3659381" y="3491418"/>
                  </a:cubicBezTo>
                  <a:cubicBezTo>
                    <a:pt x="3645570" y="3499266"/>
                    <a:pt x="3642865" y="3497180"/>
                    <a:pt x="3641208" y="3480302"/>
                  </a:cubicBezTo>
                  <a:cubicBezTo>
                    <a:pt x="3638455" y="3452765"/>
                    <a:pt x="3636159" y="3425457"/>
                    <a:pt x="3641112" y="3397958"/>
                  </a:cubicBezTo>
                  <a:cubicBezTo>
                    <a:pt x="3641751" y="3394043"/>
                    <a:pt x="3640779" y="3389748"/>
                    <a:pt x="3641274" y="3385671"/>
                  </a:cubicBezTo>
                  <a:cubicBezTo>
                    <a:pt x="3642512" y="3372803"/>
                    <a:pt x="3637340" y="3371793"/>
                    <a:pt x="3627273" y="3377622"/>
                  </a:cubicBezTo>
                  <a:cubicBezTo>
                    <a:pt x="3618367" y="3382623"/>
                    <a:pt x="3609737" y="3387414"/>
                    <a:pt x="3609270" y="3399168"/>
                  </a:cubicBezTo>
                  <a:cubicBezTo>
                    <a:pt x="3607870" y="3422828"/>
                    <a:pt x="3615043" y="3445555"/>
                    <a:pt x="3615804" y="3469024"/>
                  </a:cubicBezTo>
                  <a:cubicBezTo>
                    <a:pt x="3615976" y="3470186"/>
                    <a:pt x="3616271" y="3471272"/>
                    <a:pt x="3616424" y="3472624"/>
                  </a:cubicBezTo>
                  <a:cubicBezTo>
                    <a:pt x="3626520" y="3510315"/>
                    <a:pt x="3625253" y="3546767"/>
                    <a:pt x="3603860" y="3581067"/>
                  </a:cubicBezTo>
                  <a:cubicBezTo>
                    <a:pt x="3600564" y="3587353"/>
                    <a:pt x="3597154" y="3593630"/>
                    <a:pt x="3589925" y="3597450"/>
                  </a:cubicBezTo>
                  <a:cubicBezTo>
                    <a:pt x="3583934" y="3579152"/>
                    <a:pt x="3577962" y="3560940"/>
                    <a:pt x="3572513" y="3542595"/>
                  </a:cubicBezTo>
                  <a:cubicBezTo>
                    <a:pt x="3571370" y="3538833"/>
                    <a:pt x="3570541" y="3537176"/>
                    <a:pt x="3566617" y="3538071"/>
                  </a:cubicBezTo>
                  <a:cubicBezTo>
                    <a:pt x="3565474" y="3541062"/>
                    <a:pt x="3567941" y="3545110"/>
                    <a:pt x="3563979" y="3547100"/>
                  </a:cubicBezTo>
                  <a:lnTo>
                    <a:pt x="3563769" y="3547100"/>
                  </a:lnTo>
                  <a:cubicBezTo>
                    <a:pt x="3563465" y="3577419"/>
                    <a:pt x="3563465" y="3607603"/>
                    <a:pt x="3562807" y="3637674"/>
                  </a:cubicBezTo>
                  <a:cubicBezTo>
                    <a:pt x="3562664" y="3642370"/>
                    <a:pt x="3565732" y="3648085"/>
                    <a:pt x="3560245" y="3651733"/>
                  </a:cubicBezTo>
                  <a:lnTo>
                    <a:pt x="3561016" y="3652514"/>
                  </a:lnTo>
                  <a:cubicBezTo>
                    <a:pt x="3561398" y="3653543"/>
                    <a:pt x="3561016" y="3654371"/>
                    <a:pt x="3559997" y="3654885"/>
                  </a:cubicBezTo>
                  <a:cubicBezTo>
                    <a:pt x="3560245" y="3663391"/>
                    <a:pt x="3559769" y="3671973"/>
                    <a:pt x="3554035" y="3679308"/>
                  </a:cubicBezTo>
                  <a:cubicBezTo>
                    <a:pt x="3553682" y="3681927"/>
                    <a:pt x="3553682" y="3684680"/>
                    <a:pt x="3550549" y="3685842"/>
                  </a:cubicBezTo>
                  <a:cubicBezTo>
                    <a:pt x="3550549" y="3686556"/>
                    <a:pt x="3550415" y="3687270"/>
                    <a:pt x="3550034" y="3688099"/>
                  </a:cubicBezTo>
                  <a:cubicBezTo>
                    <a:pt x="3547729" y="3697015"/>
                    <a:pt x="3542548" y="3703996"/>
                    <a:pt x="3536147" y="3710788"/>
                  </a:cubicBezTo>
                  <a:cubicBezTo>
                    <a:pt x="3528851" y="3718465"/>
                    <a:pt x="3526603" y="3714760"/>
                    <a:pt x="3524955" y="3707340"/>
                  </a:cubicBezTo>
                  <a:cubicBezTo>
                    <a:pt x="3517240" y="3701863"/>
                    <a:pt x="3516059" y="3692690"/>
                    <a:pt x="3511220" y="3685842"/>
                  </a:cubicBezTo>
                  <a:cubicBezTo>
                    <a:pt x="3509705" y="3683594"/>
                    <a:pt x="3506124" y="3681060"/>
                    <a:pt x="3503828" y="3681270"/>
                  </a:cubicBezTo>
                  <a:cubicBezTo>
                    <a:pt x="3500342" y="3681622"/>
                    <a:pt x="3500295" y="3685680"/>
                    <a:pt x="3500295" y="3688928"/>
                  </a:cubicBezTo>
                  <a:cubicBezTo>
                    <a:pt x="3500342" y="3699091"/>
                    <a:pt x="3500466" y="3709330"/>
                    <a:pt x="3500695" y="3719436"/>
                  </a:cubicBezTo>
                  <a:cubicBezTo>
                    <a:pt x="3507172" y="3750469"/>
                    <a:pt x="3505600" y="3780596"/>
                    <a:pt x="3481750" y="3796779"/>
                  </a:cubicBezTo>
                  <a:cubicBezTo>
                    <a:pt x="3481511" y="3798256"/>
                    <a:pt x="3480845" y="3799551"/>
                    <a:pt x="3478835" y="3799199"/>
                  </a:cubicBezTo>
                  <a:cubicBezTo>
                    <a:pt x="3477758" y="3799408"/>
                    <a:pt x="3476749" y="3799723"/>
                    <a:pt x="3475578" y="3799961"/>
                  </a:cubicBezTo>
                  <a:cubicBezTo>
                    <a:pt x="3465062" y="3810076"/>
                    <a:pt x="3451679" y="3814696"/>
                    <a:pt x="3437982" y="3818020"/>
                  </a:cubicBezTo>
                  <a:cubicBezTo>
                    <a:pt x="3432134" y="3821783"/>
                    <a:pt x="3430276" y="3818868"/>
                    <a:pt x="3431486" y="3813782"/>
                  </a:cubicBezTo>
                  <a:cubicBezTo>
                    <a:pt x="3434115" y="3802066"/>
                    <a:pt x="3437487" y="3790712"/>
                    <a:pt x="3440516" y="3779101"/>
                  </a:cubicBezTo>
                  <a:cubicBezTo>
                    <a:pt x="3442078" y="3772957"/>
                    <a:pt x="3447003" y="3772595"/>
                    <a:pt x="3452432" y="3771767"/>
                  </a:cubicBezTo>
                  <a:cubicBezTo>
                    <a:pt x="3478301" y="3768004"/>
                    <a:pt x="3478301" y="3767814"/>
                    <a:pt x="3478330" y="3741887"/>
                  </a:cubicBezTo>
                  <a:cubicBezTo>
                    <a:pt x="3478492" y="3715741"/>
                    <a:pt x="3478711" y="3689680"/>
                    <a:pt x="3478835" y="3663706"/>
                  </a:cubicBezTo>
                  <a:cubicBezTo>
                    <a:pt x="3478711" y="3660696"/>
                    <a:pt x="3477911" y="3657467"/>
                    <a:pt x="3478492" y="3654743"/>
                  </a:cubicBezTo>
                  <a:cubicBezTo>
                    <a:pt x="3479464" y="3649723"/>
                    <a:pt x="3474492" y="3642084"/>
                    <a:pt x="3481750" y="3640208"/>
                  </a:cubicBezTo>
                  <a:cubicBezTo>
                    <a:pt x="3489208" y="3638264"/>
                    <a:pt x="3498114" y="3636798"/>
                    <a:pt x="3505181" y="3642798"/>
                  </a:cubicBezTo>
                  <a:cubicBezTo>
                    <a:pt x="3511058" y="3647589"/>
                    <a:pt x="3516687" y="3652523"/>
                    <a:pt x="3522402" y="3657381"/>
                  </a:cubicBezTo>
                  <a:cubicBezTo>
                    <a:pt x="3534670" y="3651142"/>
                    <a:pt x="3528651" y="3640026"/>
                    <a:pt x="3527327" y="3631730"/>
                  </a:cubicBezTo>
                  <a:cubicBezTo>
                    <a:pt x="3522136" y="3600841"/>
                    <a:pt x="3515039" y="3569999"/>
                    <a:pt x="3516192" y="3538480"/>
                  </a:cubicBezTo>
                  <a:cubicBezTo>
                    <a:pt x="3517192" y="3510877"/>
                    <a:pt x="3522421" y="3483759"/>
                    <a:pt x="3542891" y="3462004"/>
                  </a:cubicBezTo>
                  <a:cubicBezTo>
                    <a:pt x="3546234" y="3458480"/>
                    <a:pt x="3550034" y="3456575"/>
                    <a:pt x="3553559" y="3453822"/>
                  </a:cubicBezTo>
                  <a:cubicBezTo>
                    <a:pt x="3557092" y="3444250"/>
                    <a:pt x="3563626" y="3449374"/>
                    <a:pt x="3567779" y="3452213"/>
                  </a:cubicBezTo>
                  <a:close/>
                  <a:moveTo>
                    <a:pt x="3546529" y="3910327"/>
                  </a:moveTo>
                  <a:cubicBezTo>
                    <a:pt x="3550853" y="3912699"/>
                    <a:pt x="3553768" y="3915699"/>
                    <a:pt x="3556407" y="3919642"/>
                  </a:cubicBezTo>
                  <a:cubicBezTo>
                    <a:pt x="3559978" y="3925424"/>
                    <a:pt x="3559083" y="3927462"/>
                    <a:pt x="3551520" y="3929663"/>
                  </a:cubicBezTo>
                  <a:cubicBezTo>
                    <a:pt x="3527736" y="3936559"/>
                    <a:pt x="3506153" y="3926824"/>
                    <a:pt x="3484474" y="3921157"/>
                  </a:cubicBezTo>
                  <a:cubicBezTo>
                    <a:pt x="3470062" y="3917433"/>
                    <a:pt x="3454994" y="3916137"/>
                    <a:pt x="3441173" y="3910394"/>
                  </a:cubicBezTo>
                  <a:cubicBezTo>
                    <a:pt x="3438287" y="3909232"/>
                    <a:pt x="3432820" y="3911346"/>
                    <a:pt x="3432600" y="3906060"/>
                  </a:cubicBezTo>
                  <a:cubicBezTo>
                    <a:pt x="3432477" y="3902145"/>
                    <a:pt x="3435610" y="3900154"/>
                    <a:pt x="3439516" y="3898868"/>
                  </a:cubicBezTo>
                  <a:cubicBezTo>
                    <a:pt x="3450993" y="3895630"/>
                    <a:pt x="3462166" y="3891153"/>
                    <a:pt x="3474425" y="3893496"/>
                  </a:cubicBezTo>
                  <a:cubicBezTo>
                    <a:pt x="3499257" y="3895535"/>
                    <a:pt x="3523983" y="3897573"/>
                    <a:pt x="3546529" y="3910327"/>
                  </a:cubicBezTo>
                  <a:close/>
                  <a:moveTo>
                    <a:pt x="3465519" y="3474730"/>
                  </a:moveTo>
                  <a:cubicBezTo>
                    <a:pt x="3465871" y="3467653"/>
                    <a:pt x="3467357" y="3459251"/>
                    <a:pt x="3477216" y="3455842"/>
                  </a:cubicBezTo>
                  <a:cubicBezTo>
                    <a:pt x="3478730" y="3465805"/>
                    <a:pt x="3480302" y="3475187"/>
                    <a:pt x="3482073" y="3484664"/>
                  </a:cubicBezTo>
                  <a:cubicBezTo>
                    <a:pt x="3482454" y="3487131"/>
                    <a:pt x="3484188" y="3489617"/>
                    <a:pt x="3487007" y="3489617"/>
                  </a:cubicBezTo>
                  <a:cubicBezTo>
                    <a:pt x="3490722" y="3489617"/>
                    <a:pt x="3490065" y="3486188"/>
                    <a:pt x="3490646" y="3483997"/>
                  </a:cubicBezTo>
                  <a:cubicBezTo>
                    <a:pt x="3494675" y="3469805"/>
                    <a:pt x="3492217" y="3455489"/>
                    <a:pt x="3492732" y="3441068"/>
                  </a:cubicBezTo>
                  <a:cubicBezTo>
                    <a:pt x="3492903" y="3436801"/>
                    <a:pt x="3491103" y="3431219"/>
                    <a:pt x="3497590" y="3429534"/>
                  </a:cubicBezTo>
                  <a:cubicBezTo>
                    <a:pt x="3503143" y="3428153"/>
                    <a:pt x="3503990" y="3433010"/>
                    <a:pt x="3505915" y="3436649"/>
                  </a:cubicBezTo>
                  <a:cubicBezTo>
                    <a:pt x="3510296" y="3444536"/>
                    <a:pt x="3514801" y="3442926"/>
                    <a:pt x="3517383" y="3435763"/>
                  </a:cubicBezTo>
                  <a:cubicBezTo>
                    <a:pt x="3519440" y="3429524"/>
                    <a:pt x="3520507" y="3422819"/>
                    <a:pt x="3520774" y="3416351"/>
                  </a:cubicBezTo>
                  <a:cubicBezTo>
                    <a:pt x="3521307" y="3409379"/>
                    <a:pt x="3523040" y="3403168"/>
                    <a:pt x="3527279" y="3397625"/>
                  </a:cubicBezTo>
                  <a:cubicBezTo>
                    <a:pt x="3529365" y="3394834"/>
                    <a:pt x="3531832" y="3391681"/>
                    <a:pt x="3536166" y="3392367"/>
                  </a:cubicBezTo>
                  <a:cubicBezTo>
                    <a:pt x="3540862" y="3393024"/>
                    <a:pt x="3540366" y="3397320"/>
                    <a:pt x="3541966" y="3400511"/>
                  </a:cubicBezTo>
                  <a:cubicBezTo>
                    <a:pt x="3547167" y="3412751"/>
                    <a:pt x="3543824" y="3424628"/>
                    <a:pt x="3537614" y="3434344"/>
                  </a:cubicBezTo>
                  <a:cubicBezTo>
                    <a:pt x="3531337" y="3444297"/>
                    <a:pt x="3526641" y="3455489"/>
                    <a:pt x="3519440" y="3464347"/>
                  </a:cubicBezTo>
                  <a:cubicBezTo>
                    <a:pt x="3499495" y="3489293"/>
                    <a:pt x="3499257" y="3519183"/>
                    <a:pt x="3494704" y="3548082"/>
                  </a:cubicBezTo>
                  <a:cubicBezTo>
                    <a:pt x="3493322" y="3556968"/>
                    <a:pt x="3495847" y="3571446"/>
                    <a:pt x="3488046" y="3572637"/>
                  </a:cubicBezTo>
                  <a:cubicBezTo>
                    <a:pt x="3476882" y="3574266"/>
                    <a:pt x="3478740" y="3559216"/>
                    <a:pt x="3474920" y="3551491"/>
                  </a:cubicBezTo>
                  <a:cubicBezTo>
                    <a:pt x="3462700" y="3527098"/>
                    <a:pt x="3463785" y="3500685"/>
                    <a:pt x="3465519" y="3474730"/>
                  </a:cubicBezTo>
                  <a:close/>
                  <a:moveTo>
                    <a:pt x="3359487" y="3614585"/>
                  </a:moveTo>
                  <a:cubicBezTo>
                    <a:pt x="3360744" y="3599421"/>
                    <a:pt x="3362639" y="3584201"/>
                    <a:pt x="3363535" y="3568817"/>
                  </a:cubicBezTo>
                  <a:cubicBezTo>
                    <a:pt x="3368040" y="3575590"/>
                    <a:pt x="3370240" y="3583038"/>
                    <a:pt x="3376108" y="3589106"/>
                  </a:cubicBezTo>
                  <a:cubicBezTo>
                    <a:pt x="3391491" y="3574123"/>
                    <a:pt x="3377346" y="3552701"/>
                    <a:pt x="3388319" y="3536861"/>
                  </a:cubicBezTo>
                  <a:cubicBezTo>
                    <a:pt x="3394758" y="3543567"/>
                    <a:pt x="3391967" y="3551387"/>
                    <a:pt x="3392729" y="3558740"/>
                  </a:cubicBezTo>
                  <a:cubicBezTo>
                    <a:pt x="3393319" y="3563274"/>
                    <a:pt x="3390881" y="3570713"/>
                    <a:pt x="3398653" y="3570713"/>
                  </a:cubicBezTo>
                  <a:cubicBezTo>
                    <a:pt x="3406235" y="3570713"/>
                    <a:pt x="3411484" y="3565950"/>
                    <a:pt x="3411093" y="3557883"/>
                  </a:cubicBezTo>
                  <a:cubicBezTo>
                    <a:pt x="3411036" y="3551730"/>
                    <a:pt x="3409007" y="3545805"/>
                    <a:pt x="3408912" y="3539662"/>
                  </a:cubicBezTo>
                  <a:cubicBezTo>
                    <a:pt x="3408912" y="3535042"/>
                    <a:pt x="3407274" y="3528260"/>
                    <a:pt x="3415113" y="3527755"/>
                  </a:cubicBezTo>
                  <a:cubicBezTo>
                    <a:pt x="3421990" y="3527317"/>
                    <a:pt x="3421390" y="3533042"/>
                    <a:pt x="3422056" y="3537499"/>
                  </a:cubicBezTo>
                  <a:cubicBezTo>
                    <a:pt x="3422904" y="3543738"/>
                    <a:pt x="3426133" y="3548501"/>
                    <a:pt x="3433315" y="3553482"/>
                  </a:cubicBezTo>
                  <a:cubicBezTo>
                    <a:pt x="3434906" y="3539900"/>
                    <a:pt x="3434906" y="3528327"/>
                    <a:pt x="3433543" y="3516763"/>
                  </a:cubicBezTo>
                  <a:cubicBezTo>
                    <a:pt x="3433153" y="3512611"/>
                    <a:pt x="3432620" y="3508610"/>
                    <a:pt x="3432620" y="3504467"/>
                  </a:cubicBezTo>
                  <a:cubicBezTo>
                    <a:pt x="3432620" y="3498914"/>
                    <a:pt x="3435772" y="3493846"/>
                    <a:pt x="3440678" y="3493437"/>
                  </a:cubicBezTo>
                  <a:cubicBezTo>
                    <a:pt x="3445069" y="3492846"/>
                    <a:pt x="3445869" y="3499057"/>
                    <a:pt x="3446631" y="3502800"/>
                  </a:cubicBezTo>
                  <a:cubicBezTo>
                    <a:pt x="3450469" y="3526098"/>
                    <a:pt x="3454137" y="3549329"/>
                    <a:pt x="3458528" y="3572590"/>
                  </a:cubicBezTo>
                  <a:cubicBezTo>
                    <a:pt x="3460537" y="3584201"/>
                    <a:pt x="3451012" y="3586191"/>
                    <a:pt x="3444326" y="3589249"/>
                  </a:cubicBezTo>
                  <a:cubicBezTo>
                    <a:pt x="3424904" y="3598831"/>
                    <a:pt x="3409293" y="3611747"/>
                    <a:pt x="3406016" y="3633835"/>
                  </a:cubicBezTo>
                  <a:cubicBezTo>
                    <a:pt x="3404387" y="3644360"/>
                    <a:pt x="3400920" y="3653543"/>
                    <a:pt x="3395882" y="3662544"/>
                  </a:cubicBezTo>
                  <a:cubicBezTo>
                    <a:pt x="3391062" y="3671450"/>
                    <a:pt x="3385137" y="3677783"/>
                    <a:pt x="3373965" y="3676317"/>
                  </a:cubicBezTo>
                  <a:cubicBezTo>
                    <a:pt x="3362420" y="3674936"/>
                    <a:pt x="3363887" y="3664706"/>
                    <a:pt x="3361658" y="3657372"/>
                  </a:cubicBezTo>
                  <a:cubicBezTo>
                    <a:pt x="3357134" y="3643551"/>
                    <a:pt x="3358296" y="3628977"/>
                    <a:pt x="3359487" y="3614585"/>
                  </a:cubicBezTo>
                  <a:close/>
                  <a:moveTo>
                    <a:pt x="3335074" y="3865550"/>
                  </a:moveTo>
                  <a:cubicBezTo>
                    <a:pt x="3339751" y="3850939"/>
                    <a:pt x="3338227" y="3835965"/>
                    <a:pt x="3336998" y="3821601"/>
                  </a:cubicBezTo>
                  <a:cubicBezTo>
                    <a:pt x="3334960" y="3797522"/>
                    <a:pt x="3345266" y="3781282"/>
                    <a:pt x="3364735" y="3769005"/>
                  </a:cubicBezTo>
                  <a:cubicBezTo>
                    <a:pt x="3368031" y="3766871"/>
                    <a:pt x="3371279" y="3764518"/>
                    <a:pt x="3374593" y="3761966"/>
                  </a:cubicBezTo>
                  <a:cubicBezTo>
                    <a:pt x="3381985" y="3747364"/>
                    <a:pt x="3374746" y="3731000"/>
                    <a:pt x="3380661" y="3715836"/>
                  </a:cubicBezTo>
                  <a:cubicBezTo>
                    <a:pt x="3383680" y="3708483"/>
                    <a:pt x="3386395" y="3702053"/>
                    <a:pt x="3393319" y="3697843"/>
                  </a:cubicBezTo>
                  <a:cubicBezTo>
                    <a:pt x="3409445" y="3684727"/>
                    <a:pt x="3422904" y="3670135"/>
                    <a:pt x="3426485" y="3648894"/>
                  </a:cubicBezTo>
                  <a:cubicBezTo>
                    <a:pt x="3426771" y="3646761"/>
                    <a:pt x="3427771" y="3644884"/>
                    <a:pt x="3428057" y="3642960"/>
                  </a:cubicBezTo>
                  <a:cubicBezTo>
                    <a:pt x="3432058" y="3614404"/>
                    <a:pt x="3438601" y="3608737"/>
                    <a:pt x="3468053" y="3608470"/>
                  </a:cubicBezTo>
                  <a:cubicBezTo>
                    <a:pt x="3489674" y="3608280"/>
                    <a:pt x="3489674" y="3608280"/>
                    <a:pt x="3499009" y="3614518"/>
                  </a:cubicBezTo>
                  <a:cubicBezTo>
                    <a:pt x="3488379" y="3620119"/>
                    <a:pt x="3477387" y="3621034"/>
                    <a:pt x="3466367" y="3621034"/>
                  </a:cubicBezTo>
                  <a:cubicBezTo>
                    <a:pt x="3459404" y="3624053"/>
                    <a:pt x="3459375" y="3629930"/>
                    <a:pt x="3459404" y="3636235"/>
                  </a:cubicBezTo>
                  <a:cubicBezTo>
                    <a:pt x="3459737" y="3666554"/>
                    <a:pt x="3459404" y="3696777"/>
                    <a:pt x="3459404" y="3727037"/>
                  </a:cubicBezTo>
                  <a:cubicBezTo>
                    <a:pt x="3459404" y="3732038"/>
                    <a:pt x="3461585" y="3738039"/>
                    <a:pt x="3453175" y="3738401"/>
                  </a:cubicBezTo>
                  <a:cubicBezTo>
                    <a:pt x="3451698" y="3742192"/>
                    <a:pt x="3447974" y="3741077"/>
                    <a:pt x="3445183" y="3741877"/>
                  </a:cubicBezTo>
                  <a:cubicBezTo>
                    <a:pt x="3426019" y="3746887"/>
                    <a:pt x="3419361" y="3759994"/>
                    <a:pt x="3418570" y="3778453"/>
                  </a:cubicBezTo>
                  <a:cubicBezTo>
                    <a:pt x="3417484" y="3807905"/>
                    <a:pt x="3400739" y="3828831"/>
                    <a:pt x="3375432" y="3848338"/>
                  </a:cubicBezTo>
                  <a:cubicBezTo>
                    <a:pt x="3375546" y="3827907"/>
                    <a:pt x="3383633" y="3812858"/>
                    <a:pt x="3390500" y="3797827"/>
                  </a:cubicBezTo>
                  <a:cubicBezTo>
                    <a:pt x="3400501" y="3776110"/>
                    <a:pt x="3412893" y="3755869"/>
                    <a:pt x="3429410" y="3738163"/>
                  </a:cubicBezTo>
                  <a:cubicBezTo>
                    <a:pt x="3432791" y="3734467"/>
                    <a:pt x="3438544" y="3729676"/>
                    <a:pt x="3438030" y="3726028"/>
                  </a:cubicBezTo>
                  <a:cubicBezTo>
                    <a:pt x="3435677" y="3710445"/>
                    <a:pt x="3440678" y="3696062"/>
                    <a:pt x="3442926" y="3681051"/>
                  </a:cubicBezTo>
                  <a:cubicBezTo>
                    <a:pt x="3442926" y="3680508"/>
                    <a:pt x="3439525" y="3679451"/>
                    <a:pt x="3437620" y="3678784"/>
                  </a:cubicBezTo>
                  <a:cubicBezTo>
                    <a:pt x="3434906" y="3680727"/>
                    <a:pt x="3432172" y="3683099"/>
                    <a:pt x="3428333" y="3682765"/>
                  </a:cubicBezTo>
                  <a:cubicBezTo>
                    <a:pt x="3427533" y="3686013"/>
                    <a:pt x="3424314" y="3685518"/>
                    <a:pt x="3421990" y="3686366"/>
                  </a:cubicBezTo>
                  <a:cubicBezTo>
                    <a:pt x="3422171" y="3687032"/>
                    <a:pt x="3421990" y="3687623"/>
                    <a:pt x="3421561" y="3688090"/>
                  </a:cubicBezTo>
                  <a:cubicBezTo>
                    <a:pt x="3416341" y="3698910"/>
                    <a:pt x="3412341" y="3709311"/>
                    <a:pt x="3396987" y="3711378"/>
                  </a:cubicBezTo>
                  <a:cubicBezTo>
                    <a:pt x="3385500" y="3712750"/>
                    <a:pt x="3390148" y="3726028"/>
                    <a:pt x="3388338" y="3733448"/>
                  </a:cubicBezTo>
                  <a:cubicBezTo>
                    <a:pt x="3385233" y="3746049"/>
                    <a:pt x="3383080" y="3759041"/>
                    <a:pt x="3380623" y="3771891"/>
                  </a:cubicBezTo>
                  <a:cubicBezTo>
                    <a:pt x="3374908" y="3785092"/>
                    <a:pt x="3370498" y="3799037"/>
                    <a:pt x="3356115" y="3806123"/>
                  </a:cubicBezTo>
                  <a:cubicBezTo>
                    <a:pt x="3353895" y="3822954"/>
                    <a:pt x="3352038" y="3839966"/>
                    <a:pt x="3349390" y="3856796"/>
                  </a:cubicBezTo>
                  <a:cubicBezTo>
                    <a:pt x="3348790" y="3861568"/>
                    <a:pt x="3348866" y="3867512"/>
                    <a:pt x="3343104" y="3870455"/>
                  </a:cubicBezTo>
                  <a:cubicBezTo>
                    <a:pt x="3339408" y="3870122"/>
                    <a:pt x="3332683" y="3872770"/>
                    <a:pt x="3335074" y="3865550"/>
                  </a:cubicBezTo>
                  <a:close/>
                  <a:moveTo>
                    <a:pt x="3396949" y="3887715"/>
                  </a:moveTo>
                  <a:cubicBezTo>
                    <a:pt x="3396872" y="3891620"/>
                    <a:pt x="3394758" y="3894087"/>
                    <a:pt x="3390976" y="3895344"/>
                  </a:cubicBezTo>
                  <a:cubicBezTo>
                    <a:pt x="3386423" y="3894373"/>
                    <a:pt x="3384671" y="3890363"/>
                    <a:pt x="3381594" y="3887800"/>
                  </a:cubicBezTo>
                  <a:cubicBezTo>
                    <a:pt x="3384414" y="3884838"/>
                    <a:pt x="3386633" y="3880647"/>
                    <a:pt x="3390976" y="3880504"/>
                  </a:cubicBezTo>
                  <a:cubicBezTo>
                    <a:pt x="3395205" y="3880333"/>
                    <a:pt x="3397129" y="3883628"/>
                    <a:pt x="3396949" y="3887715"/>
                  </a:cubicBezTo>
                  <a:close/>
                  <a:moveTo>
                    <a:pt x="1599819" y="3622110"/>
                  </a:moveTo>
                  <a:cubicBezTo>
                    <a:pt x="1672657" y="3602593"/>
                    <a:pt x="1746676" y="3588772"/>
                    <a:pt x="1820504" y="3573551"/>
                  </a:cubicBezTo>
                  <a:cubicBezTo>
                    <a:pt x="1856594" y="3566160"/>
                    <a:pt x="1893503" y="3562436"/>
                    <a:pt x="1929813" y="3557273"/>
                  </a:cubicBezTo>
                  <a:cubicBezTo>
                    <a:pt x="1969465" y="3551873"/>
                    <a:pt x="2009070" y="3545986"/>
                    <a:pt x="2048723" y="3542271"/>
                  </a:cubicBezTo>
                  <a:cubicBezTo>
                    <a:pt x="2075002" y="3539900"/>
                    <a:pt x="2100996" y="3537023"/>
                    <a:pt x="2127409" y="3535937"/>
                  </a:cubicBezTo>
                  <a:cubicBezTo>
                    <a:pt x="2164290" y="3534452"/>
                    <a:pt x="2201466" y="3533775"/>
                    <a:pt x="2238023" y="3531413"/>
                  </a:cubicBezTo>
                  <a:cubicBezTo>
                    <a:pt x="2287581" y="3528260"/>
                    <a:pt x="2336987" y="3529213"/>
                    <a:pt x="2386422" y="3529422"/>
                  </a:cubicBezTo>
                  <a:cubicBezTo>
                    <a:pt x="2444401" y="3529746"/>
                    <a:pt x="2502684" y="3532270"/>
                    <a:pt x="2560711" y="3535461"/>
                  </a:cubicBezTo>
                  <a:cubicBezTo>
                    <a:pt x="2609631" y="3538214"/>
                    <a:pt x="2658399" y="3542214"/>
                    <a:pt x="2707110" y="3547577"/>
                  </a:cubicBezTo>
                  <a:cubicBezTo>
                    <a:pt x="2798721" y="3557959"/>
                    <a:pt x="2889276" y="3574409"/>
                    <a:pt x="2978887" y="3595888"/>
                  </a:cubicBezTo>
                  <a:cubicBezTo>
                    <a:pt x="3053239" y="3613499"/>
                    <a:pt x="3127334" y="3631349"/>
                    <a:pt x="3199857" y="3654962"/>
                  </a:cubicBezTo>
                  <a:cubicBezTo>
                    <a:pt x="3221869" y="3662191"/>
                    <a:pt x="3243425" y="3670649"/>
                    <a:pt x="3263541" y="3682213"/>
                  </a:cubicBezTo>
                  <a:cubicBezTo>
                    <a:pt x="3267809" y="3684680"/>
                    <a:pt x="3271485" y="3686385"/>
                    <a:pt x="3274324" y="3693214"/>
                  </a:cubicBezTo>
                  <a:cubicBezTo>
                    <a:pt x="3256464" y="3686156"/>
                    <a:pt x="3238957" y="3691338"/>
                    <a:pt x="3220707" y="3688452"/>
                  </a:cubicBezTo>
                  <a:cubicBezTo>
                    <a:pt x="3234147" y="3698339"/>
                    <a:pt x="3247806" y="3708226"/>
                    <a:pt x="3264665" y="3720408"/>
                  </a:cubicBezTo>
                  <a:cubicBezTo>
                    <a:pt x="3244891" y="3716826"/>
                    <a:pt x="3229404" y="3714055"/>
                    <a:pt x="3210335" y="3710635"/>
                  </a:cubicBezTo>
                  <a:cubicBezTo>
                    <a:pt x="3225756" y="3725885"/>
                    <a:pt x="3243186" y="3734295"/>
                    <a:pt x="3258779" y="3747145"/>
                  </a:cubicBezTo>
                  <a:cubicBezTo>
                    <a:pt x="3242262" y="3745983"/>
                    <a:pt x="3227842" y="3738686"/>
                    <a:pt x="3209268" y="3739153"/>
                  </a:cubicBezTo>
                  <a:cubicBezTo>
                    <a:pt x="3224070" y="3751764"/>
                    <a:pt x="3236605" y="3762309"/>
                    <a:pt x="3252568" y="3776015"/>
                  </a:cubicBezTo>
                  <a:cubicBezTo>
                    <a:pt x="3235224" y="3773548"/>
                    <a:pt x="3222784" y="3771652"/>
                    <a:pt x="3210068" y="3769919"/>
                  </a:cubicBezTo>
                  <a:cubicBezTo>
                    <a:pt x="3209268" y="3770662"/>
                    <a:pt x="3208620" y="3771491"/>
                    <a:pt x="3207744" y="3772205"/>
                  </a:cubicBezTo>
                  <a:cubicBezTo>
                    <a:pt x="3220212" y="3782959"/>
                    <a:pt x="3232480" y="3793722"/>
                    <a:pt x="3246673" y="3805923"/>
                  </a:cubicBezTo>
                  <a:cubicBezTo>
                    <a:pt x="3224736" y="3806266"/>
                    <a:pt x="3205725" y="3799723"/>
                    <a:pt x="3186656" y="3794979"/>
                  </a:cubicBezTo>
                  <a:cubicBezTo>
                    <a:pt x="3084271" y="3769195"/>
                    <a:pt x="2982611" y="3741458"/>
                    <a:pt x="2879770" y="3717922"/>
                  </a:cubicBezTo>
                  <a:cubicBezTo>
                    <a:pt x="2837745" y="3708244"/>
                    <a:pt x="2794311" y="3702396"/>
                    <a:pt x="2750849" y="3697986"/>
                  </a:cubicBezTo>
                  <a:cubicBezTo>
                    <a:pt x="2697985" y="3692576"/>
                    <a:pt x="2645131" y="3688337"/>
                    <a:pt x="2592010" y="3685518"/>
                  </a:cubicBezTo>
                  <a:cubicBezTo>
                    <a:pt x="2562863" y="3683870"/>
                    <a:pt x="2533650" y="3685518"/>
                    <a:pt x="2504666" y="3683041"/>
                  </a:cubicBezTo>
                  <a:cubicBezTo>
                    <a:pt x="2445953" y="3678326"/>
                    <a:pt x="2387051" y="3680089"/>
                    <a:pt x="2328205" y="3680632"/>
                  </a:cubicBezTo>
                  <a:cubicBezTo>
                    <a:pt x="2280952" y="3681060"/>
                    <a:pt x="2233975" y="3683756"/>
                    <a:pt x="2186931" y="3686747"/>
                  </a:cubicBezTo>
                  <a:cubicBezTo>
                    <a:pt x="2139648" y="3690061"/>
                    <a:pt x="2092252" y="3693376"/>
                    <a:pt x="2045341" y="3699472"/>
                  </a:cubicBezTo>
                  <a:cubicBezTo>
                    <a:pt x="1977971" y="3708035"/>
                    <a:pt x="1910763" y="3716379"/>
                    <a:pt x="1844088" y="3729276"/>
                  </a:cubicBezTo>
                  <a:cubicBezTo>
                    <a:pt x="1776813" y="3742239"/>
                    <a:pt x="1710214" y="3757308"/>
                    <a:pt x="1643015" y="3769595"/>
                  </a:cubicBezTo>
                  <a:cubicBezTo>
                    <a:pt x="1615954" y="3774662"/>
                    <a:pt x="1589199" y="3781730"/>
                    <a:pt x="1561710" y="3783130"/>
                  </a:cubicBezTo>
                  <a:cubicBezTo>
                    <a:pt x="1558909" y="3783216"/>
                    <a:pt x="1554832" y="3786473"/>
                    <a:pt x="1553851" y="3782635"/>
                  </a:cubicBezTo>
                  <a:cubicBezTo>
                    <a:pt x="1549718" y="3762556"/>
                    <a:pt x="1536373" y="3771672"/>
                    <a:pt x="1525229" y="3773500"/>
                  </a:cubicBezTo>
                  <a:cubicBezTo>
                    <a:pt x="1524381" y="3773548"/>
                    <a:pt x="1523333" y="3773129"/>
                    <a:pt x="1521333" y="3772957"/>
                  </a:cubicBezTo>
                  <a:cubicBezTo>
                    <a:pt x="1527486" y="3762547"/>
                    <a:pt x="1541374" y="3760013"/>
                    <a:pt x="1546327" y="3747287"/>
                  </a:cubicBezTo>
                  <a:cubicBezTo>
                    <a:pt x="1534697" y="3748869"/>
                    <a:pt x="1523838" y="3750469"/>
                    <a:pt x="1512484" y="3752003"/>
                  </a:cubicBezTo>
                  <a:cubicBezTo>
                    <a:pt x="1517637" y="3738439"/>
                    <a:pt x="1533563" y="3735429"/>
                    <a:pt x="1540593" y="3722580"/>
                  </a:cubicBezTo>
                  <a:cubicBezTo>
                    <a:pt x="1530648" y="3720761"/>
                    <a:pt x="1521847" y="3719075"/>
                    <a:pt x="1511951" y="3717179"/>
                  </a:cubicBezTo>
                  <a:cubicBezTo>
                    <a:pt x="1520962" y="3706187"/>
                    <a:pt x="1531953" y="3697034"/>
                    <a:pt x="1539297" y="3683384"/>
                  </a:cubicBezTo>
                  <a:cubicBezTo>
                    <a:pt x="1527943" y="3686956"/>
                    <a:pt x="1517304" y="3688337"/>
                    <a:pt x="1506607" y="3686632"/>
                  </a:cubicBezTo>
                  <a:cubicBezTo>
                    <a:pt x="1510789" y="3673516"/>
                    <a:pt x="1523648" y="3666935"/>
                    <a:pt x="1530639" y="3655790"/>
                  </a:cubicBezTo>
                  <a:cubicBezTo>
                    <a:pt x="1523343" y="3649247"/>
                    <a:pt x="1517571" y="3656619"/>
                    <a:pt x="1511579" y="3656219"/>
                  </a:cubicBezTo>
                  <a:cubicBezTo>
                    <a:pt x="1505274" y="3655790"/>
                    <a:pt x="1500388" y="3663106"/>
                    <a:pt x="1493215" y="3657381"/>
                  </a:cubicBezTo>
                  <a:cubicBezTo>
                    <a:pt x="1527019" y="3641065"/>
                    <a:pt x="1563529" y="3631892"/>
                    <a:pt x="1599819" y="3622110"/>
                  </a:cubicBezTo>
                  <a:close/>
                  <a:moveTo>
                    <a:pt x="3228318" y="3863311"/>
                  </a:moveTo>
                  <a:cubicBezTo>
                    <a:pt x="3223355" y="3867560"/>
                    <a:pt x="3215850" y="3859787"/>
                    <a:pt x="3208973" y="3864388"/>
                  </a:cubicBezTo>
                  <a:cubicBezTo>
                    <a:pt x="3211344" y="3866636"/>
                    <a:pt x="3214326" y="3868255"/>
                    <a:pt x="3215583" y="3870760"/>
                  </a:cubicBezTo>
                  <a:cubicBezTo>
                    <a:pt x="3219212" y="3877189"/>
                    <a:pt x="3232452" y="3878580"/>
                    <a:pt x="3228766" y="3887429"/>
                  </a:cubicBezTo>
                  <a:cubicBezTo>
                    <a:pt x="3225841" y="3894582"/>
                    <a:pt x="3215250" y="3888801"/>
                    <a:pt x="3207725" y="3891763"/>
                  </a:cubicBezTo>
                  <a:cubicBezTo>
                    <a:pt x="3209944" y="3902145"/>
                    <a:pt x="3221231" y="3904926"/>
                    <a:pt x="3227156" y="3912670"/>
                  </a:cubicBezTo>
                  <a:cubicBezTo>
                    <a:pt x="3216983" y="3918357"/>
                    <a:pt x="3205401" y="3911670"/>
                    <a:pt x="3195514" y="3918861"/>
                  </a:cubicBezTo>
                  <a:cubicBezTo>
                    <a:pt x="3203105" y="3926681"/>
                    <a:pt x="3215583" y="3929167"/>
                    <a:pt x="3220679" y="3940693"/>
                  </a:cubicBezTo>
                  <a:cubicBezTo>
                    <a:pt x="3214021" y="3943931"/>
                    <a:pt x="3208201" y="3943131"/>
                    <a:pt x="3202486" y="3941159"/>
                  </a:cubicBezTo>
                  <a:cubicBezTo>
                    <a:pt x="3199638" y="3940054"/>
                    <a:pt x="3197219" y="3940312"/>
                    <a:pt x="3195752" y="3942921"/>
                  </a:cubicBezTo>
                  <a:cubicBezTo>
                    <a:pt x="3193694" y="3946589"/>
                    <a:pt x="3197514" y="3946922"/>
                    <a:pt x="3199190" y="3948322"/>
                  </a:cubicBezTo>
                  <a:cubicBezTo>
                    <a:pt x="3204077" y="3952227"/>
                    <a:pt x="3208973" y="3956190"/>
                    <a:pt x="3213592" y="3960105"/>
                  </a:cubicBezTo>
                  <a:cubicBezTo>
                    <a:pt x="3216059" y="3962067"/>
                    <a:pt x="3218698" y="3964610"/>
                    <a:pt x="3217126" y="3967944"/>
                  </a:cubicBezTo>
                  <a:cubicBezTo>
                    <a:pt x="3214850" y="3971925"/>
                    <a:pt x="3210916" y="3971030"/>
                    <a:pt x="3207468" y="3969868"/>
                  </a:cubicBezTo>
                  <a:cubicBezTo>
                    <a:pt x="3189008" y="3964038"/>
                    <a:pt x="3170396" y="3959057"/>
                    <a:pt x="3152632" y="3951828"/>
                  </a:cubicBezTo>
                  <a:cubicBezTo>
                    <a:pt x="3102331" y="3931234"/>
                    <a:pt x="3051039" y="3913194"/>
                    <a:pt x="2998556" y="3898402"/>
                  </a:cubicBezTo>
                  <a:cubicBezTo>
                    <a:pt x="2962513" y="3888372"/>
                    <a:pt x="2925947" y="3880504"/>
                    <a:pt x="2888990" y="3873837"/>
                  </a:cubicBezTo>
                  <a:cubicBezTo>
                    <a:pt x="2843041" y="3865426"/>
                    <a:pt x="2796845" y="3858178"/>
                    <a:pt x="2750563" y="3852605"/>
                  </a:cubicBezTo>
                  <a:cubicBezTo>
                    <a:pt x="2706005" y="3847243"/>
                    <a:pt x="2661123" y="3844633"/>
                    <a:pt x="2616651" y="3841014"/>
                  </a:cubicBezTo>
                  <a:cubicBezTo>
                    <a:pt x="2556348" y="3836060"/>
                    <a:pt x="2495741" y="3836299"/>
                    <a:pt x="2435362" y="3834356"/>
                  </a:cubicBezTo>
                  <a:cubicBezTo>
                    <a:pt x="2372859" y="3832451"/>
                    <a:pt x="2310327" y="3835413"/>
                    <a:pt x="2247900" y="3835775"/>
                  </a:cubicBezTo>
                  <a:cubicBezTo>
                    <a:pt x="2192912" y="3835965"/>
                    <a:pt x="2137801" y="3842109"/>
                    <a:pt x="2082851" y="3845109"/>
                  </a:cubicBezTo>
                  <a:cubicBezTo>
                    <a:pt x="2039388" y="3847538"/>
                    <a:pt x="1995945" y="3852729"/>
                    <a:pt x="1952835" y="3858178"/>
                  </a:cubicBezTo>
                  <a:cubicBezTo>
                    <a:pt x="1889131" y="3866303"/>
                    <a:pt x="1826743" y="3880952"/>
                    <a:pt x="1763801" y="3892220"/>
                  </a:cubicBezTo>
                  <a:cubicBezTo>
                    <a:pt x="1721958" y="3899630"/>
                    <a:pt x="1680362" y="3908660"/>
                    <a:pt x="1637900" y="3914404"/>
                  </a:cubicBezTo>
                  <a:cubicBezTo>
                    <a:pt x="1611030" y="3918119"/>
                    <a:pt x="1584341" y="3925519"/>
                    <a:pt x="1557280" y="3929758"/>
                  </a:cubicBezTo>
                  <a:cubicBezTo>
                    <a:pt x="1554718" y="3930120"/>
                    <a:pt x="1552270" y="3931225"/>
                    <a:pt x="1549137" y="3927796"/>
                  </a:cubicBezTo>
                  <a:cubicBezTo>
                    <a:pt x="1556376" y="3921700"/>
                    <a:pt x="1563767" y="3915747"/>
                    <a:pt x="1571035" y="3909736"/>
                  </a:cubicBezTo>
                  <a:cubicBezTo>
                    <a:pt x="1559062" y="3904993"/>
                    <a:pt x="1548889" y="3912651"/>
                    <a:pt x="1539631" y="3904545"/>
                  </a:cubicBezTo>
                  <a:cubicBezTo>
                    <a:pt x="1544622" y="3893592"/>
                    <a:pt x="1560928" y="3893239"/>
                    <a:pt x="1563081" y="3879456"/>
                  </a:cubicBezTo>
                  <a:cubicBezTo>
                    <a:pt x="1557138" y="3878751"/>
                    <a:pt x="1550422" y="3884724"/>
                    <a:pt x="1543479" y="3879895"/>
                  </a:cubicBezTo>
                  <a:cubicBezTo>
                    <a:pt x="1541307" y="3874913"/>
                    <a:pt x="1547089" y="3875123"/>
                    <a:pt x="1549137" y="3872751"/>
                  </a:cubicBezTo>
                  <a:cubicBezTo>
                    <a:pt x="1553842" y="3866941"/>
                    <a:pt x="1562672" y="3861559"/>
                    <a:pt x="1547994" y="3856682"/>
                  </a:cubicBezTo>
                  <a:cubicBezTo>
                    <a:pt x="1541812" y="3854529"/>
                    <a:pt x="1541364" y="3849357"/>
                    <a:pt x="1545555" y="3844166"/>
                  </a:cubicBezTo>
                  <a:cubicBezTo>
                    <a:pt x="1549851" y="3839099"/>
                    <a:pt x="1553947" y="3833975"/>
                    <a:pt x="1559328" y="3827526"/>
                  </a:cubicBezTo>
                  <a:cubicBezTo>
                    <a:pt x="1549994" y="3826764"/>
                    <a:pt x="1541983" y="3826078"/>
                    <a:pt x="1532553" y="3825173"/>
                  </a:cubicBezTo>
                  <a:cubicBezTo>
                    <a:pt x="1537535" y="3814391"/>
                    <a:pt x="1547089" y="3810629"/>
                    <a:pt x="1555814" y="3807733"/>
                  </a:cubicBezTo>
                  <a:cubicBezTo>
                    <a:pt x="1613830" y="3787397"/>
                    <a:pt x="1673628" y="3774691"/>
                    <a:pt x="1733903" y="3763166"/>
                  </a:cubicBezTo>
                  <a:cubicBezTo>
                    <a:pt x="1793710" y="3751745"/>
                    <a:pt x="1853660" y="3742620"/>
                    <a:pt x="1913906" y="3734743"/>
                  </a:cubicBezTo>
                  <a:cubicBezTo>
                    <a:pt x="1945396" y="3730428"/>
                    <a:pt x="1977171" y="3728371"/>
                    <a:pt x="2008632" y="3724770"/>
                  </a:cubicBezTo>
                  <a:cubicBezTo>
                    <a:pt x="2077850" y="3716808"/>
                    <a:pt x="2147526" y="3714026"/>
                    <a:pt x="2217049" y="3710016"/>
                  </a:cubicBezTo>
                  <a:cubicBezTo>
                    <a:pt x="2318271" y="3704006"/>
                    <a:pt x="2419512" y="3702530"/>
                    <a:pt x="2520649" y="3704663"/>
                  </a:cubicBezTo>
                  <a:cubicBezTo>
                    <a:pt x="2570188" y="3705711"/>
                    <a:pt x="2619775" y="3706273"/>
                    <a:pt x="2669067" y="3710188"/>
                  </a:cubicBezTo>
                  <a:cubicBezTo>
                    <a:pt x="2703224" y="3712988"/>
                    <a:pt x="2737437" y="3716122"/>
                    <a:pt x="2771423" y="3719960"/>
                  </a:cubicBezTo>
                  <a:cubicBezTo>
                    <a:pt x="2843146" y="3728085"/>
                    <a:pt x="2913698" y="3742611"/>
                    <a:pt x="2983630" y="3760394"/>
                  </a:cubicBezTo>
                  <a:cubicBezTo>
                    <a:pt x="3058163" y="3779234"/>
                    <a:pt x="3131353" y="3801685"/>
                    <a:pt x="3204553" y="3824993"/>
                  </a:cubicBezTo>
                  <a:cubicBezTo>
                    <a:pt x="3212078" y="3827507"/>
                    <a:pt x="3219088" y="3832955"/>
                    <a:pt x="3226137" y="3837289"/>
                  </a:cubicBezTo>
                  <a:cubicBezTo>
                    <a:pt x="3227651" y="3838213"/>
                    <a:pt x="3228404" y="3840251"/>
                    <a:pt x="3229594" y="3841871"/>
                  </a:cubicBezTo>
                  <a:cubicBezTo>
                    <a:pt x="3211963" y="3848262"/>
                    <a:pt x="3235024" y="3857435"/>
                    <a:pt x="3228318" y="3863311"/>
                  </a:cubicBezTo>
                  <a:close/>
                  <a:moveTo>
                    <a:pt x="1408052" y="3684022"/>
                  </a:moveTo>
                  <a:cubicBezTo>
                    <a:pt x="1418730" y="3697862"/>
                    <a:pt x="1412367" y="3713407"/>
                    <a:pt x="1410138" y="3727237"/>
                  </a:cubicBezTo>
                  <a:cubicBezTo>
                    <a:pt x="1408052" y="3739934"/>
                    <a:pt x="1408995" y="3750983"/>
                    <a:pt x="1412434" y="3762699"/>
                  </a:cubicBezTo>
                  <a:lnTo>
                    <a:pt x="1412500" y="3763052"/>
                  </a:lnTo>
                  <a:cubicBezTo>
                    <a:pt x="1420092" y="3764537"/>
                    <a:pt x="1427702" y="3767157"/>
                    <a:pt x="1435179" y="3767033"/>
                  </a:cubicBezTo>
                  <a:cubicBezTo>
                    <a:pt x="1443504" y="3766652"/>
                    <a:pt x="1446400" y="3770853"/>
                    <a:pt x="1447381" y="3777129"/>
                  </a:cubicBezTo>
                  <a:cubicBezTo>
                    <a:pt x="1449867" y="3794198"/>
                    <a:pt x="1450467" y="3810981"/>
                    <a:pt x="1439399" y="3826107"/>
                  </a:cubicBezTo>
                  <a:lnTo>
                    <a:pt x="1439513" y="3826107"/>
                  </a:lnTo>
                  <a:cubicBezTo>
                    <a:pt x="1438989" y="3833232"/>
                    <a:pt x="1435799" y="3834965"/>
                    <a:pt x="1431579" y="3828688"/>
                  </a:cubicBezTo>
                  <a:cubicBezTo>
                    <a:pt x="1427483" y="3822497"/>
                    <a:pt x="1424835" y="3815410"/>
                    <a:pt x="1424159" y="3807905"/>
                  </a:cubicBezTo>
                  <a:cubicBezTo>
                    <a:pt x="1422730" y="3799666"/>
                    <a:pt x="1422826" y="3790502"/>
                    <a:pt x="1411110" y="3789083"/>
                  </a:cubicBezTo>
                  <a:cubicBezTo>
                    <a:pt x="1409319" y="3790521"/>
                    <a:pt x="1406690" y="3791569"/>
                    <a:pt x="1405376" y="3793551"/>
                  </a:cubicBezTo>
                  <a:cubicBezTo>
                    <a:pt x="1395927" y="3807381"/>
                    <a:pt x="1392184" y="3799323"/>
                    <a:pt x="1388993" y="3789407"/>
                  </a:cubicBezTo>
                  <a:cubicBezTo>
                    <a:pt x="1375058" y="3773548"/>
                    <a:pt x="1382059" y="3755346"/>
                    <a:pt x="1384040" y="3738182"/>
                  </a:cubicBezTo>
                  <a:cubicBezTo>
                    <a:pt x="1384916" y="3731524"/>
                    <a:pt x="1385392" y="3725028"/>
                    <a:pt x="1385773" y="3718532"/>
                  </a:cubicBezTo>
                  <a:cubicBezTo>
                    <a:pt x="1380315" y="3715998"/>
                    <a:pt x="1384602" y="3705825"/>
                    <a:pt x="1376734" y="3706397"/>
                  </a:cubicBezTo>
                  <a:cubicBezTo>
                    <a:pt x="1369019" y="3706968"/>
                    <a:pt x="1369019" y="3715007"/>
                    <a:pt x="1366971" y="3720236"/>
                  </a:cubicBezTo>
                  <a:cubicBezTo>
                    <a:pt x="1361827" y="3733009"/>
                    <a:pt x="1365209" y="3747287"/>
                    <a:pt x="1359160" y="3760251"/>
                  </a:cubicBezTo>
                  <a:cubicBezTo>
                    <a:pt x="1353426" y="3760537"/>
                    <a:pt x="1350702" y="3755965"/>
                    <a:pt x="1347616" y="3752050"/>
                  </a:cubicBezTo>
                  <a:cubicBezTo>
                    <a:pt x="1335281" y="3739229"/>
                    <a:pt x="1334510" y="3725713"/>
                    <a:pt x="1342473" y="3710235"/>
                  </a:cubicBezTo>
                  <a:cubicBezTo>
                    <a:pt x="1351769" y="3692319"/>
                    <a:pt x="1352160" y="3671316"/>
                    <a:pt x="1361342" y="3653343"/>
                  </a:cubicBezTo>
                  <a:cubicBezTo>
                    <a:pt x="1379325" y="3643741"/>
                    <a:pt x="1387250" y="3660696"/>
                    <a:pt x="1398289" y="3668049"/>
                  </a:cubicBezTo>
                  <a:cubicBezTo>
                    <a:pt x="1402594" y="3670916"/>
                    <a:pt x="1407719" y="3677022"/>
                    <a:pt x="1408052" y="3684022"/>
                  </a:cubicBezTo>
                  <a:close/>
                  <a:moveTo>
                    <a:pt x="1337348" y="3433201"/>
                  </a:moveTo>
                  <a:cubicBezTo>
                    <a:pt x="1342758" y="3442021"/>
                    <a:pt x="1341901" y="3449946"/>
                    <a:pt x="1339272" y="3457899"/>
                  </a:cubicBezTo>
                  <a:cubicBezTo>
                    <a:pt x="1337767" y="3462366"/>
                    <a:pt x="1335624" y="3466671"/>
                    <a:pt x="1335072" y="3471034"/>
                  </a:cubicBezTo>
                  <a:cubicBezTo>
                    <a:pt x="1334634" y="3474634"/>
                    <a:pt x="1332414" y="3480140"/>
                    <a:pt x="1338539" y="3481159"/>
                  </a:cubicBezTo>
                  <a:cubicBezTo>
                    <a:pt x="1344225" y="3482197"/>
                    <a:pt x="1344444" y="3477130"/>
                    <a:pt x="1345921" y="3473225"/>
                  </a:cubicBezTo>
                  <a:cubicBezTo>
                    <a:pt x="1347949" y="3467672"/>
                    <a:pt x="1350826" y="3462481"/>
                    <a:pt x="1354169" y="3455480"/>
                  </a:cubicBezTo>
                  <a:cubicBezTo>
                    <a:pt x="1370305" y="3475901"/>
                    <a:pt x="1339044" y="3499342"/>
                    <a:pt x="1363475" y="3516306"/>
                  </a:cubicBezTo>
                  <a:cubicBezTo>
                    <a:pt x="1371686" y="3511925"/>
                    <a:pt x="1371219" y="3501590"/>
                    <a:pt x="1375134" y="3492484"/>
                  </a:cubicBezTo>
                  <a:cubicBezTo>
                    <a:pt x="1385640" y="3506210"/>
                    <a:pt x="1383249" y="3521012"/>
                    <a:pt x="1383973" y="3533994"/>
                  </a:cubicBezTo>
                  <a:cubicBezTo>
                    <a:pt x="1385326" y="3561426"/>
                    <a:pt x="1388126" y="3589087"/>
                    <a:pt x="1385011" y="3616795"/>
                  </a:cubicBezTo>
                  <a:cubicBezTo>
                    <a:pt x="1384306" y="3624148"/>
                    <a:pt x="1384040" y="3627349"/>
                    <a:pt x="1374324" y="3623177"/>
                  </a:cubicBezTo>
                  <a:cubicBezTo>
                    <a:pt x="1359589" y="3616919"/>
                    <a:pt x="1351369" y="3621443"/>
                    <a:pt x="1344949" y="3635778"/>
                  </a:cubicBezTo>
                  <a:cubicBezTo>
                    <a:pt x="1341853" y="3642341"/>
                    <a:pt x="1338539" y="3648647"/>
                    <a:pt x="1337920" y="3656124"/>
                  </a:cubicBezTo>
                  <a:cubicBezTo>
                    <a:pt x="1337272" y="3662906"/>
                    <a:pt x="1335072" y="3669516"/>
                    <a:pt x="1332414" y="3676288"/>
                  </a:cubicBezTo>
                  <a:cubicBezTo>
                    <a:pt x="1329376" y="3668144"/>
                    <a:pt x="1327699" y="3660143"/>
                    <a:pt x="1328499" y="3651542"/>
                  </a:cubicBezTo>
                  <a:cubicBezTo>
                    <a:pt x="1330566" y="3629920"/>
                    <a:pt x="1327118" y="3609423"/>
                    <a:pt x="1312602" y="3592430"/>
                  </a:cubicBezTo>
                  <a:cubicBezTo>
                    <a:pt x="1299772" y="3577561"/>
                    <a:pt x="1303792" y="3561617"/>
                    <a:pt x="1309221" y="3546139"/>
                  </a:cubicBezTo>
                  <a:cubicBezTo>
                    <a:pt x="1320117" y="3516544"/>
                    <a:pt x="1326633" y="3486093"/>
                    <a:pt x="1328795" y="3454803"/>
                  </a:cubicBezTo>
                  <a:cubicBezTo>
                    <a:pt x="1329423" y="3447660"/>
                    <a:pt x="1332414" y="3441002"/>
                    <a:pt x="1337348" y="3433201"/>
                  </a:cubicBezTo>
                  <a:close/>
                  <a:moveTo>
                    <a:pt x="1231783" y="3328407"/>
                  </a:moveTo>
                  <a:cubicBezTo>
                    <a:pt x="1232849" y="3325425"/>
                    <a:pt x="1233792" y="3320301"/>
                    <a:pt x="1238469" y="3321349"/>
                  </a:cubicBezTo>
                  <a:cubicBezTo>
                    <a:pt x="1242974" y="3322435"/>
                    <a:pt x="1244270" y="3327197"/>
                    <a:pt x="1244013" y="3331274"/>
                  </a:cubicBezTo>
                  <a:cubicBezTo>
                    <a:pt x="1243660" y="3336846"/>
                    <a:pt x="1242698" y="3342542"/>
                    <a:pt x="1240688" y="3347676"/>
                  </a:cubicBezTo>
                  <a:cubicBezTo>
                    <a:pt x="1237917" y="3355201"/>
                    <a:pt x="1239441" y="3361496"/>
                    <a:pt x="1243917" y="3367964"/>
                  </a:cubicBezTo>
                  <a:cubicBezTo>
                    <a:pt x="1249775" y="3364678"/>
                    <a:pt x="1249775" y="3358324"/>
                    <a:pt x="1252747" y="3353819"/>
                  </a:cubicBezTo>
                  <a:cubicBezTo>
                    <a:pt x="1254862" y="3350552"/>
                    <a:pt x="1255662" y="3344980"/>
                    <a:pt x="1260872" y="3345923"/>
                  </a:cubicBezTo>
                  <a:cubicBezTo>
                    <a:pt x="1265377" y="3346780"/>
                    <a:pt x="1266368" y="3352229"/>
                    <a:pt x="1266549" y="3355982"/>
                  </a:cubicBezTo>
                  <a:cubicBezTo>
                    <a:pt x="1267254" y="3367040"/>
                    <a:pt x="1266873" y="3378241"/>
                    <a:pt x="1266873" y="3390700"/>
                  </a:cubicBezTo>
                  <a:cubicBezTo>
                    <a:pt x="1272835" y="3388481"/>
                    <a:pt x="1275940" y="3384947"/>
                    <a:pt x="1277169" y="3380299"/>
                  </a:cubicBezTo>
                  <a:cubicBezTo>
                    <a:pt x="1278465" y="3374612"/>
                    <a:pt x="1282113" y="3370488"/>
                    <a:pt x="1287790" y="3371460"/>
                  </a:cubicBezTo>
                  <a:cubicBezTo>
                    <a:pt x="1295324" y="3372860"/>
                    <a:pt x="1291742" y="3379823"/>
                    <a:pt x="1292019" y="3384261"/>
                  </a:cubicBezTo>
                  <a:cubicBezTo>
                    <a:pt x="1292704" y="3392910"/>
                    <a:pt x="1292124" y="3401720"/>
                    <a:pt x="1292257" y="3410426"/>
                  </a:cubicBezTo>
                  <a:cubicBezTo>
                    <a:pt x="1292257" y="3412865"/>
                    <a:pt x="1291847" y="3415837"/>
                    <a:pt x="1294762" y="3417208"/>
                  </a:cubicBezTo>
                  <a:cubicBezTo>
                    <a:pt x="1298905" y="3418989"/>
                    <a:pt x="1300239" y="3415522"/>
                    <a:pt x="1301734" y="3413227"/>
                  </a:cubicBezTo>
                  <a:cubicBezTo>
                    <a:pt x="1309211" y="3401730"/>
                    <a:pt x="1312297" y="3406845"/>
                    <a:pt x="1314841" y="3416351"/>
                  </a:cubicBezTo>
                  <a:cubicBezTo>
                    <a:pt x="1318251" y="3431591"/>
                    <a:pt x="1314688" y="3446593"/>
                    <a:pt x="1310811" y="3461014"/>
                  </a:cubicBezTo>
                  <a:cubicBezTo>
                    <a:pt x="1305182" y="3481873"/>
                    <a:pt x="1302458" y="3503209"/>
                    <a:pt x="1298915" y="3524374"/>
                  </a:cubicBezTo>
                  <a:cubicBezTo>
                    <a:pt x="1296172" y="3539261"/>
                    <a:pt x="1287170" y="3547082"/>
                    <a:pt x="1274359" y="3554692"/>
                  </a:cubicBezTo>
                  <a:cubicBezTo>
                    <a:pt x="1266539" y="3537995"/>
                    <a:pt x="1276779" y="3524612"/>
                    <a:pt x="1281160" y="3510858"/>
                  </a:cubicBezTo>
                  <a:cubicBezTo>
                    <a:pt x="1284856" y="3499552"/>
                    <a:pt x="1284523" y="3490141"/>
                    <a:pt x="1280541" y="3478740"/>
                  </a:cubicBezTo>
                  <a:cubicBezTo>
                    <a:pt x="1271797" y="3453241"/>
                    <a:pt x="1256157" y="3430057"/>
                    <a:pt x="1252223" y="3402673"/>
                  </a:cubicBezTo>
                  <a:cubicBezTo>
                    <a:pt x="1250928" y="3393405"/>
                    <a:pt x="1243994" y="3386938"/>
                    <a:pt x="1235012" y="3384547"/>
                  </a:cubicBezTo>
                  <a:cubicBezTo>
                    <a:pt x="1223572" y="3381270"/>
                    <a:pt x="1221362" y="3373393"/>
                    <a:pt x="1221496" y="3363449"/>
                  </a:cubicBezTo>
                  <a:cubicBezTo>
                    <a:pt x="1221610" y="3350828"/>
                    <a:pt x="1227763" y="3339970"/>
                    <a:pt x="1231783" y="3328407"/>
                  </a:cubicBezTo>
                  <a:close/>
                  <a:moveTo>
                    <a:pt x="1165746" y="3218136"/>
                  </a:moveTo>
                  <a:cubicBezTo>
                    <a:pt x="1169689" y="3228785"/>
                    <a:pt x="1172480" y="3235938"/>
                    <a:pt x="1175147" y="3243234"/>
                  </a:cubicBezTo>
                  <a:cubicBezTo>
                    <a:pt x="1175899" y="3245520"/>
                    <a:pt x="1174461" y="3248911"/>
                    <a:pt x="1178166" y="3249302"/>
                  </a:cubicBezTo>
                  <a:cubicBezTo>
                    <a:pt x="1194578" y="3251197"/>
                    <a:pt x="1196111" y="3261751"/>
                    <a:pt x="1194321" y="3274914"/>
                  </a:cubicBezTo>
                  <a:cubicBezTo>
                    <a:pt x="1193273" y="3281591"/>
                    <a:pt x="1198702" y="3282487"/>
                    <a:pt x="1204084" y="3283944"/>
                  </a:cubicBezTo>
                  <a:cubicBezTo>
                    <a:pt x="1208361" y="3285125"/>
                    <a:pt x="1212647" y="3288354"/>
                    <a:pt x="1212475" y="3293612"/>
                  </a:cubicBezTo>
                  <a:cubicBezTo>
                    <a:pt x="1212304" y="3295907"/>
                    <a:pt x="1210437" y="3299746"/>
                    <a:pt x="1208980" y="3299965"/>
                  </a:cubicBezTo>
                  <a:cubicBezTo>
                    <a:pt x="1204484" y="3300393"/>
                    <a:pt x="1201007" y="3297593"/>
                    <a:pt x="1197788" y="3294583"/>
                  </a:cubicBezTo>
                  <a:cubicBezTo>
                    <a:pt x="1184643" y="3282229"/>
                    <a:pt x="1173890" y="3268104"/>
                    <a:pt x="1163536" y="3253578"/>
                  </a:cubicBezTo>
                  <a:cubicBezTo>
                    <a:pt x="1155926" y="3242901"/>
                    <a:pt x="1160564" y="3232433"/>
                    <a:pt x="1165746" y="3218136"/>
                  </a:cubicBezTo>
                  <a:close/>
                  <a:moveTo>
                    <a:pt x="1153659" y="3271590"/>
                  </a:moveTo>
                  <a:cubicBezTo>
                    <a:pt x="1158450" y="3280620"/>
                    <a:pt x="1164060" y="3289516"/>
                    <a:pt x="1169346" y="3298584"/>
                  </a:cubicBezTo>
                  <a:cubicBezTo>
                    <a:pt x="1180948" y="3307099"/>
                    <a:pt x="1189082" y="3317605"/>
                    <a:pt x="1187625" y="3332959"/>
                  </a:cubicBezTo>
                  <a:cubicBezTo>
                    <a:pt x="1187853" y="3334026"/>
                    <a:pt x="1187958" y="3334979"/>
                    <a:pt x="1188177" y="3336160"/>
                  </a:cubicBezTo>
                  <a:cubicBezTo>
                    <a:pt x="1194711" y="3348961"/>
                    <a:pt x="1188701" y="3363992"/>
                    <a:pt x="1196169" y="3377336"/>
                  </a:cubicBezTo>
                  <a:cubicBezTo>
                    <a:pt x="1201312" y="3386833"/>
                    <a:pt x="1204493" y="3395520"/>
                    <a:pt x="1217152" y="3397958"/>
                  </a:cubicBezTo>
                  <a:cubicBezTo>
                    <a:pt x="1224248" y="3399349"/>
                    <a:pt x="1230487" y="3404550"/>
                    <a:pt x="1233345" y="3412751"/>
                  </a:cubicBezTo>
                  <a:cubicBezTo>
                    <a:pt x="1240041" y="3431219"/>
                    <a:pt x="1251290" y="3448117"/>
                    <a:pt x="1251290" y="3468472"/>
                  </a:cubicBezTo>
                  <a:cubicBezTo>
                    <a:pt x="1261234" y="3488360"/>
                    <a:pt x="1262520" y="3508896"/>
                    <a:pt x="1256290" y="3530108"/>
                  </a:cubicBezTo>
                  <a:cubicBezTo>
                    <a:pt x="1256900" y="3535090"/>
                    <a:pt x="1255262" y="3539281"/>
                    <a:pt x="1251109" y="3542453"/>
                  </a:cubicBezTo>
                  <a:cubicBezTo>
                    <a:pt x="1247718" y="3552320"/>
                    <a:pt x="1242717" y="3561779"/>
                    <a:pt x="1244241" y="3572752"/>
                  </a:cubicBezTo>
                  <a:cubicBezTo>
                    <a:pt x="1258129" y="3580391"/>
                    <a:pt x="1276883" y="3570503"/>
                    <a:pt x="1288923" y="3585058"/>
                  </a:cubicBezTo>
                  <a:cubicBezTo>
                    <a:pt x="1299277" y="3597755"/>
                    <a:pt x="1304049" y="3612461"/>
                    <a:pt x="1304430" y="3628739"/>
                  </a:cubicBezTo>
                  <a:cubicBezTo>
                    <a:pt x="1309945" y="3632292"/>
                    <a:pt x="1307230" y="3637941"/>
                    <a:pt x="1307230" y="3642465"/>
                  </a:cubicBezTo>
                  <a:cubicBezTo>
                    <a:pt x="1307611" y="3662067"/>
                    <a:pt x="1308344" y="3681479"/>
                    <a:pt x="1307230" y="3700939"/>
                  </a:cubicBezTo>
                  <a:cubicBezTo>
                    <a:pt x="1305859" y="3723846"/>
                    <a:pt x="1314231" y="3742516"/>
                    <a:pt x="1328890" y="3759013"/>
                  </a:cubicBezTo>
                  <a:cubicBezTo>
                    <a:pt x="1332052" y="3762527"/>
                    <a:pt x="1334157" y="3765166"/>
                    <a:pt x="1331243" y="3769567"/>
                  </a:cubicBezTo>
                  <a:cubicBezTo>
                    <a:pt x="1332833" y="3771281"/>
                    <a:pt x="1334605" y="3772786"/>
                    <a:pt x="1336148" y="3774453"/>
                  </a:cubicBezTo>
                  <a:cubicBezTo>
                    <a:pt x="1345206" y="3777815"/>
                    <a:pt x="1343939" y="3786064"/>
                    <a:pt x="1340291" y="3790283"/>
                  </a:cubicBezTo>
                  <a:cubicBezTo>
                    <a:pt x="1336281" y="3794951"/>
                    <a:pt x="1329128" y="3792674"/>
                    <a:pt x="1324013" y="3788340"/>
                  </a:cubicBezTo>
                  <a:cubicBezTo>
                    <a:pt x="1288228" y="3781282"/>
                    <a:pt x="1261415" y="3748145"/>
                    <a:pt x="1270987" y="3705987"/>
                  </a:cubicBezTo>
                  <a:cubicBezTo>
                    <a:pt x="1276207" y="3683737"/>
                    <a:pt x="1276779" y="3660667"/>
                    <a:pt x="1276036" y="3637655"/>
                  </a:cubicBezTo>
                  <a:cubicBezTo>
                    <a:pt x="1275817" y="3633388"/>
                    <a:pt x="1273950" y="3630263"/>
                    <a:pt x="1271359" y="3627063"/>
                  </a:cubicBezTo>
                  <a:cubicBezTo>
                    <a:pt x="1261282" y="3630444"/>
                    <a:pt x="1263348" y="3641560"/>
                    <a:pt x="1257462" y="3647399"/>
                  </a:cubicBezTo>
                  <a:cubicBezTo>
                    <a:pt x="1251956" y="3673497"/>
                    <a:pt x="1254081" y="3700872"/>
                    <a:pt x="1243498" y="3726285"/>
                  </a:cubicBezTo>
                  <a:cubicBezTo>
                    <a:pt x="1238441" y="3724294"/>
                    <a:pt x="1234792" y="3720218"/>
                    <a:pt x="1231906" y="3715427"/>
                  </a:cubicBezTo>
                  <a:cubicBezTo>
                    <a:pt x="1203608" y="3688213"/>
                    <a:pt x="1186091" y="3655600"/>
                    <a:pt x="1178147" y="3617509"/>
                  </a:cubicBezTo>
                  <a:cubicBezTo>
                    <a:pt x="1169318" y="3574856"/>
                    <a:pt x="1183558" y="3535471"/>
                    <a:pt x="1194854" y="3495856"/>
                  </a:cubicBezTo>
                  <a:cubicBezTo>
                    <a:pt x="1197836" y="3485617"/>
                    <a:pt x="1196731" y="3475682"/>
                    <a:pt x="1197216" y="3465824"/>
                  </a:cubicBezTo>
                  <a:cubicBezTo>
                    <a:pt x="1197302" y="3462385"/>
                    <a:pt x="1194092" y="3462271"/>
                    <a:pt x="1191530" y="3462271"/>
                  </a:cubicBezTo>
                  <a:cubicBezTo>
                    <a:pt x="1186272" y="3471482"/>
                    <a:pt x="1180976" y="3480797"/>
                    <a:pt x="1175737" y="3490093"/>
                  </a:cubicBezTo>
                  <a:cubicBezTo>
                    <a:pt x="1174623" y="3497799"/>
                    <a:pt x="1173490" y="3505438"/>
                    <a:pt x="1169022" y="3512239"/>
                  </a:cubicBezTo>
                  <a:cubicBezTo>
                    <a:pt x="1169318" y="3512801"/>
                    <a:pt x="1169146" y="3513373"/>
                    <a:pt x="1168698" y="3513963"/>
                  </a:cubicBezTo>
                  <a:cubicBezTo>
                    <a:pt x="1171118" y="3520393"/>
                    <a:pt x="1166565" y="3525698"/>
                    <a:pt x="1165231" y="3531413"/>
                  </a:cubicBezTo>
                  <a:cubicBezTo>
                    <a:pt x="1164565" y="3533975"/>
                    <a:pt x="1164003" y="3539662"/>
                    <a:pt x="1159431" y="3538623"/>
                  </a:cubicBezTo>
                  <a:cubicBezTo>
                    <a:pt x="1157126" y="3538052"/>
                    <a:pt x="1155906" y="3533499"/>
                    <a:pt x="1153963" y="3530508"/>
                  </a:cubicBezTo>
                  <a:cubicBezTo>
                    <a:pt x="1146219" y="3476082"/>
                    <a:pt x="1152135" y="3421428"/>
                    <a:pt x="1150220" y="3366907"/>
                  </a:cubicBezTo>
                  <a:cubicBezTo>
                    <a:pt x="1150134" y="3361268"/>
                    <a:pt x="1150725" y="3355858"/>
                    <a:pt x="1148401" y="3350333"/>
                  </a:cubicBezTo>
                  <a:cubicBezTo>
                    <a:pt x="1145819" y="3343370"/>
                    <a:pt x="1146953" y="3332912"/>
                    <a:pt x="1136656" y="3333550"/>
                  </a:cubicBezTo>
                  <a:cubicBezTo>
                    <a:pt x="1126293" y="3334093"/>
                    <a:pt x="1128760" y="3344390"/>
                    <a:pt x="1127408" y="3351257"/>
                  </a:cubicBezTo>
                  <a:cubicBezTo>
                    <a:pt x="1127827" y="3397882"/>
                    <a:pt x="1128141" y="3444316"/>
                    <a:pt x="1128551" y="3490836"/>
                  </a:cubicBezTo>
                  <a:cubicBezTo>
                    <a:pt x="1128551" y="3491684"/>
                    <a:pt x="1127855" y="3492827"/>
                    <a:pt x="1127255" y="3493551"/>
                  </a:cubicBezTo>
                  <a:cubicBezTo>
                    <a:pt x="1127036" y="3493837"/>
                    <a:pt x="1125788" y="3493322"/>
                    <a:pt x="1125074" y="3492989"/>
                  </a:cubicBezTo>
                  <a:cubicBezTo>
                    <a:pt x="1114482" y="3486369"/>
                    <a:pt x="1112149" y="3473244"/>
                    <a:pt x="1102766" y="3465490"/>
                  </a:cubicBezTo>
                  <a:cubicBezTo>
                    <a:pt x="1094118" y="3455489"/>
                    <a:pt x="1082516" y="3460080"/>
                    <a:pt x="1071953" y="3459804"/>
                  </a:cubicBezTo>
                  <a:cubicBezTo>
                    <a:pt x="1071925" y="3461480"/>
                    <a:pt x="1071772" y="3463185"/>
                    <a:pt x="1071667" y="3464824"/>
                  </a:cubicBezTo>
                  <a:cubicBezTo>
                    <a:pt x="1076030" y="3466719"/>
                    <a:pt x="1079202" y="3469348"/>
                    <a:pt x="1078402" y="3474520"/>
                  </a:cubicBezTo>
                  <a:lnTo>
                    <a:pt x="1078316" y="3474520"/>
                  </a:lnTo>
                  <a:cubicBezTo>
                    <a:pt x="1079992" y="3476939"/>
                    <a:pt x="1081659" y="3479244"/>
                    <a:pt x="1082964" y="3481769"/>
                  </a:cubicBezTo>
                  <a:cubicBezTo>
                    <a:pt x="1082964" y="3481769"/>
                    <a:pt x="1083564" y="3482369"/>
                    <a:pt x="1083440" y="3482369"/>
                  </a:cubicBezTo>
                  <a:cubicBezTo>
                    <a:pt x="1099509" y="3503209"/>
                    <a:pt x="1113977" y="3524945"/>
                    <a:pt x="1125731" y="3548386"/>
                  </a:cubicBezTo>
                  <a:cubicBezTo>
                    <a:pt x="1132570" y="3554092"/>
                    <a:pt x="1135685" y="3561759"/>
                    <a:pt x="1137999" y="3569903"/>
                  </a:cubicBezTo>
                  <a:cubicBezTo>
                    <a:pt x="1151992" y="3591982"/>
                    <a:pt x="1162736" y="3615328"/>
                    <a:pt x="1168689" y="3640693"/>
                  </a:cubicBezTo>
                  <a:cubicBezTo>
                    <a:pt x="1168908" y="3641874"/>
                    <a:pt x="1169318" y="3642941"/>
                    <a:pt x="1169556" y="3643932"/>
                  </a:cubicBezTo>
                  <a:cubicBezTo>
                    <a:pt x="1173490" y="3646237"/>
                    <a:pt x="1171470" y="3650590"/>
                    <a:pt x="1172813" y="3653533"/>
                  </a:cubicBezTo>
                  <a:cubicBezTo>
                    <a:pt x="1175214" y="3659220"/>
                    <a:pt x="1178700" y="3666696"/>
                    <a:pt x="1173985" y="3670430"/>
                  </a:cubicBezTo>
                  <a:cubicBezTo>
                    <a:pt x="1169308" y="3674307"/>
                    <a:pt x="1162269" y="3669373"/>
                    <a:pt x="1156773" y="3666192"/>
                  </a:cubicBezTo>
                  <a:cubicBezTo>
                    <a:pt x="1146439" y="3662086"/>
                    <a:pt x="1136152" y="3661782"/>
                    <a:pt x="1125588" y="3663544"/>
                  </a:cubicBezTo>
                  <a:cubicBezTo>
                    <a:pt x="1120616" y="3668544"/>
                    <a:pt x="1122369" y="3672126"/>
                    <a:pt x="1128074" y="3675031"/>
                  </a:cubicBezTo>
                  <a:cubicBezTo>
                    <a:pt x="1137704" y="3680012"/>
                    <a:pt x="1147229" y="3684937"/>
                    <a:pt x="1156888" y="3690061"/>
                  </a:cubicBezTo>
                  <a:cubicBezTo>
                    <a:pt x="1161450" y="3690490"/>
                    <a:pt x="1165955" y="3690995"/>
                    <a:pt x="1169451" y="3694262"/>
                  </a:cubicBezTo>
                  <a:cubicBezTo>
                    <a:pt x="1174433" y="3696043"/>
                    <a:pt x="1179557" y="3697481"/>
                    <a:pt x="1182205" y="3702539"/>
                  </a:cubicBezTo>
                  <a:cubicBezTo>
                    <a:pt x="1187939" y="3705968"/>
                    <a:pt x="1194854" y="3708216"/>
                    <a:pt x="1197836" y="3714979"/>
                  </a:cubicBezTo>
                  <a:cubicBezTo>
                    <a:pt x="1200083" y="3717246"/>
                    <a:pt x="1202198" y="3719227"/>
                    <a:pt x="1204474" y="3721446"/>
                  </a:cubicBezTo>
                  <a:cubicBezTo>
                    <a:pt x="1205379" y="3722142"/>
                    <a:pt x="1206065" y="3722970"/>
                    <a:pt x="1206894" y="3723837"/>
                  </a:cubicBezTo>
                  <a:cubicBezTo>
                    <a:pt x="1214819" y="3731362"/>
                    <a:pt x="1222591" y="3739106"/>
                    <a:pt x="1230354" y="3746878"/>
                  </a:cubicBezTo>
                  <a:cubicBezTo>
                    <a:pt x="1230982" y="3747030"/>
                    <a:pt x="1231230" y="3747354"/>
                    <a:pt x="1231402" y="3747926"/>
                  </a:cubicBezTo>
                  <a:cubicBezTo>
                    <a:pt x="1239469" y="3754850"/>
                    <a:pt x="1239469" y="3760232"/>
                    <a:pt x="1228506" y="3763928"/>
                  </a:cubicBezTo>
                  <a:cubicBezTo>
                    <a:pt x="1217695" y="3777510"/>
                    <a:pt x="1218162" y="3779092"/>
                    <a:pt x="1233002" y="3785407"/>
                  </a:cubicBezTo>
                  <a:cubicBezTo>
                    <a:pt x="1247280" y="3791560"/>
                    <a:pt x="1263139" y="3791045"/>
                    <a:pt x="1277626" y="3795646"/>
                  </a:cubicBezTo>
                  <a:cubicBezTo>
                    <a:pt x="1284570" y="3797875"/>
                    <a:pt x="1293457" y="3797827"/>
                    <a:pt x="1297372" y="3809229"/>
                  </a:cubicBezTo>
                  <a:cubicBezTo>
                    <a:pt x="1256290" y="3801047"/>
                    <a:pt x="1216895" y="3792846"/>
                    <a:pt x="1177033" y="3784835"/>
                  </a:cubicBezTo>
                  <a:cubicBezTo>
                    <a:pt x="1178719" y="3779806"/>
                    <a:pt x="1180252" y="3774434"/>
                    <a:pt x="1181853" y="3769147"/>
                  </a:cubicBezTo>
                  <a:cubicBezTo>
                    <a:pt x="1188520" y="3749088"/>
                    <a:pt x="1182919" y="3737782"/>
                    <a:pt x="1162374" y="3730647"/>
                  </a:cubicBezTo>
                  <a:cubicBezTo>
                    <a:pt x="1161898" y="3730428"/>
                    <a:pt x="1161259" y="3730428"/>
                    <a:pt x="1160850" y="3730428"/>
                  </a:cubicBezTo>
                  <a:cubicBezTo>
                    <a:pt x="1116844" y="3723837"/>
                    <a:pt x="1093308" y="3693767"/>
                    <a:pt x="1074496" y="3657991"/>
                  </a:cubicBezTo>
                  <a:cubicBezTo>
                    <a:pt x="1069638" y="3648466"/>
                    <a:pt x="1064133" y="3639236"/>
                    <a:pt x="1059885" y="3629520"/>
                  </a:cubicBezTo>
                  <a:cubicBezTo>
                    <a:pt x="1054275" y="3616700"/>
                    <a:pt x="1059380" y="3607689"/>
                    <a:pt x="1073144" y="3604117"/>
                  </a:cubicBezTo>
                  <a:cubicBezTo>
                    <a:pt x="1088889" y="3600298"/>
                    <a:pt x="1091975" y="3593183"/>
                    <a:pt x="1083955" y="3578257"/>
                  </a:cubicBezTo>
                  <a:cubicBezTo>
                    <a:pt x="1066105" y="3544119"/>
                    <a:pt x="1048131" y="3510125"/>
                    <a:pt x="1039178" y="3472339"/>
                  </a:cubicBezTo>
                  <a:cubicBezTo>
                    <a:pt x="1034796" y="3452622"/>
                    <a:pt x="1030472" y="3432496"/>
                    <a:pt x="1037215" y="3412436"/>
                  </a:cubicBezTo>
                  <a:cubicBezTo>
                    <a:pt x="1037425" y="3410074"/>
                    <a:pt x="1036720" y="3407464"/>
                    <a:pt x="1039606" y="3406111"/>
                  </a:cubicBezTo>
                  <a:lnTo>
                    <a:pt x="1039940" y="3406111"/>
                  </a:lnTo>
                  <a:cubicBezTo>
                    <a:pt x="1057161" y="3398130"/>
                    <a:pt x="1075439" y="3401397"/>
                    <a:pt x="1093403" y="3400492"/>
                  </a:cubicBezTo>
                  <a:cubicBezTo>
                    <a:pt x="1099376" y="3383537"/>
                    <a:pt x="1098013" y="3367231"/>
                    <a:pt x="1090746" y="3350714"/>
                  </a:cubicBezTo>
                  <a:cubicBezTo>
                    <a:pt x="1083450" y="3334074"/>
                    <a:pt x="1077144" y="3317310"/>
                    <a:pt x="1077820" y="3298374"/>
                  </a:cubicBezTo>
                  <a:cubicBezTo>
                    <a:pt x="1078621" y="3275981"/>
                    <a:pt x="1094251" y="3264875"/>
                    <a:pt x="1109310" y="3252835"/>
                  </a:cubicBezTo>
                  <a:cubicBezTo>
                    <a:pt x="1132989" y="3245463"/>
                    <a:pt x="1141495" y="3249073"/>
                    <a:pt x="1153659" y="3271590"/>
                  </a:cubicBezTo>
                  <a:close/>
                  <a:moveTo>
                    <a:pt x="1336377" y="3872189"/>
                  </a:moveTo>
                  <a:cubicBezTo>
                    <a:pt x="1297648" y="3887143"/>
                    <a:pt x="1257357" y="3896925"/>
                    <a:pt x="1216495" y="3906479"/>
                  </a:cubicBezTo>
                  <a:cubicBezTo>
                    <a:pt x="1215695" y="3896697"/>
                    <a:pt x="1220114" y="3891620"/>
                    <a:pt x="1226191" y="3888581"/>
                  </a:cubicBezTo>
                  <a:cubicBezTo>
                    <a:pt x="1261034" y="3872094"/>
                    <a:pt x="1298915" y="3873608"/>
                    <a:pt x="1336377" y="3872189"/>
                  </a:cubicBezTo>
                  <a:close/>
                  <a:moveTo>
                    <a:pt x="1026081" y="3665477"/>
                  </a:moveTo>
                  <a:cubicBezTo>
                    <a:pt x="1020804" y="3659724"/>
                    <a:pt x="1014098" y="3655047"/>
                    <a:pt x="1007593" y="3650199"/>
                  </a:cubicBezTo>
                  <a:cubicBezTo>
                    <a:pt x="994134" y="3640093"/>
                    <a:pt x="993058" y="3619643"/>
                    <a:pt x="1004707" y="3607594"/>
                  </a:cubicBezTo>
                  <a:cubicBezTo>
                    <a:pt x="1011679" y="3600231"/>
                    <a:pt x="1028052" y="3604651"/>
                    <a:pt x="1034282" y="3616290"/>
                  </a:cubicBezTo>
                  <a:cubicBezTo>
                    <a:pt x="1043788" y="3633835"/>
                    <a:pt x="1045083" y="3650599"/>
                    <a:pt x="1026081" y="3665477"/>
                  </a:cubicBezTo>
                  <a:close/>
                  <a:moveTo>
                    <a:pt x="1125436" y="3172835"/>
                  </a:moveTo>
                  <a:cubicBezTo>
                    <a:pt x="1127722" y="3189742"/>
                    <a:pt x="1126665" y="3204858"/>
                    <a:pt x="1114663" y="3218136"/>
                  </a:cubicBezTo>
                  <a:cubicBezTo>
                    <a:pt x="1107224" y="3226460"/>
                    <a:pt x="1101109" y="3223565"/>
                    <a:pt x="1097347" y="3216069"/>
                  </a:cubicBezTo>
                  <a:cubicBezTo>
                    <a:pt x="1094537" y="3210459"/>
                    <a:pt x="1091222" y="3205077"/>
                    <a:pt x="1085698" y="3203515"/>
                  </a:cubicBezTo>
                  <a:cubicBezTo>
                    <a:pt x="1068600" y="3198724"/>
                    <a:pt x="1063647" y="3189046"/>
                    <a:pt x="1068295" y="3172177"/>
                  </a:cubicBezTo>
                  <a:cubicBezTo>
                    <a:pt x="1070420" y="3163643"/>
                    <a:pt x="1069438" y="3154223"/>
                    <a:pt x="1065457" y="3145555"/>
                  </a:cubicBezTo>
                  <a:cubicBezTo>
                    <a:pt x="1062009" y="3137973"/>
                    <a:pt x="1059028" y="3130211"/>
                    <a:pt x="1055437" y="3121324"/>
                  </a:cubicBezTo>
                  <a:cubicBezTo>
                    <a:pt x="1083221" y="3115018"/>
                    <a:pt x="1120807" y="3141431"/>
                    <a:pt x="1125436" y="3172835"/>
                  </a:cubicBezTo>
                  <a:close/>
                  <a:moveTo>
                    <a:pt x="1002411" y="3087948"/>
                  </a:moveTo>
                  <a:cubicBezTo>
                    <a:pt x="1008155" y="3085491"/>
                    <a:pt x="1013774" y="3079614"/>
                    <a:pt x="1018565" y="3088977"/>
                  </a:cubicBezTo>
                  <a:cubicBezTo>
                    <a:pt x="1026852" y="3103788"/>
                    <a:pt x="1033243" y="3119047"/>
                    <a:pt x="1036730" y="3135621"/>
                  </a:cubicBezTo>
                  <a:cubicBezTo>
                    <a:pt x="1037939" y="3139678"/>
                    <a:pt x="1039187" y="3143660"/>
                    <a:pt x="1040559" y="3147813"/>
                  </a:cubicBezTo>
                  <a:cubicBezTo>
                    <a:pt x="1047455" y="3157404"/>
                    <a:pt x="1047855" y="3167672"/>
                    <a:pt x="1044854" y="3178864"/>
                  </a:cubicBezTo>
                  <a:cubicBezTo>
                    <a:pt x="1041721" y="3190809"/>
                    <a:pt x="1043778" y="3203058"/>
                    <a:pt x="1043969" y="3215240"/>
                  </a:cubicBezTo>
                  <a:cubicBezTo>
                    <a:pt x="1050731" y="3217421"/>
                    <a:pt x="1057580" y="3219174"/>
                    <a:pt x="1065076" y="3218726"/>
                  </a:cubicBezTo>
                  <a:cubicBezTo>
                    <a:pt x="1078335" y="3217526"/>
                    <a:pt x="1083221" y="3225175"/>
                    <a:pt x="1080840" y="3236700"/>
                  </a:cubicBezTo>
                  <a:cubicBezTo>
                    <a:pt x="1079011" y="3245825"/>
                    <a:pt x="1078335" y="3256064"/>
                    <a:pt x="1068705" y="3261770"/>
                  </a:cubicBezTo>
                  <a:cubicBezTo>
                    <a:pt x="1057532" y="3279667"/>
                    <a:pt x="1051312" y="3298612"/>
                    <a:pt x="1060475" y="3319167"/>
                  </a:cubicBezTo>
                  <a:cubicBezTo>
                    <a:pt x="1063333" y="3325349"/>
                    <a:pt x="1061352" y="3331283"/>
                    <a:pt x="1062847" y="3337103"/>
                  </a:cubicBezTo>
                  <a:cubicBezTo>
                    <a:pt x="1064562" y="3343008"/>
                    <a:pt x="1066438" y="3349085"/>
                    <a:pt x="1068286" y="3354981"/>
                  </a:cubicBezTo>
                  <a:cubicBezTo>
                    <a:pt x="1068381" y="3356620"/>
                    <a:pt x="1068200" y="3358344"/>
                    <a:pt x="1068762" y="3359572"/>
                  </a:cubicBezTo>
                  <a:cubicBezTo>
                    <a:pt x="1073439" y="3367326"/>
                    <a:pt x="1071553" y="3374917"/>
                    <a:pt x="1065543" y="3380223"/>
                  </a:cubicBezTo>
                  <a:cubicBezTo>
                    <a:pt x="1060075" y="3384842"/>
                    <a:pt x="1053017" y="3382166"/>
                    <a:pt x="1046826" y="3379203"/>
                  </a:cubicBezTo>
                  <a:cubicBezTo>
                    <a:pt x="1039311" y="3375822"/>
                    <a:pt x="1034263" y="3372527"/>
                    <a:pt x="1033767" y="3362801"/>
                  </a:cubicBezTo>
                  <a:cubicBezTo>
                    <a:pt x="1033186" y="3336093"/>
                    <a:pt x="1036539" y="3309604"/>
                    <a:pt x="1037768" y="3283306"/>
                  </a:cubicBezTo>
                  <a:cubicBezTo>
                    <a:pt x="1037549" y="3278153"/>
                    <a:pt x="1037206" y="3273076"/>
                    <a:pt x="1036796" y="3267418"/>
                  </a:cubicBezTo>
                  <a:cubicBezTo>
                    <a:pt x="1031291" y="3265780"/>
                    <a:pt x="1027195" y="3271476"/>
                    <a:pt x="1021852" y="3271209"/>
                  </a:cubicBezTo>
                  <a:cubicBezTo>
                    <a:pt x="1016403" y="3273533"/>
                    <a:pt x="1024061" y="3282210"/>
                    <a:pt x="1015908" y="3283306"/>
                  </a:cubicBezTo>
                  <a:cubicBezTo>
                    <a:pt x="1015232" y="3284982"/>
                    <a:pt x="1014136" y="3286706"/>
                    <a:pt x="1011660" y="3286239"/>
                  </a:cubicBezTo>
                  <a:cubicBezTo>
                    <a:pt x="1008412" y="3285687"/>
                    <a:pt x="1009012" y="3282944"/>
                    <a:pt x="1008659" y="3280743"/>
                  </a:cubicBezTo>
                  <a:lnTo>
                    <a:pt x="1008659" y="3280620"/>
                  </a:lnTo>
                  <a:cubicBezTo>
                    <a:pt x="1002249" y="3269123"/>
                    <a:pt x="999506" y="3256350"/>
                    <a:pt x="997106" y="3243596"/>
                  </a:cubicBezTo>
                  <a:cubicBezTo>
                    <a:pt x="997106" y="3241224"/>
                    <a:pt x="997048" y="3239043"/>
                    <a:pt x="996915" y="3236786"/>
                  </a:cubicBezTo>
                  <a:cubicBezTo>
                    <a:pt x="988247" y="3212163"/>
                    <a:pt x="996667" y="3188265"/>
                    <a:pt x="1000982" y="3164376"/>
                  </a:cubicBezTo>
                  <a:cubicBezTo>
                    <a:pt x="1001992" y="3158928"/>
                    <a:pt x="1001782" y="3153309"/>
                    <a:pt x="1003154" y="3148013"/>
                  </a:cubicBezTo>
                  <a:cubicBezTo>
                    <a:pt x="1000982" y="3142136"/>
                    <a:pt x="1004135" y="3132849"/>
                    <a:pt x="992896" y="3132773"/>
                  </a:cubicBezTo>
                  <a:cubicBezTo>
                    <a:pt x="993781" y="3139726"/>
                    <a:pt x="990724" y="3145365"/>
                    <a:pt x="987123" y="3150765"/>
                  </a:cubicBezTo>
                  <a:cubicBezTo>
                    <a:pt x="982713" y="3161833"/>
                    <a:pt x="981666" y="3174092"/>
                    <a:pt x="974417" y="3183931"/>
                  </a:cubicBezTo>
                  <a:cubicBezTo>
                    <a:pt x="962720" y="3176150"/>
                    <a:pt x="961730" y="3162500"/>
                    <a:pt x="959720" y="3151308"/>
                  </a:cubicBezTo>
                  <a:cubicBezTo>
                    <a:pt x="955996" y="3131239"/>
                    <a:pt x="946100" y="3113694"/>
                    <a:pt x="939630" y="3095111"/>
                  </a:cubicBezTo>
                  <a:cubicBezTo>
                    <a:pt x="931445" y="3088434"/>
                    <a:pt x="927595" y="3088691"/>
                    <a:pt x="927121" y="3100473"/>
                  </a:cubicBezTo>
                  <a:cubicBezTo>
                    <a:pt x="926593" y="3118866"/>
                    <a:pt x="932714" y="3135249"/>
                    <a:pt x="939113" y="3151604"/>
                  </a:cubicBezTo>
                  <a:cubicBezTo>
                    <a:pt x="940930" y="3156499"/>
                    <a:pt x="943954" y="3160748"/>
                    <a:pt x="943427" y="3166053"/>
                  </a:cubicBezTo>
                  <a:cubicBezTo>
                    <a:pt x="943345" y="3166053"/>
                    <a:pt x="943345" y="3166053"/>
                    <a:pt x="943345" y="3165967"/>
                  </a:cubicBezTo>
                  <a:cubicBezTo>
                    <a:pt x="954357" y="3181322"/>
                    <a:pt x="958958" y="3199553"/>
                    <a:pt x="960987" y="3217135"/>
                  </a:cubicBezTo>
                  <a:cubicBezTo>
                    <a:pt x="962511" y="3231175"/>
                    <a:pt x="950199" y="3224489"/>
                    <a:pt x="942766" y="3221927"/>
                  </a:cubicBezTo>
                  <a:cubicBezTo>
                    <a:pt x="930289" y="3220622"/>
                    <a:pt x="918635" y="3213249"/>
                    <a:pt x="905466" y="3216050"/>
                  </a:cubicBezTo>
                  <a:cubicBezTo>
                    <a:pt x="905641" y="3223736"/>
                    <a:pt x="911339" y="3228404"/>
                    <a:pt x="915189" y="3234252"/>
                  </a:cubicBezTo>
                  <a:cubicBezTo>
                    <a:pt x="929761" y="3247358"/>
                    <a:pt x="949311" y="3252416"/>
                    <a:pt x="965197" y="3263218"/>
                  </a:cubicBezTo>
                  <a:cubicBezTo>
                    <a:pt x="975255" y="3270123"/>
                    <a:pt x="985009" y="3277543"/>
                    <a:pt x="990343" y="3289135"/>
                  </a:cubicBezTo>
                  <a:cubicBezTo>
                    <a:pt x="1001925" y="3301260"/>
                    <a:pt x="1001363" y="3317605"/>
                    <a:pt x="1005697" y="3332350"/>
                  </a:cubicBezTo>
                  <a:cubicBezTo>
                    <a:pt x="1008002" y="3340351"/>
                    <a:pt x="999687" y="3340970"/>
                    <a:pt x="994886" y="3341665"/>
                  </a:cubicBezTo>
                  <a:cubicBezTo>
                    <a:pt x="987123" y="3342989"/>
                    <a:pt x="979389" y="3342399"/>
                    <a:pt x="971550" y="3342542"/>
                  </a:cubicBezTo>
                  <a:cubicBezTo>
                    <a:pt x="967130" y="3356305"/>
                    <a:pt x="979237" y="3358820"/>
                    <a:pt x="987028" y="3364125"/>
                  </a:cubicBezTo>
                  <a:cubicBezTo>
                    <a:pt x="1019613" y="3378756"/>
                    <a:pt x="1023023" y="3384966"/>
                    <a:pt x="1015241" y="3414122"/>
                  </a:cubicBezTo>
                  <a:cubicBezTo>
                    <a:pt x="1011584" y="3427848"/>
                    <a:pt x="1002563" y="3429743"/>
                    <a:pt x="990181" y="3419437"/>
                  </a:cubicBezTo>
                  <a:cubicBezTo>
                    <a:pt x="979837" y="3413817"/>
                    <a:pt x="974808" y="3404025"/>
                    <a:pt x="971721" y="3393967"/>
                  </a:cubicBezTo>
                  <a:cubicBezTo>
                    <a:pt x="968407" y="3382147"/>
                    <a:pt x="963130" y="3371412"/>
                    <a:pt x="957310" y="3360649"/>
                  </a:cubicBezTo>
                  <a:cubicBezTo>
                    <a:pt x="949062" y="3345380"/>
                    <a:pt x="936790" y="3331969"/>
                    <a:pt x="945915" y="3311719"/>
                  </a:cubicBezTo>
                  <a:cubicBezTo>
                    <a:pt x="951189" y="3299317"/>
                    <a:pt x="943335" y="3289840"/>
                    <a:pt x="930618" y="3284820"/>
                  </a:cubicBezTo>
                  <a:cubicBezTo>
                    <a:pt x="923084" y="3281848"/>
                    <a:pt x="915859" y="3277248"/>
                    <a:pt x="908365" y="3274695"/>
                  </a:cubicBezTo>
                  <a:cubicBezTo>
                    <a:pt x="884667" y="3266894"/>
                    <a:pt x="870867" y="3250616"/>
                    <a:pt x="864984" y="3227708"/>
                  </a:cubicBezTo>
                  <a:cubicBezTo>
                    <a:pt x="861660" y="3215002"/>
                    <a:pt x="858069" y="3202638"/>
                    <a:pt x="852104" y="3190989"/>
                  </a:cubicBezTo>
                  <a:cubicBezTo>
                    <a:pt x="844889" y="3176654"/>
                    <a:pt x="847242" y="3171768"/>
                    <a:pt x="863395" y="3166253"/>
                  </a:cubicBezTo>
                  <a:cubicBezTo>
                    <a:pt x="883273" y="3159214"/>
                    <a:pt x="887083" y="3148136"/>
                    <a:pt x="878352" y="3128505"/>
                  </a:cubicBezTo>
                  <a:cubicBezTo>
                    <a:pt x="871177" y="3112256"/>
                    <a:pt x="855696" y="3100188"/>
                    <a:pt x="854509" y="3080337"/>
                  </a:cubicBezTo>
                  <a:cubicBezTo>
                    <a:pt x="853776" y="3070012"/>
                    <a:pt x="855478" y="3061078"/>
                    <a:pt x="858596" y="3051753"/>
                  </a:cubicBezTo>
                  <a:cubicBezTo>
                    <a:pt x="861155" y="3045543"/>
                    <a:pt x="859866" y="3037323"/>
                    <a:pt x="867245" y="3033484"/>
                  </a:cubicBezTo>
                  <a:lnTo>
                    <a:pt x="867381" y="3033484"/>
                  </a:lnTo>
                  <a:cubicBezTo>
                    <a:pt x="869145" y="3024540"/>
                    <a:pt x="876587" y="3020159"/>
                    <a:pt x="883079" y="3015063"/>
                  </a:cubicBezTo>
                  <a:cubicBezTo>
                    <a:pt x="884266" y="3013805"/>
                    <a:pt x="885318" y="3012739"/>
                    <a:pt x="886547" y="3011605"/>
                  </a:cubicBezTo>
                  <a:cubicBezTo>
                    <a:pt x="902411" y="3002137"/>
                    <a:pt x="916963" y="3003442"/>
                    <a:pt x="929339" y="3015672"/>
                  </a:cubicBezTo>
                  <a:cubicBezTo>
                    <a:pt x="944966" y="3030988"/>
                    <a:pt x="955186" y="3049048"/>
                    <a:pt x="958968" y="3070527"/>
                  </a:cubicBezTo>
                  <a:cubicBezTo>
                    <a:pt x="963092" y="3075080"/>
                    <a:pt x="966492" y="3080128"/>
                    <a:pt x="967216" y="3086357"/>
                  </a:cubicBezTo>
                  <a:cubicBezTo>
                    <a:pt x="978379" y="3101302"/>
                    <a:pt x="990495" y="3092768"/>
                    <a:pt x="1002411" y="3087948"/>
                  </a:cubicBezTo>
                  <a:close/>
                  <a:moveTo>
                    <a:pt x="874831" y="3280296"/>
                  </a:moveTo>
                  <a:cubicBezTo>
                    <a:pt x="883460" y="3286706"/>
                    <a:pt x="893760" y="3291811"/>
                    <a:pt x="904887" y="3293593"/>
                  </a:cubicBezTo>
                  <a:cubicBezTo>
                    <a:pt x="914611" y="3295412"/>
                    <a:pt x="917170" y="3300956"/>
                    <a:pt x="914537" y="3309604"/>
                  </a:cubicBezTo>
                  <a:cubicBezTo>
                    <a:pt x="912185" y="3317319"/>
                    <a:pt x="910059" y="3325025"/>
                    <a:pt x="908830" y="3332845"/>
                  </a:cubicBezTo>
                  <a:cubicBezTo>
                    <a:pt x="906147" y="3348181"/>
                    <a:pt x="904093" y="3348943"/>
                    <a:pt x="888734" y="3342866"/>
                  </a:cubicBezTo>
                  <a:cubicBezTo>
                    <a:pt x="876978" y="3338275"/>
                    <a:pt x="874161" y="3328216"/>
                    <a:pt x="870374" y="3318453"/>
                  </a:cubicBezTo>
                  <a:cubicBezTo>
                    <a:pt x="862425" y="3297431"/>
                    <a:pt x="853032" y="3278258"/>
                    <a:pt x="824989" y="3279667"/>
                  </a:cubicBezTo>
                  <a:cubicBezTo>
                    <a:pt x="822946" y="3279667"/>
                    <a:pt x="820789" y="3277114"/>
                    <a:pt x="819458" y="3276095"/>
                  </a:cubicBezTo>
                  <a:cubicBezTo>
                    <a:pt x="838490" y="3264684"/>
                    <a:pt x="856490" y="3266989"/>
                    <a:pt x="874831" y="3280296"/>
                  </a:cubicBezTo>
                  <a:close/>
                  <a:moveTo>
                    <a:pt x="803107" y="3248520"/>
                  </a:moveTo>
                  <a:cubicBezTo>
                    <a:pt x="811065" y="3233995"/>
                    <a:pt x="818962" y="3219155"/>
                    <a:pt x="827683" y="3203296"/>
                  </a:cubicBezTo>
                  <a:cubicBezTo>
                    <a:pt x="839842" y="3212278"/>
                    <a:pt x="845911" y="3224775"/>
                    <a:pt x="851670" y="3236986"/>
                  </a:cubicBezTo>
                  <a:cubicBezTo>
                    <a:pt x="853085" y="3240129"/>
                    <a:pt x="854674" y="3246777"/>
                    <a:pt x="846552" y="3246511"/>
                  </a:cubicBezTo>
                  <a:cubicBezTo>
                    <a:pt x="832132" y="3245806"/>
                    <a:pt x="818188" y="3252673"/>
                    <a:pt x="803107" y="3248520"/>
                  </a:cubicBezTo>
                  <a:close/>
                  <a:moveTo>
                    <a:pt x="954519" y="2842584"/>
                  </a:moveTo>
                  <a:cubicBezTo>
                    <a:pt x="956053" y="2851690"/>
                    <a:pt x="954234" y="2858900"/>
                    <a:pt x="946112" y="2864206"/>
                  </a:cubicBezTo>
                  <a:cubicBezTo>
                    <a:pt x="943356" y="2866006"/>
                    <a:pt x="940527" y="2869311"/>
                    <a:pt x="939670" y="2872502"/>
                  </a:cubicBezTo>
                  <a:cubicBezTo>
                    <a:pt x="937812" y="2880036"/>
                    <a:pt x="925695" y="2887771"/>
                    <a:pt x="932632" y="2893581"/>
                  </a:cubicBezTo>
                  <a:cubicBezTo>
                    <a:pt x="939485" y="2899410"/>
                    <a:pt x="943220" y="2885847"/>
                    <a:pt x="949590" y="2882884"/>
                  </a:cubicBezTo>
                  <a:cubicBezTo>
                    <a:pt x="953148" y="2881227"/>
                    <a:pt x="956377" y="2876369"/>
                    <a:pt x="960615" y="2879941"/>
                  </a:cubicBezTo>
                  <a:cubicBezTo>
                    <a:pt x="965511" y="2883961"/>
                    <a:pt x="961377" y="2888266"/>
                    <a:pt x="959625" y="2892362"/>
                  </a:cubicBezTo>
                  <a:cubicBezTo>
                    <a:pt x="955386" y="2901829"/>
                    <a:pt x="945492" y="2907583"/>
                    <a:pt x="942807" y="2918136"/>
                  </a:cubicBezTo>
                  <a:cubicBezTo>
                    <a:pt x="942044" y="2921784"/>
                    <a:pt x="940868" y="2925956"/>
                    <a:pt x="944047" y="2927995"/>
                  </a:cubicBezTo>
                  <a:cubicBezTo>
                    <a:pt x="947669" y="2930157"/>
                    <a:pt x="951199" y="2925956"/>
                    <a:pt x="952862" y="2923804"/>
                  </a:cubicBezTo>
                  <a:cubicBezTo>
                    <a:pt x="957596" y="2916898"/>
                    <a:pt x="962720" y="2910793"/>
                    <a:pt x="968531" y="2904954"/>
                  </a:cubicBezTo>
                  <a:cubicBezTo>
                    <a:pt x="970445" y="2903182"/>
                    <a:pt x="971560" y="2900305"/>
                    <a:pt x="974617" y="2901039"/>
                  </a:cubicBezTo>
                  <a:cubicBezTo>
                    <a:pt x="978446" y="2901829"/>
                    <a:pt x="978656" y="2905173"/>
                    <a:pt x="979018" y="2908154"/>
                  </a:cubicBezTo>
                  <a:cubicBezTo>
                    <a:pt x="980180" y="2917308"/>
                    <a:pt x="974617" y="2923804"/>
                    <a:pt x="969597" y="2930195"/>
                  </a:cubicBezTo>
                  <a:cubicBezTo>
                    <a:pt x="961377" y="2941130"/>
                    <a:pt x="953853" y="2952388"/>
                    <a:pt x="950208" y="2968124"/>
                  </a:cubicBezTo>
                  <a:cubicBezTo>
                    <a:pt x="966921" y="2960903"/>
                    <a:pt x="975751" y="2948188"/>
                    <a:pt x="989781" y="2936129"/>
                  </a:cubicBezTo>
                  <a:cubicBezTo>
                    <a:pt x="985637" y="2961970"/>
                    <a:pt x="974236" y="2979382"/>
                    <a:pt x="956377" y="2991469"/>
                  </a:cubicBezTo>
                  <a:cubicBezTo>
                    <a:pt x="943778" y="2999908"/>
                    <a:pt x="931341" y="2989460"/>
                    <a:pt x="920070" y="2984487"/>
                  </a:cubicBezTo>
                  <a:cubicBezTo>
                    <a:pt x="897466" y="2974248"/>
                    <a:pt x="896951" y="2973610"/>
                    <a:pt x="879776" y="2991907"/>
                  </a:cubicBezTo>
                  <a:cubicBezTo>
                    <a:pt x="865738" y="3006814"/>
                    <a:pt x="850824" y="3021063"/>
                    <a:pt x="836868" y="3036160"/>
                  </a:cubicBezTo>
                  <a:cubicBezTo>
                    <a:pt x="824948" y="3048772"/>
                    <a:pt x="822121" y="3072279"/>
                    <a:pt x="830459" y="3087596"/>
                  </a:cubicBezTo>
                  <a:cubicBezTo>
                    <a:pt x="836136" y="3098426"/>
                    <a:pt x="842164" y="3109151"/>
                    <a:pt x="848305" y="3119904"/>
                  </a:cubicBezTo>
                  <a:cubicBezTo>
                    <a:pt x="853724" y="3129315"/>
                    <a:pt x="851433" y="3137440"/>
                    <a:pt x="845095" y="3145384"/>
                  </a:cubicBezTo>
                  <a:cubicBezTo>
                    <a:pt x="824526" y="3171882"/>
                    <a:pt x="803810" y="3198343"/>
                    <a:pt x="783384" y="3224965"/>
                  </a:cubicBezTo>
                  <a:cubicBezTo>
                    <a:pt x="771669" y="3240129"/>
                    <a:pt x="760667" y="3255874"/>
                    <a:pt x="749210" y="3271209"/>
                  </a:cubicBezTo>
                  <a:cubicBezTo>
                    <a:pt x="742170" y="3280239"/>
                    <a:pt x="736349" y="3286477"/>
                    <a:pt x="723810" y="3275524"/>
                  </a:cubicBezTo>
                  <a:cubicBezTo>
                    <a:pt x="708141" y="3262398"/>
                    <a:pt x="689759" y="3252416"/>
                    <a:pt x="672541" y="3241224"/>
                  </a:cubicBezTo>
                  <a:cubicBezTo>
                    <a:pt x="664007" y="3235585"/>
                    <a:pt x="660538" y="3229994"/>
                    <a:pt x="664945" y="3218888"/>
                  </a:cubicBezTo>
                  <a:cubicBezTo>
                    <a:pt x="677548" y="3187036"/>
                    <a:pt x="697055" y="3159843"/>
                    <a:pt x="717162" y="3132373"/>
                  </a:cubicBezTo>
                  <a:cubicBezTo>
                    <a:pt x="758891" y="3074518"/>
                    <a:pt x="805595" y="3020511"/>
                    <a:pt x="851298" y="2965895"/>
                  </a:cubicBezTo>
                  <a:cubicBezTo>
                    <a:pt x="881624" y="2929652"/>
                    <a:pt x="909820" y="2891466"/>
                    <a:pt x="939391" y="2854566"/>
                  </a:cubicBezTo>
                  <a:cubicBezTo>
                    <a:pt x="943439" y="2849423"/>
                    <a:pt x="948031" y="2844917"/>
                    <a:pt x="954519" y="2842584"/>
                  </a:cubicBezTo>
                  <a:close/>
                  <a:moveTo>
                    <a:pt x="795366" y="2368344"/>
                  </a:moveTo>
                  <a:cubicBezTo>
                    <a:pt x="789102" y="2378012"/>
                    <a:pt x="784829" y="2369077"/>
                    <a:pt x="783157" y="2365115"/>
                  </a:cubicBezTo>
                  <a:cubicBezTo>
                    <a:pt x="773175" y="2344655"/>
                    <a:pt x="770452" y="2323757"/>
                    <a:pt x="778327" y="2301564"/>
                  </a:cubicBezTo>
                  <a:cubicBezTo>
                    <a:pt x="781443" y="2292763"/>
                    <a:pt x="784229" y="2284162"/>
                    <a:pt x="790175" y="2275589"/>
                  </a:cubicBezTo>
                  <a:cubicBezTo>
                    <a:pt x="820003" y="2300211"/>
                    <a:pt x="812800" y="2341788"/>
                    <a:pt x="795366" y="2368344"/>
                  </a:cubicBezTo>
                  <a:close/>
                  <a:moveTo>
                    <a:pt x="627581" y="2578694"/>
                  </a:moveTo>
                  <a:cubicBezTo>
                    <a:pt x="633249" y="2582456"/>
                    <a:pt x="640248" y="2588667"/>
                    <a:pt x="634373" y="2598315"/>
                  </a:cubicBezTo>
                  <a:cubicBezTo>
                    <a:pt x="623908" y="2615432"/>
                    <a:pt x="613659" y="2632434"/>
                    <a:pt x="606857" y="2651389"/>
                  </a:cubicBezTo>
                  <a:cubicBezTo>
                    <a:pt x="602862" y="2662457"/>
                    <a:pt x="597609" y="2673182"/>
                    <a:pt x="592768" y="2684050"/>
                  </a:cubicBezTo>
                  <a:cubicBezTo>
                    <a:pt x="586060" y="2676782"/>
                    <a:pt x="586730" y="2667514"/>
                    <a:pt x="588599" y="2659713"/>
                  </a:cubicBezTo>
                  <a:cubicBezTo>
                    <a:pt x="594626" y="2634186"/>
                    <a:pt x="601840" y="2608564"/>
                    <a:pt x="617912" y="2586961"/>
                  </a:cubicBezTo>
                  <a:cubicBezTo>
                    <a:pt x="620326" y="2583361"/>
                    <a:pt x="621255" y="2574236"/>
                    <a:pt x="627581" y="2578694"/>
                  </a:cubicBezTo>
                  <a:close/>
                  <a:moveTo>
                    <a:pt x="622968" y="2532402"/>
                  </a:moveTo>
                  <a:cubicBezTo>
                    <a:pt x="622525" y="2526897"/>
                    <a:pt x="626436" y="2528040"/>
                    <a:pt x="629316" y="2528040"/>
                  </a:cubicBezTo>
                  <a:cubicBezTo>
                    <a:pt x="636336" y="2528297"/>
                    <a:pt x="648390" y="2541613"/>
                    <a:pt x="647771" y="2548014"/>
                  </a:cubicBezTo>
                  <a:cubicBezTo>
                    <a:pt x="647152" y="2552100"/>
                    <a:pt x="644478" y="2552586"/>
                    <a:pt x="641073" y="2552586"/>
                  </a:cubicBezTo>
                  <a:cubicBezTo>
                    <a:pt x="633249" y="2552643"/>
                    <a:pt x="622525" y="2540794"/>
                    <a:pt x="622968" y="2532402"/>
                  </a:cubicBezTo>
                  <a:close/>
                  <a:moveTo>
                    <a:pt x="624764" y="2666819"/>
                  </a:moveTo>
                  <a:cubicBezTo>
                    <a:pt x="630348" y="2630958"/>
                    <a:pt x="663089" y="2593439"/>
                    <a:pt x="700967" y="2601725"/>
                  </a:cubicBezTo>
                  <a:cubicBezTo>
                    <a:pt x="672283" y="2619870"/>
                    <a:pt x="649155" y="2643921"/>
                    <a:pt x="624764" y="2666819"/>
                  </a:cubicBezTo>
                  <a:close/>
                  <a:moveTo>
                    <a:pt x="684712" y="2643397"/>
                  </a:moveTo>
                  <a:cubicBezTo>
                    <a:pt x="664028" y="2686803"/>
                    <a:pt x="644024" y="2725065"/>
                    <a:pt x="614640" y="2759888"/>
                  </a:cubicBezTo>
                  <a:cubicBezTo>
                    <a:pt x="609953" y="2712482"/>
                    <a:pt x="626436" y="2684526"/>
                    <a:pt x="684712" y="2643397"/>
                  </a:cubicBezTo>
                  <a:close/>
                  <a:moveTo>
                    <a:pt x="698047" y="2543489"/>
                  </a:moveTo>
                  <a:lnTo>
                    <a:pt x="698047" y="2543461"/>
                  </a:lnTo>
                  <a:cubicBezTo>
                    <a:pt x="696695" y="2549347"/>
                    <a:pt x="690636" y="2549242"/>
                    <a:pt x="686641" y="2551881"/>
                  </a:cubicBezTo>
                  <a:cubicBezTo>
                    <a:pt x="684566" y="2553186"/>
                    <a:pt x="681222" y="2553472"/>
                    <a:pt x="679829" y="2551319"/>
                  </a:cubicBezTo>
                  <a:cubicBezTo>
                    <a:pt x="677992" y="2548519"/>
                    <a:pt x="681697" y="2546233"/>
                    <a:pt x="682687" y="2543489"/>
                  </a:cubicBezTo>
                  <a:cubicBezTo>
                    <a:pt x="684165" y="2533221"/>
                    <a:pt x="688335" y="2524354"/>
                    <a:pt x="697500" y="2518344"/>
                  </a:cubicBezTo>
                  <a:cubicBezTo>
                    <a:pt x="701699" y="2514381"/>
                    <a:pt x="706943" y="2512552"/>
                    <a:pt x="713074" y="2510619"/>
                  </a:cubicBezTo>
                  <a:cubicBezTo>
                    <a:pt x="714385" y="2521249"/>
                    <a:pt x="714034" y="2530450"/>
                    <a:pt x="704416" y="2537212"/>
                  </a:cubicBezTo>
                  <a:cubicBezTo>
                    <a:pt x="702876" y="2539794"/>
                    <a:pt x="701464" y="2542584"/>
                    <a:pt x="698047" y="2543489"/>
                  </a:cubicBezTo>
                  <a:close/>
                  <a:moveTo>
                    <a:pt x="691131" y="2499560"/>
                  </a:moveTo>
                  <a:cubicBezTo>
                    <a:pt x="683648" y="2506580"/>
                    <a:pt x="677177" y="2514400"/>
                    <a:pt x="670209" y="2521687"/>
                  </a:cubicBezTo>
                  <a:cubicBezTo>
                    <a:pt x="666380" y="2525754"/>
                    <a:pt x="661324" y="2525525"/>
                    <a:pt x="657474" y="2522535"/>
                  </a:cubicBezTo>
                  <a:cubicBezTo>
                    <a:pt x="653562" y="2519525"/>
                    <a:pt x="654283" y="2514457"/>
                    <a:pt x="657566" y="2511685"/>
                  </a:cubicBezTo>
                  <a:cubicBezTo>
                    <a:pt x="673398" y="2497769"/>
                    <a:pt x="677135" y="2476567"/>
                    <a:pt x="690108" y="2461050"/>
                  </a:cubicBezTo>
                  <a:cubicBezTo>
                    <a:pt x="700533" y="2448487"/>
                    <a:pt x="702123" y="2448620"/>
                    <a:pt x="712910" y="2460498"/>
                  </a:cubicBezTo>
                  <a:cubicBezTo>
                    <a:pt x="721301" y="2469890"/>
                    <a:pt x="728113" y="2479796"/>
                    <a:pt x="733696" y="2490721"/>
                  </a:cubicBezTo>
                  <a:cubicBezTo>
                    <a:pt x="736937" y="2496703"/>
                    <a:pt x="738939" y="2502713"/>
                    <a:pt x="735854" y="2509542"/>
                  </a:cubicBezTo>
                  <a:cubicBezTo>
                    <a:pt x="731581" y="2509876"/>
                    <a:pt x="730569" y="2505875"/>
                    <a:pt x="729279" y="2503923"/>
                  </a:cubicBezTo>
                  <a:cubicBezTo>
                    <a:pt x="719412" y="2488949"/>
                    <a:pt x="704404" y="2486882"/>
                    <a:pt x="691131" y="2499560"/>
                  </a:cubicBezTo>
                  <a:close/>
                  <a:moveTo>
                    <a:pt x="728360" y="2445572"/>
                  </a:moveTo>
                  <a:cubicBezTo>
                    <a:pt x="717914" y="2436790"/>
                    <a:pt x="718462" y="2429704"/>
                    <a:pt x="723116" y="2417693"/>
                  </a:cubicBezTo>
                  <a:cubicBezTo>
                    <a:pt x="728092" y="2404748"/>
                    <a:pt x="738919" y="2392490"/>
                    <a:pt x="732231" y="2376049"/>
                  </a:cubicBezTo>
                  <a:cubicBezTo>
                    <a:pt x="730217" y="2371297"/>
                    <a:pt x="732127" y="2361943"/>
                    <a:pt x="738919" y="2358876"/>
                  </a:cubicBezTo>
                  <a:cubicBezTo>
                    <a:pt x="744565" y="2356228"/>
                    <a:pt x="750314" y="2358343"/>
                    <a:pt x="756197" y="2362086"/>
                  </a:cubicBezTo>
                  <a:cubicBezTo>
                    <a:pt x="774322" y="2373240"/>
                    <a:pt x="782322" y="2389003"/>
                    <a:pt x="782651" y="2410673"/>
                  </a:cubicBezTo>
                  <a:cubicBezTo>
                    <a:pt x="781061" y="2429113"/>
                    <a:pt x="774942" y="2447201"/>
                    <a:pt x="761832" y="2462498"/>
                  </a:cubicBezTo>
                  <a:cubicBezTo>
                    <a:pt x="758953" y="2465794"/>
                    <a:pt x="755991" y="2471090"/>
                    <a:pt x="750304" y="2468613"/>
                  </a:cubicBezTo>
                  <a:cubicBezTo>
                    <a:pt x="739746" y="2464203"/>
                    <a:pt x="736359" y="2452440"/>
                    <a:pt x="728360" y="2445572"/>
                  </a:cubicBezTo>
                  <a:close/>
                  <a:moveTo>
                    <a:pt x="915684" y="1605486"/>
                  </a:moveTo>
                  <a:cubicBezTo>
                    <a:pt x="916158" y="1606715"/>
                    <a:pt x="916696" y="1607715"/>
                    <a:pt x="917212" y="1608849"/>
                  </a:cubicBezTo>
                  <a:cubicBezTo>
                    <a:pt x="927130" y="1622041"/>
                    <a:pt x="931609" y="1637462"/>
                    <a:pt x="935315" y="1653016"/>
                  </a:cubicBezTo>
                  <a:cubicBezTo>
                    <a:pt x="939124" y="1667647"/>
                    <a:pt x="932993" y="1677286"/>
                    <a:pt x="917170" y="1679629"/>
                  </a:cubicBezTo>
                  <a:cubicBezTo>
                    <a:pt x="898983" y="1687240"/>
                    <a:pt x="882780" y="1698079"/>
                    <a:pt x="866770" y="1709080"/>
                  </a:cubicBezTo>
                  <a:cubicBezTo>
                    <a:pt x="854375" y="1717824"/>
                    <a:pt x="861052" y="1730121"/>
                    <a:pt x="864024" y="1741151"/>
                  </a:cubicBezTo>
                  <a:cubicBezTo>
                    <a:pt x="867855" y="1753333"/>
                    <a:pt x="871177" y="1765592"/>
                    <a:pt x="854755" y="1771945"/>
                  </a:cubicBezTo>
                  <a:cubicBezTo>
                    <a:pt x="853528" y="1776536"/>
                    <a:pt x="851670" y="1781061"/>
                    <a:pt x="848223" y="1784404"/>
                  </a:cubicBezTo>
                  <a:cubicBezTo>
                    <a:pt x="843950" y="1792281"/>
                    <a:pt x="835302" y="1794939"/>
                    <a:pt x="829087" y="1800406"/>
                  </a:cubicBezTo>
                  <a:cubicBezTo>
                    <a:pt x="828137" y="1803178"/>
                    <a:pt x="825434" y="1802587"/>
                    <a:pt x="823204" y="1802844"/>
                  </a:cubicBezTo>
                  <a:cubicBezTo>
                    <a:pt x="820768" y="1809064"/>
                    <a:pt x="813636" y="1809655"/>
                    <a:pt x="809341" y="1813512"/>
                  </a:cubicBezTo>
                  <a:lnTo>
                    <a:pt x="808113" y="1813512"/>
                  </a:lnTo>
                  <a:cubicBezTo>
                    <a:pt x="806782" y="1814160"/>
                    <a:pt x="805606" y="1814779"/>
                    <a:pt x="804460" y="1815456"/>
                  </a:cubicBezTo>
                  <a:cubicBezTo>
                    <a:pt x="795831" y="1819351"/>
                    <a:pt x="785066" y="1818827"/>
                    <a:pt x="779121" y="1827762"/>
                  </a:cubicBezTo>
                  <a:cubicBezTo>
                    <a:pt x="768530" y="1838001"/>
                    <a:pt x="773631" y="1853479"/>
                    <a:pt x="766487" y="1864909"/>
                  </a:cubicBezTo>
                  <a:cubicBezTo>
                    <a:pt x="766487" y="1865881"/>
                    <a:pt x="766374" y="1866786"/>
                    <a:pt x="765929" y="1867700"/>
                  </a:cubicBezTo>
                  <a:cubicBezTo>
                    <a:pt x="766167" y="1877635"/>
                    <a:pt x="757250" y="1879349"/>
                    <a:pt x="750809" y="1883445"/>
                  </a:cubicBezTo>
                  <a:lnTo>
                    <a:pt x="750809" y="1883350"/>
                  </a:lnTo>
                  <a:cubicBezTo>
                    <a:pt x="749880" y="1884255"/>
                    <a:pt x="748776" y="1885360"/>
                    <a:pt x="747764" y="1886426"/>
                  </a:cubicBezTo>
                  <a:cubicBezTo>
                    <a:pt x="746855" y="1889046"/>
                    <a:pt x="745246" y="1890465"/>
                    <a:pt x="742180" y="1890465"/>
                  </a:cubicBezTo>
                  <a:lnTo>
                    <a:pt x="742480" y="1890846"/>
                  </a:lnTo>
                  <a:cubicBezTo>
                    <a:pt x="736917" y="1904800"/>
                    <a:pt x="726049" y="1915116"/>
                    <a:pt x="716780" y="1926546"/>
                  </a:cubicBezTo>
                  <a:cubicBezTo>
                    <a:pt x="714366" y="1930975"/>
                    <a:pt x="710876" y="1933146"/>
                    <a:pt x="705508" y="1932518"/>
                  </a:cubicBezTo>
                  <a:cubicBezTo>
                    <a:pt x="692081" y="1930975"/>
                    <a:pt x="679107" y="1934118"/>
                    <a:pt x="666039" y="1936213"/>
                  </a:cubicBezTo>
                  <a:cubicBezTo>
                    <a:pt x="645510" y="1942024"/>
                    <a:pt x="643261" y="1945148"/>
                    <a:pt x="640999" y="1968589"/>
                  </a:cubicBezTo>
                  <a:cubicBezTo>
                    <a:pt x="639329" y="1984067"/>
                    <a:pt x="628429" y="1992621"/>
                    <a:pt x="615919" y="2000098"/>
                  </a:cubicBezTo>
                  <a:cubicBezTo>
                    <a:pt x="611790" y="2002222"/>
                    <a:pt x="607652" y="2004546"/>
                    <a:pt x="603584" y="2006822"/>
                  </a:cubicBezTo>
                  <a:cubicBezTo>
                    <a:pt x="590322" y="2019052"/>
                    <a:pt x="577018" y="2031359"/>
                    <a:pt x="559501" y="2041808"/>
                  </a:cubicBezTo>
                  <a:cubicBezTo>
                    <a:pt x="560411" y="2034511"/>
                    <a:pt x="561618" y="2029530"/>
                    <a:pt x="564890" y="2025196"/>
                  </a:cubicBezTo>
                  <a:cubicBezTo>
                    <a:pt x="575191" y="2007584"/>
                    <a:pt x="591725" y="1995592"/>
                    <a:pt x="605752" y="1981457"/>
                  </a:cubicBezTo>
                  <a:cubicBezTo>
                    <a:pt x="613029" y="1974047"/>
                    <a:pt x="614504" y="1968703"/>
                    <a:pt x="603017" y="1966836"/>
                  </a:cubicBezTo>
                  <a:cubicBezTo>
                    <a:pt x="592746" y="1965312"/>
                    <a:pt x="591654" y="1957788"/>
                    <a:pt x="594306" y="1952644"/>
                  </a:cubicBezTo>
                  <a:cubicBezTo>
                    <a:pt x="607259" y="1928832"/>
                    <a:pt x="616177" y="1901419"/>
                    <a:pt x="646512" y="1891360"/>
                  </a:cubicBezTo>
                  <a:cubicBezTo>
                    <a:pt x="656730" y="1887979"/>
                    <a:pt x="667030" y="1890151"/>
                    <a:pt x="677156" y="1889350"/>
                  </a:cubicBezTo>
                  <a:cubicBezTo>
                    <a:pt x="700761" y="1887112"/>
                    <a:pt x="721538" y="1879349"/>
                    <a:pt x="737939" y="1862128"/>
                  </a:cubicBezTo>
                  <a:cubicBezTo>
                    <a:pt x="734811" y="1861642"/>
                    <a:pt x="731788" y="1861395"/>
                    <a:pt x="728515" y="1861014"/>
                  </a:cubicBezTo>
                  <a:lnTo>
                    <a:pt x="727028" y="1861166"/>
                  </a:lnTo>
                  <a:lnTo>
                    <a:pt x="725904" y="1860756"/>
                  </a:lnTo>
                  <a:cubicBezTo>
                    <a:pt x="706913" y="1860004"/>
                    <a:pt x="688551" y="1866490"/>
                    <a:pt x="669435" y="1864176"/>
                  </a:cubicBezTo>
                  <a:cubicBezTo>
                    <a:pt x="663851" y="1864595"/>
                    <a:pt x="655491" y="1866490"/>
                    <a:pt x="662345" y="1856680"/>
                  </a:cubicBezTo>
                  <a:cubicBezTo>
                    <a:pt x="684680" y="1824304"/>
                    <a:pt x="706108" y="1791024"/>
                    <a:pt x="747073" y="1778127"/>
                  </a:cubicBezTo>
                  <a:cubicBezTo>
                    <a:pt x="760356" y="1768840"/>
                    <a:pt x="772030" y="1780451"/>
                    <a:pt x="784220" y="1781889"/>
                  </a:cubicBezTo>
                  <a:cubicBezTo>
                    <a:pt x="790466" y="1782651"/>
                    <a:pt x="796925" y="1783699"/>
                    <a:pt x="803510" y="1784947"/>
                  </a:cubicBezTo>
                  <a:cubicBezTo>
                    <a:pt x="809321" y="1782813"/>
                    <a:pt x="815122" y="1781061"/>
                    <a:pt x="820870" y="1778784"/>
                  </a:cubicBezTo>
                  <a:cubicBezTo>
                    <a:pt x="823225" y="1777870"/>
                    <a:pt x="825310" y="1776470"/>
                    <a:pt x="830791" y="1773345"/>
                  </a:cubicBezTo>
                  <a:cubicBezTo>
                    <a:pt x="806637" y="1766649"/>
                    <a:pt x="785232" y="1760849"/>
                    <a:pt x="763215" y="1754638"/>
                  </a:cubicBezTo>
                  <a:cubicBezTo>
                    <a:pt x="771359" y="1735503"/>
                    <a:pt x="789722" y="1727587"/>
                    <a:pt x="805007" y="1716538"/>
                  </a:cubicBezTo>
                  <a:cubicBezTo>
                    <a:pt x="819745" y="1705775"/>
                    <a:pt x="835485" y="1695974"/>
                    <a:pt x="843702" y="1678762"/>
                  </a:cubicBezTo>
                  <a:cubicBezTo>
                    <a:pt x="846531" y="1672647"/>
                    <a:pt x="849235" y="1666599"/>
                    <a:pt x="846211" y="1657988"/>
                  </a:cubicBezTo>
                  <a:cubicBezTo>
                    <a:pt x="821015" y="1677734"/>
                    <a:pt x="795811" y="1697136"/>
                    <a:pt x="770719" y="1716824"/>
                  </a:cubicBezTo>
                  <a:cubicBezTo>
                    <a:pt x="767602" y="1719310"/>
                    <a:pt x="765487" y="1723206"/>
                    <a:pt x="760656" y="1723082"/>
                  </a:cubicBezTo>
                  <a:cubicBezTo>
                    <a:pt x="756176" y="1729559"/>
                    <a:pt x="749613" y="1732683"/>
                    <a:pt x="741789" y="1737065"/>
                  </a:cubicBezTo>
                  <a:cubicBezTo>
                    <a:pt x="741789" y="1725273"/>
                    <a:pt x="741789" y="1714976"/>
                    <a:pt x="741665" y="1704623"/>
                  </a:cubicBezTo>
                  <a:cubicBezTo>
                    <a:pt x="741324" y="1697412"/>
                    <a:pt x="739868" y="1689354"/>
                    <a:pt x="732840" y="1686649"/>
                  </a:cubicBezTo>
                  <a:cubicBezTo>
                    <a:pt x="728082" y="1684963"/>
                    <a:pt x="724130" y="1690516"/>
                    <a:pt x="722158" y="1695593"/>
                  </a:cubicBezTo>
                  <a:cubicBezTo>
                    <a:pt x="718503" y="1724578"/>
                    <a:pt x="719319" y="1754753"/>
                    <a:pt x="697324" y="1778394"/>
                  </a:cubicBezTo>
                  <a:cubicBezTo>
                    <a:pt x="695230" y="1780451"/>
                    <a:pt x="693453" y="1782470"/>
                    <a:pt x="691255" y="1784404"/>
                  </a:cubicBezTo>
                  <a:cubicBezTo>
                    <a:pt x="690088" y="1787757"/>
                    <a:pt x="687756" y="1789595"/>
                    <a:pt x="684968" y="1791072"/>
                  </a:cubicBezTo>
                  <a:cubicBezTo>
                    <a:pt x="684547" y="1798825"/>
                    <a:pt x="677228" y="1801340"/>
                    <a:pt x="673275" y="1806483"/>
                  </a:cubicBezTo>
                  <a:cubicBezTo>
                    <a:pt x="663655" y="1817980"/>
                    <a:pt x="652416" y="1827857"/>
                    <a:pt x="645738" y="1841697"/>
                  </a:cubicBezTo>
                  <a:cubicBezTo>
                    <a:pt x="642197" y="1848926"/>
                    <a:pt x="635076" y="1853479"/>
                    <a:pt x="626117" y="1855661"/>
                  </a:cubicBezTo>
                  <a:cubicBezTo>
                    <a:pt x="623176" y="1838001"/>
                    <a:pt x="627913" y="1820942"/>
                    <a:pt x="621782" y="1804930"/>
                  </a:cubicBezTo>
                  <a:cubicBezTo>
                    <a:pt x="619635" y="1799196"/>
                    <a:pt x="617994" y="1792938"/>
                    <a:pt x="614267" y="1788395"/>
                  </a:cubicBezTo>
                  <a:cubicBezTo>
                    <a:pt x="610861" y="1783975"/>
                    <a:pt x="604854" y="1780404"/>
                    <a:pt x="602614" y="1790214"/>
                  </a:cubicBezTo>
                  <a:cubicBezTo>
                    <a:pt x="596113" y="1812969"/>
                    <a:pt x="604143" y="1835420"/>
                    <a:pt x="603328" y="1858051"/>
                  </a:cubicBezTo>
                  <a:cubicBezTo>
                    <a:pt x="602853" y="1871444"/>
                    <a:pt x="600386" y="1884112"/>
                    <a:pt x="593903" y="1895818"/>
                  </a:cubicBezTo>
                  <a:cubicBezTo>
                    <a:pt x="591106" y="1912239"/>
                    <a:pt x="582148" y="1925726"/>
                    <a:pt x="572290" y="1938719"/>
                  </a:cubicBezTo>
                  <a:cubicBezTo>
                    <a:pt x="565117" y="1961617"/>
                    <a:pt x="554630" y="1983048"/>
                    <a:pt x="543719" y="2004365"/>
                  </a:cubicBezTo>
                  <a:cubicBezTo>
                    <a:pt x="543740" y="2005089"/>
                    <a:pt x="543719" y="2005641"/>
                    <a:pt x="543401" y="2006184"/>
                  </a:cubicBezTo>
                  <a:cubicBezTo>
                    <a:pt x="543719" y="2008175"/>
                    <a:pt x="542936" y="2009432"/>
                    <a:pt x="540800" y="2010004"/>
                  </a:cubicBezTo>
                  <a:cubicBezTo>
                    <a:pt x="540243" y="2012366"/>
                    <a:pt x="540243" y="2015081"/>
                    <a:pt x="537269" y="2016071"/>
                  </a:cubicBezTo>
                  <a:cubicBezTo>
                    <a:pt x="537508" y="2022824"/>
                    <a:pt x="533161" y="2027634"/>
                    <a:pt x="529797" y="2033140"/>
                  </a:cubicBezTo>
                  <a:cubicBezTo>
                    <a:pt x="523026" y="2030387"/>
                    <a:pt x="525472" y="2024253"/>
                    <a:pt x="524678" y="2019462"/>
                  </a:cubicBezTo>
                  <a:lnTo>
                    <a:pt x="524450" y="2019224"/>
                  </a:lnTo>
                  <a:cubicBezTo>
                    <a:pt x="520116" y="1993478"/>
                    <a:pt x="519858" y="1967713"/>
                    <a:pt x="524450" y="1941919"/>
                  </a:cubicBezTo>
                  <a:cubicBezTo>
                    <a:pt x="524791" y="1940766"/>
                    <a:pt x="525111" y="1939738"/>
                    <a:pt x="525484" y="1938509"/>
                  </a:cubicBezTo>
                  <a:cubicBezTo>
                    <a:pt x="532099" y="1926641"/>
                    <a:pt x="545053" y="1936518"/>
                    <a:pt x="553382" y="1930308"/>
                  </a:cubicBezTo>
                  <a:cubicBezTo>
                    <a:pt x="562949" y="1924145"/>
                    <a:pt x="562475" y="1915344"/>
                    <a:pt x="561556" y="1905486"/>
                  </a:cubicBezTo>
                  <a:cubicBezTo>
                    <a:pt x="557914" y="1876196"/>
                    <a:pt x="555559" y="1846536"/>
                    <a:pt x="565735" y="1817980"/>
                  </a:cubicBezTo>
                  <a:cubicBezTo>
                    <a:pt x="575748" y="1790214"/>
                    <a:pt x="597227" y="1771250"/>
                    <a:pt x="620027" y="1753381"/>
                  </a:cubicBezTo>
                  <a:cubicBezTo>
                    <a:pt x="628811" y="1746428"/>
                    <a:pt x="639317" y="1747999"/>
                    <a:pt x="649700" y="1747457"/>
                  </a:cubicBezTo>
                  <a:cubicBezTo>
                    <a:pt x="675422" y="1745799"/>
                    <a:pt x="684959" y="1743237"/>
                    <a:pt x="684689" y="1713176"/>
                  </a:cubicBezTo>
                  <a:cubicBezTo>
                    <a:pt x="684535" y="1694145"/>
                    <a:pt x="689871" y="1677838"/>
                    <a:pt x="707831" y="1667218"/>
                  </a:cubicBezTo>
                  <a:cubicBezTo>
                    <a:pt x="725192" y="1656712"/>
                    <a:pt x="739725" y="1641882"/>
                    <a:pt x="760244" y="1636024"/>
                  </a:cubicBezTo>
                  <a:cubicBezTo>
                    <a:pt x="770875" y="1625470"/>
                    <a:pt x="776375" y="1629899"/>
                    <a:pt x="779100" y="1642301"/>
                  </a:cubicBezTo>
                  <a:cubicBezTo>
                    <a:pt x="784922" y="1646758"/>
                    <a:pt x="784374" y="1654064"/>
                    <a:pt x="786717" y="1660131"/>
                  </a:cubicBezTo>
                  <a:cubicBezTo>
                    <a:pt x="805585" y="1660417"/>
                    <a:pt x="818384" y="1649749"/>
                    <a:pt x="828653" y="1636566"/>
                  </a:cubicBezTo>
                  <a:cubicBezTo>
                    <a:pt x="839306" y="1623108"/>
                    <a:pt x="847666" y="1608144"/>
                    <a:pt x="856882" y="1593714"/>
                  </a:cubicBezTo>
                  <a:cubicBezTo>
                    <a:pt x="860577" y="1587703"/>
                    <a:pt x="864406" y="1582064"/>
                    <a:pt x="872322" y="1580721"/>
                  </a:cubicBezTo>
                  <a:cubicBezTo>
                    <a:pt x="880889" y="1571425"/>
                    <a:pt x="889282" y="1574321"/>
                    <a:pt x="897054" y="1581579"/>
                  </a:cubicBezTo>
                  <a:cubicBezTo>
                    <a:pt x="904825" y="1588465"/>
                    <a:pt x="911606" y="1595981"/>
                    <a:pt x="915684" y="1605486"/>
                  </a:cubicBezTo>
                  <a:close/>
                  <a:moveTo>
                    <a:pt x="749406" y="1954101"/>
                  </a:moveTo>
                  <a:cubicBezTo>
                    <a:pt x="743213" y="1974475"/>
                    <a:pt x="729433" y="1985401"/>
                    <a:pt x="710700" y="1990782"/>
                  </a:cubicBezTo>
                  <a:cubicBezTo>
                    <a:pt x="706551" y="1991754"/>
                    <a:pt x="701246" y="1993078"/>
                    <a:pt x="697902" y="1988239"/>
                  </a:cubicBezTo>
                  <a:cubicBezTo>
                    <a:pt x="695218" y="1984543"/>
                    <a:pt x="695074" y="1981152"/>
                    <a:pt x="697014" y="1975961"/>
                  </a:cubicBezTo>
                  <a:cubicBezTo>
                    <a:pt x="701978" y="1961140"/>
                    <a:pt x="714013" y="1956645"/>
                    <a:pt x="727328" y="1954349"/>
                  </a:cubicBezTo>
                  <a:cubicBezTo>
                    <a:pt x="733944" y="1953111"/>
                    <a:pt x="740900" y="1954101"/>
                    <a:pt x="749406" y="1954101"/>
                  </a:cubicBezTo>
                  <a:close/>
                  <a:moveTo>
                    <a:pt x="511693" y="1913887"/>
                  </a:moveTo>
                  <a:cubicBezTo>
                    <a:pt x="510806" y="1917725"/>
                    <a:pt x="509516" y="1921602"/>
                    <a:pt x="505945" y="1924145"/>
                  </a:cubicBezTo>
                  <a:cubicBezTo>
                    <a:pt x="506140" y="1924831"/>
                    <a:pt x="506007" y="1925355"/>
                    <a:pt x="505862" y="1925965"/>
                  </a:cubicBezTo>
                  <a:cubicBezTo>
                    <a:pt x="506450" y="1929784"/>
                    <a:pt x="506450" y="1933394"/>
                    <a:pt x="502920" y="1936166"/>
                  </a:cubicBezTo>
                  <a:cubicBezTo>
                    <a:pt x="503157" y="1936994"/>
                    <a:pt x="503107" y="1937852"/>
                    <a:pt x="502456" y="1938509"/>
                  </a:cubicBezTo>
                  <a:cubicBezTo>
                    <a:pt x="503714" y="1968703"/>
                    <a:pt x="505138" y="1998783"/>
                    <a:pt x="506007" y="2028777"/>
                  </a:cubicBezTo>
                  <a:cubicBezTo>
                    <a:pt x="506140" y="2034197"/>
                    <a:pt x="508040" y="2040150"/>
                    <a:pt x="503870" y="2045208"/>
                  </a:cubicBezTo>
                  <a:cubicBezTo>
                    <a:pt x="503487" y="2046675"/>
                    <a:pt x="502920" y="2048399"/>
                    <a:pt x="502456" y="2049990"/>
                  </a:cubicBezTo>
                  <a:cubicBezTo>
                    <a:pt x="504531" y="2057171"/>
                    <a:pt x="500619" y="2062715"/>
                    <a:pt x="496006" y="2067439"/>
                  </a:cubicBezTo>
                  <a:cubicBezTo>
                    <a:pt x="493971" y="2069811"/>
                    <a:pt x="491774" y="2074526"/>
                    <a:pt x="488150" y="2073097"/>
                  </a:cubicBezTo>
                  <a:cubicBezTo>
                    <a:pt x="483733" y="2071326"/>
                    <a:pt x="483701" y="2066582"/>
                    <a:pt x="484641" y="2062277"/>
                  </a:cubicBezTo>
                  <a:cubicBezTo>
                    <a:pt x="478098" y="2052266"/>
                    <a:pt x="479017" y="2040322"/>
                    <a:pt x="478634" y="2029873"/>
                  </a:cubicBezTo>
                  <a:cubicBezTo>
                    <a:pt x="477653" y="2003412"/>
                    <a:pt x="474391" y="1977142"/>
                    <a:pt x="473400" y="1950806"/>
                  </a:cubicBezTo>
                  <a:cubicBezTo>
                    <a:pt x="472833" y="1939604"/>
                    <a:pt x="480874" y="1930975"/>
                    <a:pt x="486901" y="1922774"/>
                  </a:cubicBezTo>
                  <a:cubicBezTo>
                    <a:pt x="493064" y="1914687"/>
                    <a:pt x="493177" y="1907286"/>
                    <a:pt x="489214" y="1899352"/>
                  </a:cubicBezTo>
                  <a:cubicBezTo>
                    <a:pt x="484650" y="1890941"/>
                    <a:pt x="479697" y="1882550"/>
                    <a:pt x="473732" y="1875101"/>
                  </a:cubicBezTo>
                  <a:cubicBezTo>
                    <a:pt x="455059" y="1851451"/>
                    <a:pt x="453956" y="1839754"/>
                    <a:pt x="469272" y="1814894"/>
                  </a:cubicBezTo>
                  <a:cubicBezTo>
                    <a:pt x="474815" y="1797949"/>
                    <a:pt x="478098" y="1780775"/>
                    <a:pt x="477663" y="1762954"/>
                  </a:cubicBezTo>
                  <a:cubicBezTo>
                    <a:pt x="477663" y="1759668"/>
                    <a:pt x="476414" y="1755743"/>
                    <a:pt x="480646" y="1753381"/>
                  </a:cubicBezTo>
                  <a:cubicBezTo>
                    <a:pt x="480388" y="1747952"/>
                    <a:pt x="484413" y="1744532"/>
                    <a:pt x="488161" y="1742637"/>
                  </a:cubicBezTo>
                  <a:cubicBezTo>
                    <a:pt x="494808" y="1739627"/>
                    <a:pt x="504643" y="1740265"/>
                    <a:pt x="505583" y="1730597"/>
                  </a:cubicBezTo>
                  <a:cubicBezTo>
                    <a:pt x="506811" y="1718043"/>
                    <a:pt x="507090" y="1705242"/>
                    <a:pt x="499773" y="1693497"/>
                  </a:cubicBezTo>
                  <a:cubicBezTo>
                    <a:pt x="495953" y="1687744"/>
                    <a:pt x="492805" y="1681277"/>
                    <a:pt x="490246" y="1674771"/>
                  </a:cubicBezTo>
                  <a:cubicBezTo>
                    <a:pt x="485095" y="1662141"/>
                    <a:pt x="485714" y="1650806"/>
                    <a:pt x="494725" y="1639033"/>
                  </a:cubicBezTo>
                  <a:cubicBezTo>
                    <a:pt x="510991" y="1617621"/>
                    <a:pt x="526060" y="1595219"/>
                    <a:pt x="540830" y="1572635"/>
                  </a:cubicBezTo>
                  <a:cubicBezTo>
                    <a:pt x="545259" y="1565901"/>
                    <a:pt x="548839" y="1564138"/>
                    <a:pt x="556736" y="1567463"/>
                  </a:cubicBezTo>
                  <a:cubicBezTo>
                    <a:pt x="568202" y="1572406"/>
                    <a:pt x="580577" y="1585493"/>
                    <a:pt x="593161" y="1573054"/>
                  </a:cubicBezTo>
                  <a:cubicBezTo>
                    <a:pt x="605525" y="1560586"/>
                    <a:pt x="606691" y="1542136"/>
                    <a:pt x="602047" y="1526839"/>
                  </a:cubicBezTo>
                  <a:cubicBezTo>
                    <a:pt x="590219" y="1487843"/>
                    <a:pt x="612348" y="1464640"/>
                    <a:pt x="638833" y="1443219"/>
                  </a:cubicBezTo>
                  <a:cubicBezTo>
                    <a:pt x="648101" y="1435646"/>
                    <a:pt x="657462" y="1427426"/>
                    <a:pt x="669560" y="1423692"/>
                  </a:cubicBezTo>
                  <a:cubicBezTo>
                    <a:pt x="671005" y="1423340"/>
                    <a:pt x="673152" y="1425121"/>
                    <a:pt x="674926" y="1425674"/>
                  </a:cubicBezTo>
                  <a:cubicBezTo>
                    <a:pt x="684566" y="1434837"/>
                    <a:pt x="697076" y="1441809"/>
                    <a:pt x="697220" y="1457458"/>
                  </a:cubicBezTo>
                  <a:cubicBezTo>
                    <a:pt x="697220" y="1457458"/>
                    <a:pt x="697078" y="1457306"/>
                    <a:pt x="697078" y="1457220"/>
                  </a:cubicBezTo>
                  <a:cubicBezTo>
                    <a:pt x="704819" y="1469231"/>
                    <a:pt x="706118" y="1481890"/>
                    <a:pt x="700338" y="1494911"/>
                  </a:cubicBezTo>
                  <a:cubicBezTo>
                    <a:pt x="700017" y="1496740"/>
                    <a:pt x="699739" y="1498644"/>
                    <a:pt x="699533" y="1500483"/>
                  </a:cubicBezTo>
                  <a:cubicBezTo>
                    <a:pt x="700782" y="1518733"/>
                    <a:pt x="691574" y="1535344"/>
                    <a:pt x="690399" y="1553051"/>
                  </a:cubicBezTo>
                  <a:cubicBezTo>
                    <a:pt x="689593" y="1554261"/>
                    <a:pt x="688705" y="1555252"/>
                    <a:pt x="687859" y="1556433"/>
                  </a:cubicBezTo>
                  <a:cubicBezTo>
                    <a:pt x="687684" y="1559538"/>
                    <a:pt x="687415" y="1562586"/>
                    <a:pt x="687054" y="1565729"/>
                  </a:cubicBezTo>
                  <a:lnTo>
                    <a:pt x="687054" y="1570777"/>
                  </a:lnTo>
                  <a:cubicBezTo>
                    <a:pt x="683720" y="1582455"/>
                    <a:pt x="683544" y="1594056"/>
                    <a:pt x="688323" y="1605486"/>
                  </a:cubicBezTo>
                  <a:cubicBezTo>
                    <a:pt x="689150" y="1605486"/>
                    <a:pt x="689975" y="1605648"/>
                    <a:pt x="690740" y="1605944"/>
                  </a:cubicBezTo>
                  <a:cubicBezTo>
                    <a:pt x="692887" y="1605534"/>
                    <a:pt x="693773" y="1606715"/>
                    <a:pt x="694156" y="1608306"/>
                  </a:cubicBezTo>
                  <a:cubicBezTo>
                    <a:pt x="698543" y="1609496"/>
                    <a:pt x="703217" y="1609925"/>
                    <a:pt x="707191" y="1611840"/>
                  </a:cubicBezTo>
                  <a:cubicBezTo>
                    <a:pt x="712352" y="1614421"/>
                    <a:pt x="724407" y="1612268"/>
                    <a:pt x="721559" y="1620612"/>
                  </a:cubicBezTo>
                  <a:cubicBezTo>
                    <a:pt x="718462" y="1628765"/>
                    <a:pt x="718844" y="1642824"/>
                    <a:pt x="703672" y="1642653"/>
                  </a:cubicBezTo>
                  <a:cubicBezTo>
                    <a:pt x="705819" y="1652045"/>
                    <a:pt x="694785" y="1646492"/>
                    <a:pt x="693226" y="1651664"/>
                  </a:cubicBezTo>
                  <a:cubicBezTo>
                    <a:pt x="674441" y="1666046"/>
                    <a:pt x="666266" y="1686297"/>
                    <a:pt x="664254" y="1708576"/>
                  </a:cubicBezTo>
                  <a:cubicBezTo>
                    <a:pt x="663284" y="1722396"/>
                    <a:pt x="654778" y="1724578"/>
                    <a:pt x="644705" y="1725530"/>
                  </a:cubicBezTo>
                  <a:cubicBezTo>
                    <a:pt x="632361" y="1726759"/>
                    <a:pt x="619284" y="1725130"/>
                    <a:pt x="604938" y="1731626"/>
                  </a:cubicBezTo>
                  <a:cubicBezTo>
                    <a:pt x="613039" y="1716729"/>
                    <a:pt x="621431" y="1706404"/>
                    <a:pt x="632650" y="1696822"/>
                  </a:cubicBezTo>
                  <a:cubicBezTo>
                    <a:pt x="649155" y="1683306"/>
                    <a:pt x="666546" y="1669971"/>
                    <a:pt x="676175" y="1649863"/>
                  </a:cubicBezTo>
                  <a:cubicBezTo>
                    <a:pt x="677796" y="1646492"/>
                    <a:pt x="678972" y="1643386"/>
                    <a:pt x="677682" y="1639691"/>
                  </a:cubicBezTo>
                  <a:cubicBezTo>
                    <a:pt x="664337" y="1638776"/>
                    <a:pt x="654697" y="1644768"/>
                    <a:pt x="647162" y="1654931"/>
                  </a:cubicBezTo>
                  <a:lnTo>
                    <a:pt x="647100" y="1655026"/>
                  </a:lnTo>
                  <a:cubicBezTo>
                    <a:pt x="647254" y="1659817"/>
                    <a:pt x="644840" y="1662694"/>
                    <a:pt x="640752" y="1664494"/>
                  </a:cubicBezTo>
                  <a:cubicBezTo>
                    <a:pt x="638027" y="1675105"/>
                    <a:pt x="629770" y="1679143"/>
                    <a:pt x="618530" y="1683334"/>
                  </a:cubicBezTo>
                  <a:cubicBezTo>
                    <a:pt x="620646" y="1658655"/>
                    <a:pt x="625745" y="1636566"/>
                    <a:pt x="635685" y="1615545"/>
                  </a:cubicBezTo>
                  <a:cubicBezTo>
                    <a:pt x="647100" y="1592028"/>
                    <a:pt x="661582" y="1570263"/>
                    <a:pt x="677806" y="1549746"/>
                  </a:cubicBezTo>
                  <a:cubicBezTo>
                    <a:pt x="679033" y="1548613"/>
                    <a:pt x="680273" y="1547365"/>
                    <a:pt x="681356" y="1546165"/>
                  </a:cubicBezTo>
                  <a:cubicBezTo>
                    <a:pt x="681213" y="1545498"/>
                    <a:pt x="681542" y="1544698"/>
                    <a:pt x="681687" y="1544165"/>
                  </a:cubicBezTo>
                  <a:cubicBezTo>
                    <a:pt x="682595" y="1541031"/>
                    <a:pt x="683556" y="1537973"/>
                    <a:pt x="684402" y="1534859"/>
                  </a:cubicBezTo>
                  <a:cubicBezTo>
                    <a:pt x="683369" y="1534630"/>
                    <a:pt x="682182" y="1534306"/>
                    <a:pt x="681211" y="1533973"/>
                  </a:cubicBezTo>
                  <a:cubicBezTo>
                    <a:pt x="674926" y="1534630"/>
                    <a:pt x="668300" y="1536783"/>
                    <a:pt x="662603" y="1531811"/>
                  </a:cubicBezTo>
                  <a:cubicBezTo>
                    <a:pt x="645521" y="1528458"/>
                    <a:pt x="637386" y="1533868"/>
                    <a:pt x="636613" y="1552480"/>
                  </a:cubicBezTo>
                  <a:cubicBezTo>
                    <a:pt x="636336" y="1561729"/>
                    <a:pt x="633352" y="1572282"/>
                    <a:pt x="627581" y="1580788"/>
                  </a:cubicBezTo>
                  <a:cubicBezTo>
                    <a:pt x="628470" y="1583627"/>
                    <a:pt x="628440" y="1586284"/>
                    <a:pt x="624909" y="1587494"/>
                  </a:cubicBezTo>
                  <a:cubicBezTo>
                    <a:pt x="624754" y="1588218"/>
                    <a:pt x="624691" y="1588922"/>
                    <a:pt x="624269" y="1589684"/>
                  </a:cubicBezTo>
                  <a:cubicBezTo>
                    <a:pt x="623743" y="1598000"/>
                    <a:pt x="621708" y="1605648"/>
                    <a:pt x="615815" y="1612097"/>
                  </a:cubicBezTo>
                  <a:cubicBezTo>
                    <a:pt x="615640" y="1613049"/>
                    <a:pt x="615372" y="1613945"/>
                    <a:pt x="615104" y="1614926"/>
                  </a:cubicBezTo>
                  <a:cubicBezTo>
                    <a:pt x="615104" y="1622155"/>
                    <a:pt x="610304" y="1627632"/>
                    <a:pt x="607425" y="1633833"/>
                  </a:cubicBezTo>
                  <a:cubicBezTo>
                    <a:pt x="607930" y="1634195"/>
                    <a:pt x="607930" y="1634623"/>
                    <a:pt x="607425" y="1635214"/>
                  </a:cubicBezTo>
                  <a:cubicBezTo>
                    <a:pt x="605288" y="1642510"/>
                    <a:pt x="601840" y="1649054"/>
                    <a:pt x="597103" y="1655131"/>
                  </a:cubicBezTo>
                  <a:cubicBezTo>
                    <a:pt x="596504" y="1658569"/>
                    <a:pt x="595369" y="1663475"/>
                    <a:pt x="592128" y="1663256"/>
                  </a:cubicBezTo>
                  <a:cubicBezTo>
                    <a:pt x="588917" y="1662903"/>
                    <a:pt x="585088" y="1659588"/>
                    <a:pt x="584892" y="1654883"/>
                  </a:cubicBezTo>
                  <a:cubicBezTo>
                    <a:pt x="583127" y="1650806"/>
                    <a:pt x="580568" y="1646873"/>
                    <a:pt x="579381" y="1642510"/>
                  </a:cubicBezTo>
                  <a:cubicBezTo>
                    <a:pt x="575882" y="1628842"/>
                    <a:pt x="569348" y="1617869"/>
                    <a:pt x="555580" y="1612173"/>
                  </a:cubicBezTo>
                  <a:cubicBezTo>
                    <a:pt x="545176" y="1609925"/>
                    <a:pt x="545176" y="1616564"/>
                    <a:pt x="547569" y="1622679"/>
                  </a:cubicBezTo>
                  <a:cubicBezTo>
                    <a:pt x="551936" y="1633585"/>
                    <a:pt x="557490" y="1644244"/>
                    <a:pt x="562496" y="1654931"/>
                  </a:cubicBezTo>
                  <a:cubicBezTo>
                    <a:pt x="563600" y="1656074"/>
                    <a:pt x="564612" y="1657255"/>
                    <a:pt x="565756" y="1658369"/>
                  </a:cubicBezTo>
                  <a:cubicBezTo>
                    <a:pt x="587938" y="1684068"/>
                    <a:pt x="589041" y="1712281"/>
                    <a:pt x="575872" y="1741961"/>
                  </a:cubicBezTo>
                  <a:lnTo>
                    <a:pt x="576347" y="1742285"/>
                  </a:lnTo>
                  <a:cubicBezTo>
                    <a:pt x="568606" y="1768783"/>
                    <a:pt x="560008" y="1794977"/>
                    <a:pt x="546621" y="1819351"/>
                  </a:cubicBezTo>
                  <a:lnTo>
                    <a:pt x="546301" y="1820751"/>
                  </a:lnTo>
                  <a:cubicBezTo>
                    <a:pt x="547714" y="1826819"/>
                    <a:pt x="542956" y="1830934"/>
                    <a:pt x="540707" y="1835830"/>
                  </a:cubicBezTo>
                  <a:cubicBezTo>
                    <a:pt x="535495" y="1847317"/>
                    <a:pt x="532852" y="1841802"/>
                    <a:pt x="530644" y="1834277"/>
                  </a:cubicBezTo>
                  <a:cubicBezTo>
                    <a:pt x="526433" y="1820942"/>
                    <a:pt x="522346" y="1807426"/>
                    <a:pt x="518227" y="1793958"/>
                  </a:cubicBezTo>
                  <a:cubicBezTo>
                    <a:pt x="513428" y="1791186"/>
                    <a:pt x="508866" y="1784290"/>
                    <a:pt x="503157" y="1787557"/>
                  </a:cubicBezTo>
                  <a:cubicBezTo>
                    <a:pt x="498162" y="1790624"/>
                    <a:pt x="499453" y="1798272"/>
                    <a:pt x="499453" y="1804321"/>
                  </a:cubicBezTo>
                  <a:cubicBezTo>
                    <a:pt x="499823" y="1816980"/>
                    <a:pt x="506811" y="1828048"/>
                    <a:pt x="509248" y="1840135"/>
                  </a:cubicBezTo>
                  <a:lnTo>
                    <a:pt x="509248" y="1839992"/>
                  </a:lnTo>
                  <a:cubicBezTo>
                    <a:pt x="517174" y="1858051"/>
                    <a:pt x="525131" y="1875930"/>
                    <a:pt x="521570" y="1896313"/>
                  </a:cubicBezTo>
                  <a:cubicBezTo>
                    <a:pt x="520695" y="1902076"/>
                    <a:pt x="518897" y="1908096"/>
                    <a:pt x="512539" y="1911039"/>
                  </a:cubicBezTo>
                  <a:cubicBezTo>
                    <a:pt x="512550" y="1912077"/>
                    <a:pt x="512303" y="1913096"/>
                    <a:pt x="511693" y="1913887"/>
                  </a:cubicBezTo>
                  <a:close/>
                  <a:moveTo>
                    <a:pt x="509742" y="2120913"/>
                  </a:moveTo>
                  <a:cubicBezTo>
                    <a:pt x="507947" y="2124542"/>
                    <a:pt x="507152" y="2128828"/>
                    <a:pt x="504385" y="2132105"/>
                  </a:cubicBezTo>
                  <a:cubicBezTo>
                    <a:pt x="500051" y="2128171"/>
                    <a:pt x="494426" y="2125580"/>
                    <a:pt x="493580" y="2118408"/>
                  </a:cubicBezTo>
                  <a:cubicBezTo>
                    <a:pt x="491940" y="2104958"/>
                    <a:pt x="500731" y="2099129"/>
                    <a:pt x="512292" y="2091147"/>
                  </a:cubicBezTo>
                  <a:cubicBezTo>
                    <a:pt x="511755" y="2102901"/>
                    <a:pt x="514191" y="2111616"/>
                    <a:pt x="509742" y="2120913"/>
                  </a:cubicBezTo>
                  <a:close/>
                  <a:moveTo>
                    <a:pt x="461809" y="1911515"/>
                  </a:moveTo>
                  <a:cubicBezTo>
                    <a:pt x="447659" y="1932518"/>
                    <a:pt x="452428" y="1955530"/>
                    <a:pt x="454018" y="1977924"/>
                  </a:cubicBezTo>
                  <a:cubicBezTo>
                    <a:pt x="454822" y="1987315"/>
                    <a:pt x="455690" y="1996535"/>
                    <a:pt x="455370" y="2008251"/>
                  </a:cubicBezTo>
                  <a:cubicBezTo>
                    <a:pt x="421144" y="1988553"/>
                    <a:pt x="401627" y="1961617"/>
                    <a:pt x="388859" y="1928203"/>
                  </a:cubicBezTo>
                  <a:cubicBezTo>
                    <a:pt x="385629" y="1919316"/>
                    <a:pt x="389085" y="1915735"/>
                    <a:pt x="394474" y="1911791"/>
                  </a:cubicBezTo>
                  <a:cubicBezTo>
                    <a:pt x="408871" y="1901581"/>
                    <a:pt x="426263" y="1897409"/>
                    <a:pt x="441735" y="1889350"/>
                  </a:cubicBezTo>
                  <a:cubicBezTo>
                    <a:pt x="454018" y="1883045"/>
                    <a:pt x="457434" y="1894608"/>
                    <a:pt x="464164" y="1898799"/>
                  </a:cubicBezTo>
                  <a:cubicBezTo>
                    <a:pt x="467497" y="1900752"/>
                    <a:pt x="468106" y="1902076"/>
                    <a:pt x="461809" y="1911515"/>
                  </a:cubicBezTo>
                  <a:close/>
                  <a:moveTo>
                    <a:pt x="462986" y="2051657"/>
                  </a:moveTo>
                  <a:cubicBezTo>
                    <a:pt x="448587" y="2043808"/>
                    <a:pt x="431238" y="2045294"/>
                    <a:pt x="428813" y="2025367"/>
                  </a:cubicBezTo>
                  <a:cubicBezTo>
                    <a:pt x="445957" y="2024986"/>
                    <a:pt x="454482" y="2035607"/>
                    <a:pt x="462986" y="2051657"/>
                  </a:cubicBezTo>
                  <a:close/>
                  <a:moveTo>
                    <a:pt x="354086" y="1902933"/>
                  </a:moveTo>
                  <a:cubicBezTo>
                    <a:pt x="345880" y="1904571"/>
                    <a:pt x="340761" y="1901276"/>
                    <a:pt x="336313" y="1893170"/>
                  </a:cubicBezTo>
                  <a:cubicBezTo>
                    <a:pt x="326104" y="1875225"/>
                    <a:pt x="321563" y="1854765"/>
                    <a:pt x="308764" y="1838239"/>
                  </a:cubicBezTo>
                  <a:cubicBezTo>
                    <a:pt x="308032" y="1837525"/>
                    <a:pt x="307525" y="1836706"/>
                    <a:pt x="307237" y="1835544"/>
                  </a:cubicBezTo>
                  <a:cubicBezTo>
                    <a:pt x="303975" y="1827476"/>
                    <a:pt x="288286" y="1826466"/>
                    <a:pt x="293168" y="1814513"/>
                  </a:cubicBezTo>
                  <a:cubicBezTo>
                    <a:pt x="296492" y="1806283"/>
                    <a:pt x="306793" y="1804464"/>
                    <a:pt x="314059" y="1799977"/>
                  </a:cubicBezTo>
                  <a:cubicBezTo>
                    <a:pt x="358823" y="1772345"/>
                    <a:pt x="405889" y="1749466"/>
                    <a:pt x="452469" y="1725273"/>
                  </a:cubicBezTo>
                  <a:cubicBezTo>
                    <a:pt x="456990" y="1723082"/>
                    <a:pt x="462595" y="1722749"/>
                    <a:pt x="466775" y="1720101"/>
                  </a:cubicBezTo>
                  <a:cubicBezTo>
                    <a:pt x="471191" y="1717396"/>
                    <a:pt x="476414" y="1714653"/>
                    <a:pt x="479190" y="1718843"/>
                  </a:cubicBezTo>
                  <a:cubicBezTo>
                    <a:pt x="483021" y="1724149"/>
                    <a:pt x="478634" y="1731007"/>
                    <a:pt x="473958" y="1732921"/>
                  </a:cubicBezTo>
                  <a:cubicBezTo>
                    <a:pt x="458475" y="1738970"/>
                    <a:pt x="457980" y="1750647"/>
                    <a:pt x="457918" y="1764230"/>
                  </a:cubicBezTo>
                  <a:cubicBezTo>
                    <a:pt x="457856" y="1793558"/>
                    <a:pt x="445760" y="1820942"/>
                    <a:pt x="442468" y="1849717"/>
                  </a:cubicBezTo>
                  <a:cubicBezTo>
                    <a:pt x="440704" y="1864671"/>
                    <a:pt x="434345" y="1873634"/>
                    <a:pt x="419089" y="1878635"/>
                  </a:cubicBezTo>
                  <a:cubicBezTo>
                    <a:pt x="397188" y="1885740"/>
                    <a:pt x="379353" y="1902933"/>
                    <a:pt x="354086" y="1902933"/>
                  </a:cubicBezTo>
                  <a:close/>
                  <a:moveTo>
                    <a:pt x="591117" y="1451267"/>
                  </a:moveTo>
                  <a:cubicBezTo>
                    <a:pt x="591117" y="1447819"/>
                    <a:pt x="593831" y="1446428"/>
                    <a:pt x="596566" y="1445066"/>
                  </a:cubicBezTo>
                  <a:cubicBezTo>
                    <a:pt x="597186" y="1444695"/>
                    <a:pt x="597743" y="1444266"/>
                    <a:pt x="598218" y="1443809"/>
                  </a:cubicBezTo>
                  <a:cubicBezTo>
                    <a:pt x="597743" y="1444285"/>
                    <a:pt x="597361" y="1445009"/>
                    <a:pt x="596886" y="1445447"/>
                  </a:cubicBezTo>
                  <a:cubicBezTo>
                    <a:pt x="596794" y="1448533"/>
                    <a:pt x="596236" y="1451448"/>
                    <a:pt x="592768" y="1452724"/>
                  </a:cubicBezTo>
                  <a:cubicBezTo>
                    <a:pt x="592666" y="1452972"/>
                    <a:pt x="591117" y="1451924"/>
                    <a:pt x="591117" y="1451267"/>
                  </a:cubicBezTo>
                  <a:close/>
                  <a:moveTo>
                    <a:pt x="826291" y="1474727"/>
                  </a:moveTo>
                  <a:cubicBezTo>
                    <a:pt x="828952" y="1480204"/>
                    <a:pt x="832710" y="1480366"/>
                    <a:pt x="838893" y="1477947"/>
                  </a:cubicBezTo>
                  <a:cubicBezTo>
                    <a:pt x="848305" y="1473975"/>
                    <a:pt x="857316" y="1468660"/>
                    <a:pt x="868040" y="1468260"/>
                  </a:cubicBezTo>
                  <a:cubicBezTo>
                    <a:pt x="870445" y="1468069"/>
                    <a:pt x="873242" y="1466326"/>
                    <a:pt x="874821" y="1468898"/>
                  </a:cubicBezTo>
                  <a:cubicBezTo>
                    <a:pt x="876968" y="1472165"/>
                    <a:pt x="874997" y="1474727"/>
                    <a:pt x="872260" y="1476718"/>
                  </a:cubicBezTo>
                  <a:cubicBezTo>
                    <a:pt x="866388" y="1480671"/>
                    <a:pt x="860939" y="1484890"/>
                    <a:pt x="854871" y="1488567"/>
                  </a:cubicBezTo>
                  <a:cubicBezTo>
                    <a:pt x="847159" y="1493501"/>
                    <a:pt x="838737" y="1496930"/>
                    <a:pt x="833009" y="1504940"/>
                  </a:cubicBezTo>
                  <a:cubicBezTo>
                    <a:pt x="830120" y="1508865"/>
                    <a:pt x="822914" y="1511598"/>
                    <a:pt x="827673" y="1516856"/>
                  </a:cubicBezTo>
                  <a:cubicBezTo>
                    <a:pt x="831885" y="1521466"/>
                    <a:pt x="837354" y="1518523"/>
                    <a:pt x="842773" y="1514942"/>
                  </a:cubicBezTo>
                  <a:cubicBezTo>
                    <a:pt x="850452" y="1509779"/>
                    <a:pt x="858596" y="1503340"/>
                    <a:pt x="869381" y="1506741"/>
                  </a:cubicBezTo>
                  <a:lnTo>
                    <a:pt x="869495" y="1506693"/>
                  </a:lnTo>
                  <a:cubicBezTo>
                    <a:pt x="869588" y="1506693"/>
                    <a:pt x="869671" y="1506693"/>
                    <a:pt x="869701" y="1506569"/>
                  </a:cubicBezTo>
                  <a:cubicBezTo>
                    <a:pt x="868526" y="1504255"/>
                    <a:pt x="868526" y="1502169"/>
                    <a:pt x="871507" y="1501445"/>
                  </a:cubicBezTo>
                  <a:cubicBezTo>
                    <a:pt x="872592" y="1501254"/>
                    <a:pt x="874656" y="1502769"/>
                    <a:pt x="874769" y="1503340"/>
                  </a:cubicBezTo>
                  <a:cubicBezTo>
                    <a:pt x="874822" y="1506741"/>
                    <a:pt x="872023" y="1506245"/>
                    <a:pt x="869701" y="1506569"/>
                  </a:cubicBezTo>
                  <a:cubicBezTo>
                    <a:pt x="869701" y="1506693"/>
                    <a:pt x="869701" y="1506741"/>
                    <a:pt x="869857" y="1506846"/>
                  </a:cubicBezTo>
                  <a:cubicBezTo>
                    <a:pt x="869671" y="1506741"/>
                    <a:pt x="869505" y="1506846"/>
                    <a:pt x="869392" y="1506741"/>
                  </a:cubicBezTo>
                  <a:cubicBezTo>
                    <a:pt x="864994" y="1519342"/>
                    <a:pt x="850824" y="1521466"/>
                    <a:pt x="842948" y="1530544"/>
                  </a:cubicBezTo>
                  <a:cubicBezTo>
                    <a:pt x="840584" y="1533182"/>
                    <a:pt x="837148" y="1534859"/>
                    <a:pt x="834568" y="1537183"/>
                  </a:cubicBezTo>
                  <a:cubicBezTo>
                    <a:pt x="831120" y="1540393"/>
                    <a:pt x="826611" y="1544574"/>
                    <a:pt x="830232" y="1548708"/>
                  </a:cubicBezTo>
                  <a:cubicBezTo>
                    <a:pt x="833421" y="1552518"/>
                    <a:pt x="838592" y="1549984"/>
                    <a:pt x="842969" y="1547546"/>
                  </a:cubicBezTo>
                  <a:cubicBezTo>
                    <a:pt x="850680" y="1543441"/>
                    <a:pt x="858069" y="1537621"/>
                    <a:pt x="870786" y="1537278"/>
                  </a:cubicBezTo>
                  <a:cubicBezTo>
                    <a:pt x="858584" y="1552908"/>
                    <a:pt x="843929" y="1558481"/>
                    <a:pt x="828756" y="1562110"/>
                  </a:cubicBezTo>
                  <a:cubicBezTo>
                    <a:pt x="802386" y="1568634"/>
                    <a:pt x="778140" y="1578064"/>
                    <a:pt x="760367" y="1599771"/>
                  </a:cubicBezTo>
                  <a:cubicBezTo>
                    <a:pt x="753627" y="1607982"/>
                    <a:pt x="746021" y="1609706"/>
                    <a:pt x="739259" y="1599733"/>
                  </a:cubicBezTo>
                  <a:cubicBezTo>
                    <a:pt x="734295" y="1592209"/>
                    <a:pt x="726646" y="1589218"/>
                    <a:pt x="718576" y="1587446"/>
                  </a:cubicBezTo>
                  <a:cubicBezTo>
                    <a:pt x="710297" y="1585570"/>
                    <a:pt x="705499" y="1581093"/>
                    <a:pt x="706530" y="1572406"/>
                  </a:cubicBezTo>
                  <a:cubicBezTo>
                    <a:pt x="710215" y="1538202"/>
                    <a:pt x="721713" y="1506455"/>
                    <a:pt x="748765" y="1484481"/>
                  </a:cubicBezTo>
                  <a:cubicBezTo>
                    <a:pt x="771824" y="1465717"/>
                    <a:pt x="797472" y="1450124"/>
                    <a:pt x="825434" y="1438732"/>
                  </a:cubicBezTo>
                  <a:cubicBezTo>
                    <a:pt x="839388" y="1433189"/>
                    <a:pt x="851970" y="1425312"/>
                    <a:pt x="867844" y="1425121"/>
                  </a:cubicBezTo>
                  <a:cubicBezTo>
                    <a:pt x="874191" y="1424940"/>
                    <a:pt x="881520" y="1423130"/>
                    <a:pt x="883821" y="1429598"/>
                  </a:cubicBezTo>
                  <a:cubicBezTo>
                    <a:pt x="886226" y="1435970"/>
                    <a:pt x="879239" y="1438170"/>
                    <a:pt x="873696" y="1440799"/>
                  </a:cubicBezTo>
                  <a:cubicBezTo>
                    <a:pt x="859463" y="1447638"/>
                    <a:pt x="845901" y="1455792"/>
                    <a:pt x="831523" y="1462735"/>
                  </a:cubicBezTo>
                  <a:cubicBezTo>
                    <a:pt x="825588" y="1465574"/>
                    <a:pt x="823452" y="1469231"/>
                    <a:pt x="826291" y="1474727"/>
                  </a:cubicBezTo>
                  <a:close/>
                  <a:moveTo>
                    <a:pt x="831533" y="1584741"/>
                  </a:moveTo>
                  <a:cubicBezTo>
                    <a:pt x="822481" y="1604115"/>
                    <a:pt x="815970" y="1624098"/>
                    <a:pt x="798278" y="1639995"/>
                  </a:cubicBezTo>
                  <a:cubicBezTo>
                    <a:pt x="796638" y="1630023"/>
                    <a:pt x="797833" y="1622155"/>
                    <a:pt x="794923" y="1614145"/>
                  </a:cubicBezTo>
                  <a:cubicBezTo>
                    <a:pt x="791198" y="1603496"/>
                    <a:pt x="803531" y="1591094"/>
                    <a:pt x="820066" y="1587056"/>
                  </a:cubicBezTo>
                  <a:cubicBezTo>
                    <a:pt x="823709" y="1586160"/>
                    <a:pt x="827765" y="1588018"/>
                    <a:pt x="831533" y="1584741"/>
                  </a:cubicBezTo>
                  <a:close/>
                  <a:moveTo>
                    <a:pt x="532151" y="2217420"/>
                  </a:moveTo>
                  <a:cubicBezTo>
                    <a:pt x="533317" y="2215915"/>
                    <a:pt x="535556" y="2213953"/>
                    <a:pt x="536950" y="2214124"/>
                  </a:cubicBezTo>
                  <a:cubicBezTo>
                    <a:pt x="551626" y="2216658"/>
                    <a:pt x="558542" y="2229317"/>
                    <a:pt x="568162" y="2238127"/>
                  </a:cubicBezTo>
                  <a:cubicBezTo>
                    <a:pt x="575377" y="2244528"/>
                    <a:pt x="569813" y="2252901"/>
                    <a:pt x="566489" y="2259016"/>
                  </a:cubicBezTo>
                  <a:cubicBezTo>
                    <a:pt x="561020" y="2268827"/>
                    <a:pt x="551801" y="2276085"/>
                    <a:pt x="542648" y="2282743"/>
                  </a:cubicBezTo>
                  <a:cubicBezTo>
                    <a:pt x="533451" y="2289505"/>
                    <a:pt x="519868" y="2278171"/>
                    <a:pt x="517835" y="2262426"/>
                  </a:cubicBezTo>
                  <a:cubicBezTo>
                    <a:pt x="517174" y="2258311"/>
                    <a:pt x="517752" y="2254253"/>
                    <a:pt x="517752" y="2247376"/>
                  </a:cubicBezTo>
                  <a:cubicBezTo>
                    <a:pt x="514821" y="2235880"/>
                    <a:pt x="524709" y="2227078"/>
                    <a:pt x="532151" y="2217420"/>
                  </a:cubicBezTo>
                  <a:close/>
                  <a:moveTo>
                    <a:pt x="528477" y="2155851"/>
                  </a:moveTo>
                  <a:cubicBezTo>
                    <a:pt x="527712" y="2121341"/>
                    <a:pt x="533967" y="2109826"/>
                    <a:pt x="556199" y="2102996"/>
                  </a:cubicBezTo>
                  <a:cubicBezTo>
                    <a:pt x="557015" y="2125199"/>
                    <a:pt x="545072" y="2140258"/>
                    <a:pt x="528477" y="2155851"/>
                  </a:cubicBezTo>
                  <a:close/>
                  <a:moveTo>
                    <a:pt x="564911" y="2193684"/>
                  </a:moveTo>
                  <a:cubicBezTo>
                    <a:pt x="564911" y="2195770"/>
                    <a:pt x="562434" y="2197999"/>
                    <a:pt x="561082" y="2200113"/>
                  </a:cubicBezTo>
                  <a:cubicBezTo>
                    <a:pt x="553154" y="2196389"/>
                    <a:pt x="544897" y="2193122"/>
                    <a:pt x="547209" y="2183464"/>
                  </a:cubicBezTo>
                  <a:cubicBezTo>
                    <a:pt x="552875" y="2160422"/>
                    <a:pt x="565572" y="2141420"/>
                    <a:pt x="583994" y="2126133"/>
                  </a:cubicBezTo>
                  <a:cubicBezTo>
                    <a:pt x="591850" y="2119627"/>
                    <a:pt x="593914" y="2130371"/>
                    <a:pt x="599416" y="2131438"/>
                  </a:cubicBezTo>
                  <a:cubicBezTo>
                    <a:pt x="604215" y="2132438"/>
                    <a:pt x="604153" y="2137743"/>
                    <a:pt x="601738" y="2142868"/>
                  </a:cubicBezTo>
                  <a:cubicBezTo>
                    <a:pt x="598084" y="2150707"/>
                    <a:pt x="591477" y="2155527"/>
                    <a:pt x="585738" y="2161289"/>
                  </a:cubicBezTo>
                  <a:cubicBezTo>
                    <a:pt x="576605" y="2170833"/>
                    <a:pt x="565116" y="2178510"/>
                    <a:pt x="564911" y="2193684"/>
                  </a:cubicBezTo>
                  <a:close/>
                  <a:moveTo>
                    <a:pt x="588774" y="2086785"/>
                  </a:moveTo>
                  <a:cubicBezTo>
                    <a:pt x="582921" y="2093081"/>
                    <a:pt x="575386" y="2091004"/>
                    <a:pt x="568399" y="2085242"/>
                  </a:cubicBezTo>
                  <a:cubicBezTo>
                    <a:pt x="561195" y="2079146"/>
                    <a:pt x="563754" y="2075498"/>
                    <a:pt x="568399" y="2069335"/>
                  </a:cubicBezTo>
                  <a:cubicBezTo>
                    <a:pt x="588093" y="2044189"/>
                    <a:pt x="611801" y="2024634"/>
                    <a:pt x="644323" y="2011737"/>
                  </a:cubicBezTo>
                  <a:cubicBezTo>
                    <a:pt x="633290" y="2044332"/>
                    <a:pt x="609851" y="2064763"/>
                    <a:pt x="588774" y="2086785"/>
                  </a:cubicBezTo>
                  <a:close/>
                  <a:moveTo>
                    <a:pt x="686807" y="2037998"/>
                  </a:moveTo>
                  <a:cubicBezTo>
                    <a:pt x="685123" y="2046675"/>
                    <a:pt x="683648" y="2055181"/>
                    <a:pt x="681687" y="2063668"/>
                  </a:cubicBezTo>
                  <a:cubicBezTo>
                    <a:pt x="679819" y="2072221"/>
                    <a:pt x="680273" y="2083651"/>
                    <a:pt x="674564" y="2088718"/>
                  </a:cubicBezTo>
                  <a:cubicBezTo>
                    <a:pt x="670044" y="2092900"/>
                    <a:pt x="658464" y="2089937"/>
                    <a:pt x="649733" y="2089937"/>
                  </a:cubicBezTo>
                  <a:cubicBezTo>
                    <a:pt x="640762" y="2089795"/>
                    <a:pt x="633838" y="2093728"/>
                    <a:pt x="629048" y="2100767"/>
                  </a:cubicBezTo>
                  <a:cubicBezTo>
                    <a:pt x="621731" y="2111502"/>
                    <a:pt x="621802" y="2111759"/>
                    <a:pt x="607858" y="2110740"/>
                  </a:cubicBezTo>
                  <a:cubicBezTo>
                    <a:pt x="617663" y="2072373"/>
                    <a:pt x="652436" y="2037779"/>
                    <a:pt x="686807" y="2037998"/>
                  </a:cubicBezTo>
                  <a:close/>
                  <a:moveTo>
                    <a:pt x="667238" y="1978495"/>
                  </a:moveTo>
                  <a:cubicBezTo>
                    <a:pt x="662293" y="1971999"/>
                    <a:pt x="656668" y="1965312"/>
                    <a:pt x="661312" y="1957921"/>
                  </a:cubicBezTo>
                  <a:cubicBezTo>
                    <a:pt x="666369" y="1950406"/>
                    <a:pt x="675680" y="1955749"/>
                    <a:pt x="685125" y="1953778"/>
                  </a:cubicBezTo>
                  <a:cubicBezTo>
                    <a:pt x="679128" y="1964046"/>
                    <a:pt x="675019" y="1972456"/>
                    <a:pt x="667238" y="1978495"/>
                  </a:cubicBezTo>
                  <a:close/>
                  <a:moveTo>
                    <a:pt x="675948" y="2018814"/>
                  </a:moveTo>
                  <a:cubicBezTo>
                    <a:pt x="667620" y="2018281"/>
                    <a:pt x="662376" y="2015471"/>
                    <a:pt x="663089" y="2006013"/>
                  </a:cubicBezTo>
                  <a:cubicBezTo>
                    <a:pt x="663326" y="2000098"/>
                    <a:pt x="663293" y="1994354"/>
                    <a:pt x="671613" y="1994545"/>
                  </a:cubicBezTo>
                  <a:cubicBezTo>
                    <a:pt x="681213" y="1994764"/>
                    <a:pt x="685010" y="1999021"/>
                    <a:pt x="685010" y="2009223"/>
                  </a:cubicBezTo>
                  <a:cubicBezTo>
                    <a:pt x="685620" y="2014909"/>
                    <a:pt x="684392" y="2019462"/>
                    <a:pt x="675948" y="2018814"/>
                  </a:cubicBezTo>
                  <a:close/>
                  <a:moveTo>
                    <a:pt x="909872" y="1254385"/>
                  </a:moveTo>
                  <a:cubicBezTo>
                    <a:pt x="906176" y="1254385"/>
                    <a:pt x="904082" y="1255900"/>
                    <a:pt x="903844" y="1259634"/>
                  </a:cubicBezTo>
                  <a:cubicBezTo>
                    <a:pt x="899025" y="1260434"/>
                    <a:pt x="893730" y="1259634"/>
                    <a:pt x="888724" y="1267016"/>
                  </a:cubicBezTo>
                  <a:cubicBezTo>
                    <a:pt x="895762" y="1265187"/>
                    <a:pt x="902409" y="1269502"/>
                    <a:pt x="904082" y="1260015"/>
                  </a:cubicBezTo>
                  <a:cubicBezTo>
                    <a:pt x="915880" y="1257891"/>
                    <a:pt x="921299" y="1264511"/>
                    <a:pt x="920575" y="1274626"/>
                  </a:cubicBezTo>
                  <a:cubicBezTo>
                    <a:pt x="920070" y="1284551"/>
                    <a:pt x="915673" y="1291923"/>
                    <a:pt x="902648" y="1290742"/>
                  </a:cubicBezTo>
                  <a:cubicBezTo>
                    <a:pt x="893730" y="1290047"/>
                    <a:pt x="883842" y="1289742"/>
                    <a:pt x="875193" y="1294724"/>
                  </a:cubicBezTo>
                  <a:cubicBezTo>
                    <a:pt x="870609" y="1297591"/>
                    <a:pt x="865005" y="1300953"/>
                    <a:pt x="868102" y="1306335"/>
                  </a:cubicBezTo>
                  <a:cubicBezTo>
                    <a:pt x="870971" y="1311307"/>
                    <a:pt x="878103" y="1309735"/>
                    <a:pt x="882086" y="1307021"/>
                  </a:cubicBezTo>
                  <a:cubicBezTo>
                    <a:pt x="888889" y="1302325"/>
                    <a:pt x="895401" y="1298953"/>
                    <a:pt x="903524" y="1301353"/>
                  </a:cubicBezTo>
                  <a:cubicBezTo>
                    <a:pt x="907282" y="1302439"/>
                    <a:pt x="912639" y="1302077"/>
                    <a:pt x="913175" y="1307754"/>
                  </a:cubicBezTo>
                  <a:cubicBezTo>
                    <a:pt x="913300" y="1311812"/>
                    <a:pt x="910047" y="1313593"/>
                    <a:pt x="907292" y="1316164"/>
                  </a:cubicBezTo>
                  <a:cubicBezTo>
                    <a:pt x="897497" y="1325642"/>
                    <a:pt x="884472" y="1324994"/>
                    <a:pt x="872509" y="1327852"/>
                  </a:cubicBezTo>
                  <a:cubicBezTo>
                    <a:pt x="869505" y="1328604"/>
                    <a:pt x="866121" y="1327852"/>
                    <a:pt x="863209" y="1328776"/>
                  </a:cubicBezTo>
                  <a:cubicBezTo>
                    <a:pt x="856438" y="1330871"/>
                    <a:pt x="848800" y="1335700"/>
                    <a:pt x="850267" y="1342025"/>
                  </a:cubicBezTo>
                  <a:cubicBezTo>
                    <a:pt x="851836" y="1349254"/>
                    <a:pt x="860888" y="1346378"/>
                    <a:pt x="866121" y="1344549"/>
                  </a:cubicBezTo>
                  <a:cubicBezTo>
                    <a:pt x="870889" y="1343130"/>
                    <a:pt x="874831" y="1341892"/>
                    <a:pt x="880932" y="1345073"/>
                  </a:cubicBezTo>
                  <a:cubicBezTo>
                    <a:pt x="869154" y="1361665"/>
                    <a:pt x="847169" y="1363247"/>
                    <a:pt x="832244" y="1377182"/>
                  </a:cubicBezTo>
                  <a:cubicBezTo>
                    <a:pt x="841823" y="1381506"/>
                    <a:pt x="848936" y="1377620"/>
                    <a:pt x="855942" y="1374143"/>
                  </a:cubicBezTo>
                  <a:cubicBezTo>
                    <a:pt x="860949" y="1371638"/>
                    <a:pt x="865510" y="1368047"/>
                    <a:pt x="870806" y="1366114"/>
                  </a:cubicBezTo>
                  <a:cubicBezTo>
                    <a:pt x="877092" y="1363647"/>
                    <a:pt x="884605" y="1365676"/>
                    <a:pt x="886784" y="1371238"/>
                  </a:cubicBezTo>
                  <a:cubicBezTo>
                    <a:pt x="888724" y="1376391"/>
                    <a:pt x="881870" y="1380153"/>
                    <a:pt x="877101" y="1381239"/>
                  </a:cubicBezTo>
                  <a:cubicBezTo>
                    <a:pt x="864943" y="1384097"/>
                    <a:pt x="853539" y="1388897"/>
                    <a:pt x="843176" y="1395860"/>
                  </a:cubicBezTo>
                  <a:cubicBezTo>
                    <a:pt x="842061" y="1396679"/>
                    <a:pt x="841257" y="1397756"/>
                    <a:pt x="840151" y="1398661"/>
                  </a:cubicBezTo>
                  <a:cubicBezTo>
                    <a:pt x="849905" y="1406366"/>
                    <a:pt x="858400" y="1395832"/>
                    <a:pt x="869867" y="1397594"/>
                  </a:cubicBezTo>
                  <a:cubicBezTo>
                    <a:pt x="857594" y="1410738"/>
                    <a:pt x="841555" y="1414272"/>
                    <a:pt x="828365" y="1418882"/>
                  </a:cubicBezTo>
                  <a:cubicBezTo>
                    <a:pt x="798515" y="1428941"/>
                    <a:pt x="770947" y="1442542"/>
                    <a:pt x="745814" y="1459954"/>
                  </a:cubicBezTo>
                  <a:cubicBezTo>
                    <a:pt x="730023" y="1471041"/>
                    <a:pt x="724107" y="1461554"/>
                    <a:pt x="717543" y="1452391"/>
                  </a:cubicBezTo>
                  <a:cubicBezTo>
                    <a:pt x="708790" y="1439904"/>
                    <a:pt x="699905" y="1427274"/>
                    <a:pt x="690512" y="1414948"/>
                  </a:cubicBezTo>
                  <a:cubicBezTo>
                    <a:pt x="684102" y="1406852"/>
                    <a:pt x="678683" y="1404480"/>
                    <a:pt x="670396" y="1412567"/>
                  </a:cubicBezTo>
                  <a:cubicBezTo>
                    <a:pt x="666742" y="1416377"/>
                    <a:pt x="663883" y="1421140"/>
                    <a:pt x="657917" y="1411348"/>
                  </a:cubicBezTo>
                  <a:cubicBezTo>
                    <a:pt x="652446" y="1402604"/>
                    <a:pt x="640845" y="1411977"/>
                    <a:pt x="635334" y="1416920"/>
                  </a:cubicBezTo>
                  <a:cubicBezTo>
                    <a:pt x="627190" y="1424311"/>
                    <a:pt x="618179" y="1430007"/>
                    <a:pt x="609963" y="1436713"/>
                  </a:cubicBezTo>
                  <a:cubicBezTo>
                    <a:pt x="608519" y="1438666"/>
                    <a:pt x="607115" y="1440628"/>
                    <a:pt x="604286" y="1440323"/>
                  </a:cubicBezTo>
                  <a:cubicBezTo>
                    <a:pt x="604100" y="1440323"/>
                    <a:pt x="603605" y="1439551"/>
                    <a:pt x="603605" y="1439113"/>
                  </a:cubicBezTo>
                  <a:cubicBezTo>
                    <a:pt x="603605" y="1436237"/>
                    <a:pt x="606143" y="1435532"/>
                    <a:pt x="608528" y="1434913"/>
                  </a:cubicBezTo>
                  <a:cubicBezTo>
                    <a:pt x="611624" y="1418187"/>
                    <a:pt x="626312" y="1409148"/>
                    <a:pt x="636078" y="1397118"/>
                  </a:cubicBezTo>
                  <a:cubicBezTo>
                    <a:pt x="661096" y="1367361"/>
                    <a:pt x="688581" y="1339920"/>
                    <a:pt x="718193" y="1314898"/>
                  </a:cubicBezTo>
                  <a:cubicBezTo>
                    <a:pt x="740911" y="1295629"/>
                    <a:pt x="769779" y="1284970"/>
                    <a:pt x="796730" y="1272016"/>
                  </a:cubicBezTo>
                  <a:cubicBezTo>
                    <a:pt x="825455" y="1257891"/>
                    <a:pt x="856624" y="1251137"/>
                    <a:pt x="887102" y="1241803"/>
                  </a:cubicBezTo>
                  <a:cubicBezTo>
                    <a:pt x="893874" y="1239841"/>
                    <a:pt x="901522" y="1240555"/>
                    <a:pt x="908872" y="1240774"/>
                  </a:cubicBezTo>
                  <a:cubicBezTo>
                    <a:pt x="914094" y="1241022"/>
                    <a:pt x="922485" y="1238450"/>
                    <a:pt x="923105" y="1245613"/>
                  </a:cubicBezTo>
                  <a:cubicBezTo>
                    <a:pt x="923312" y="1250242"/>
                    <a:pt x="916416" y="1254385"/>
                    <a:pt x="909872" y="1254385"/>
                  </a:cubicBezTo>
                  <a:close/>
                  <a:moveTo>
                    <a:pt x="978456" y="1016699"/>
                  </a:moveTo>
                  <a:cubicBezTo>
                    <a:pt x="982856" y="1021375"/>
                    <a:pt x="989695" y="1023433"/>
                    <a:pt x="995401" y="1026700"/>
                  </a:cubicBezTo>
                  <a:cubicBezTo>
                    <a:pt x="1004154" y="1032024"/>
                    <a:pt x="1010326" y="1038263"/>
                    <a:pt x="1012479" y="1050322"/>
                  </a:cubicBezTo>
                  <a:cubicBezTo>
                    <a:pt x="985637" y="1044235"/>
                    <a:pt x="972303" y="1009212"/>
                    <a:pt x="938566" y="1017241"/>
                  </a:cubicBezTo>
                  <a:cubicBezTo>
                    <a:pt x="944883" y="1024852"/>
                    <a:pt x="951086" y="1031062"/>
                    <a:pt x="959834" y="1034710"/>
                  </a:cubicBezTo>
                  <a:cubicBezTo>
                    <a:pt x="964454" y="1036539"/>
                    <a:pt x="969616" y="1037987"/>
                    <a:pt x="972617" y="1042492"/>
                  </a:cubicBezTo>
                  <a:cubicBezTo>
                    <a:pt x="975760" y="1047207"/>
                    <a:pt x="982675" y="1053160"/>
                    <a:pt x="977732" y="1057799"/>
                  </a:cubicBezTo>
                  <a:cubicBezTo>
                    <a:pt x="973255" y="1062047"/>
                    <a:pt x="965406" y="1060494"/>
                    <a:pt x="959834" y="1054370"/>
                  </a:cubicBezTo>
                  <a:cubicBezTo>
                    <a:pt x="950621" y="1044235"/>
                    <a:pt x="941734" y="1032491"/>
                    <a:pt x="924518" y="1038768"/>
                  </a:cubicBezTo>
                  <a:cubicBezTo>
                    <a:pt x="923321" y="1052408"/>
                    <a:pt x="942117" y="1054637"/>
                    <a:pt x="943128" y="1068334"/>
                  </a:cubicBezTo>
                  <a:cubicBezTo>
                    <a:pt x="937204" y="1068334"/>
                    <a:pt x="931682" y="1068334"/>
                    <a:pt x="925612" y="1067238"/>
                  </a:cubicBezTo>
                  <a:cubicBezTo>
                    <a:pt x="916262" y="1065495"/>
                    <a:pt x="905012" y="1059885"/>
                    <a:pt x="899046" y="1073925"/>
                  </a:cubicBezTo>
                  <a:cubicBezTo>
                    <a:pt x="898508" y="1075239"/>
                    <a:pt x="893080" y="1079144"/>
                    <a:pt x="887114" y="1076049"/>
                  </a:cubicBezTo>
                  <a:cubicBezTo>
                    <a:pt x="870237" y="1067238"/>
                    <a:pt x="852507" y="1059761"/>
                    <a:pt x="835156" y="1052065"/>
                  </a:cubicBezTo>
                  <a:cubicBezTo>
                    <a:pt x="825609" y="1047864"/>
                    <a:pt x="828168" y="1045169"/>
                    <a:pt x="835331" y="1040711"/>
                  </a:cubicBezTo>
                  <a:cubicBezTo>
                    <a:pt x="857605" y="1026957"/>
                    <a:pt x="881096" y="1015841"/>
                    <a:pt x="905847" y="1006983"/>
                  </a:cubicBezTo>
                  <a:cubicBezTo>
                    <a:pt x="921070" y="1001668"/>
                    <a:pt x="935542" y="994486"/>
                    <a:pt x="951488" y="991381"/>
                  </a:cubicBezTo>
                  <a:cubicBezTo>
                    <a:pt x="970988" y="987819"/>
                    <a:pt x="985495" y="999525"/>
                    <a:pt x="1001316" y="1006669"/>
                  </a:cubicBezTo>
                  <a:cubicBezTo>
                    <a:pt x="1018365" y="1007650"/>
                    <a:pt x="1027776" y="1017127"/>
                    <a:pt x="1032653" y="1033663"/>
                  </a:cubicBezTo>
                  <a:cubicBezTo>
                    <a:pt x="1017089" y="1030005"/>
                    <a:pt x="1008583" y="1018832"/>
                    <a:pt x="999144" y="1009212"/>
                  </a:cubicBezTo>
                  <a:cubicBezTo>
                    <a:pt x="994172" y="1006783"/>
                    <a:pt x="989724" y="1003402"/>
                    <a:pt x="983599" y="1003506"/>
                  </a:cubicBezTo>
                  <a:cubicBezTo>
                    <a:pt x="978065" y="1003554"/>
                    <a:pt x="970712" y="996020"/>
                    <a:pt x="967483" y="1003297"/>
                  </a:cubicBezTo>
                  <a:cubicBezTo>
                    <a:pt x="965206" y="1008802"/>
                    <a:pt x="974274" y="1012508"/>
                    <a:pt x="978456" y="1016699"/>
                  </a:cubicBezTo>
                  <a:close/>
                  <a:moveTo>
                    <a:pt x="756115" y="1096985"/>
                  </a:moveTo>
                  <a:cubicBezTo>
                    <a:pt x="771246" y="1077106"/>
                    <a:pt x="791196" y="1066133"/>
                    <a:pt x="819932" y="1065628"/>
                  </a:cubicBezTo>
                  <a:cubicBezTo>
                    <a:pt x="830130" y="1067324"/>
                    <a:pt x="848233" y="1067857"/>
                    <a:pt x="851092" y="1081116"/>
                  </a:cubicBezTo>
                  <a:cubicBezTo>
                    <a:pt x="852857" y="1089612"/>
                    <a:pt x="834845" y="1094203"/>
                    <a:pt x="823906" y="1096985"/>
                  </a:cubicBezTo>
                  <a:cubicBezTo>
                    <a:pt x="804275" y="1102109"/>
                    <a:pt x="784519" y="1106415"/>
                    <a:pt x="764980" y="1111158"/>
                  </a:cubicBezTo>
                  <a:cubicBezTo>
                    <a:pt x="760273" y="1112291"/>
                    <a:pt x="756476" y="1110377"/>
                    <a:pt x="754091" y="1106834"/>
                  </a:cubicBezTo>
                  <a:cubicBezTo>
                    <a:pt x="751542" y="1103319"/>
                    <a:pt x="753906" y="1100014"/>
                    <a:pt x="756115" y="1096985"/>
                  </a:cubicBezTo>
                  <a:close/>
                  <a:moveTo>
                    <a:pt x="744462" y="1068172"/>
                  </a:moveTo>
                  <a:cubicBezTo>
                    <a:pt x="732861" y="1067857"/>
                    <a:pt x="734512" y="1055780"/>
                    <a:pt x="733159" y="1049312"/>
                  </a:cubicBezTo>
                  <a:cubicBezTo>
                    <a:pt x="731426" y="1039987"/>
                    <a:pt x="742759" y="1042168"/>
                    <a:pt x="748053" y="1041073"/>
                  </a:cubicBezTo>
                  <a:cubicBezTo>
                    <a:pt x="758251" y="1038997"/>
                    <a:pt x="755371" y="1048141"/>
                    <a:pt x="756548" y="1053856"/>
                  </a:cubicBezTo>
                  <a:cubicBezTo>
                    <a:pt x="757105" y="1062247"/>
                    <a:pt x="752792" y="1068457"/>
                    <a:pt x="744462" y="1068172"/>
                  </a:cubicBezTo>
                  <a:close/>
                  <a:moveTo>
                    <a:pt x="871684" y="780666"/>
                  </a:moveTo>
                  <a:cubicBezTo>
                    <a:pt x="872210" y="774970"/>
                    <a:pt x="868659" y="766209"/>
                    <a:pt x="879776" y="765880"/>
                  </a:cubicBezTo>
                  <a:cubicBezTo>
                    <a:pt x="888600" y="765571"/>
                    <a:pt x="897085" y="764145"/>
                    <a:pt x="900759" y="776065"/>
                  </a:cubicBezTo>
                  <a:cubicBezTo>
                    <a:pt x="910936" y="810899"/>
                    <a:pt x="903762" y="842370"/>
                    <a:pt x="883285" y="871519"/>
                  </a:cubicBezTo>
                  <a:cubicBezTo>
                    <a:pt x="877359" y="879990"/>
                    <a:pt x="867533" y="880239"/>
                    <a:pt x="858605" y="881343"/>
                  </a:cubicBezTo>
                  <a:cubicBezTo>
                    <a:pt x="853786" y="879990"/>
                    <a:pt x="847964" y="883210"/>
                    <a:pt x="845571" y="877773"/>
                  </a:cubicBezTo>
                  <a:cubicBezTo>
                    <a:pt x="843867" y="873945"/>
                    <a:pt x="846777" y="869642"/>
                    <a:pt x="849452" y="866784"/>
                  </a:cubicBezTo>
                  <a:cubicBezTo>
                    <a:pt x="866286" y="849572"/>
                    <a:pt x="870972" y="828120"/>
                    <a:pt x="871384" y="805368"/>
                  </a:cubicBezTo>
                  <a:cubicBezTo>
                    <a:pt x="871395" y="797093"/>
                    <a:pt x="870972" y="788818"/>
                    <a:pt x="871684" y="780666"/>
                  </a:cubicBezTo>
                  <a:close/>
                  <a:moveTo>
                    <a:pt x="980523" y="902041"/>
                  </a:moveTo>
                  <a:cubicBezTo>
                    <a:pt x="975265" y="901484"/>
                    <a:pt x="968540" y="903971"/>
                    <a:pt x="969445" y="894323"/>
                  </a:cubicBezTo>
                  <a:cubicBezTo>
                    <a:pt x="970455" y="885098"/>
                    <a:pt x="972893" y="876740"/>
                    <a:pt x="983961" y="876740"/>
                  </a:cubicBezTo>
                  <a:cubicBezTo>
                    <a:pt x="993524" y="876740"/>
                    <a:pt x="990495" y="885244"/>
                    <a:pt x="991353" y="890507"/>
                  </a:cubicBezTo>
                  <a:cubicBezTo>
                    <a:pt x="993286" y="899574"/>
                    <a:pt x="989457" y="903001"/>
                    <a:pt x="980523" y="902041"/>
                  </a:cubicBezTo>
                  <a:close/>
                  <a:moveTo>
                    <a:pt x="1007116" y="972588"/>
                  </a:moveTo>
                  <a:cubicBezTo>
                    <a:pt x="1007678" y="978265"/>
                    <a:pt x="1006916" y="982085"/>
                    <a:pt x="999315" y="982389"/>
                  </a:cubicBezTo>
                  <a:cubicBezTo>
                    <a:pt x="985866" y="983037"/>
                    <a:pt x="989686" y="971245"/>
                    <a:pt x="986009" y="965283"/>
                  </a:cubicBezTo>
                  <a:cubicBezTo>
                    <a:pt x="983837" y="961777"/>
                    <a:pt x="988952" y="959939"/>
                    <a:pt x="991762" y="960644"/>
                  </a:cubicBezTo>
                  <a:cubicBezTo>
                    <a:pt x="998239" y="962520"/>
                    <a:pt x="1008564" y="960234"/>
                    <a:pt x="1007116" y="972588"/>
                  </a:cubicBezTo>
                  <a:close/>
                  <a:moveTo>
                    <a:pt x="981151" y="931645"/>
                  </a:moveTo>
                  <a:cubicBezTo>
                    <a:pt x="988952" y="937124"/>
                    <a:pt x="986752" y="940798"/>
                    <a:pt x="980303" y="943356"/>
                  </a:cubicBezTo>
                  <a:cubicBezTo>
                    <a:pt x="973474" y="946431"/>
                    <a:pt x="965625" y="947753"/>
                    <a:pt x="959501" y="949464"/>
                  </a:cubicBezTo>
                  <a:cubicBezTo>
                    <a:pt x="945750" y="949289"/>
                    <a:pt x="935748" y="942180"/>
                    <a:pt x="925003" y="937536"/>
                  </a:cubicBezTo>
                  <a:cubicBezTo>
                    <a:pt x="919584" y="934957"/>
                    <a:pt x="920741" y="931233"/>
                    <a:pt x="925861" y="928673"/>
                  </a:cubicBezTo>
                  <a:cubicBezTo>
                    <a:pt x="943614" y="918871"/>
                    <a:pt x="965625" y="920697"/>
                    <a:pt x="981151" y="931645"/>
                  </a:cubicBezTo>
                  <a:close/>
                  <a:moveTo>
                    <a:pt x="926984" y="905602"/>
                  </a:moveTo>
                  <a:cubicBezTo>
                    <a:pt x="926005" y="906530"/>
                    <a:pt x="924157" y="906592"/>
                    <a:pt x="922713" y="907283"/>
                  </a:cubicBezTo>
                  <a:cubicBezTo>
                    <a:pt x="915705" y="909945"/>
                    <a:pt x="909697" y="916528"/>
                    <a:pt x="901160" y="913092"/>
                  </a:cubicBezTo>
                  <a:cubicBezTo>
                    <a:pt x="898179" y="911917"/>
                    <a:pt x="898322" y="908810"/>
                    <a:pt x="900108" y="906592"/>
                  </a:cubicBezTo>
                  <a:cubicBezTo>
                    <a:pt x="906136" y="898967"/>
                    <a:pt x="908860" y="886656"/>
                    <a:pt x="925323" y="890175"/>
                  </a:cubicBezTo>
                  <a:cubicBezTo>
                    <a:pt x="927418" y="891052"/>
                    <a:pt x="934758" y="886935"/>
                    <a:pt x="936007" y="894024"/>
                  </a:cubicBezTo>
                  <a:cubicBezTo>
                    <a:pt x="936988" y="899370"/>
                    <a:pt x="930814" y="902248"/>
                    <a:pt x="926984" y="905602"/>
                  </a:cubicBezTo>
                  <a:close/>
                  <a:moveTo>
                    <a:pt x="849348" y="898089"/>
                  </a:moveTo>
                  <a:cubicBezTo>
                    <a:pt x="856790" y="897760"/>
                    <a:pt x="864448" y="895684"/>
                    <a:pt x="866388" y="907707"/>
                  </a:cubicBezTo>
                  <a:cubicBezTo>
                    <a:pt x="868350" y="919635"/>
                    <a:pt x="861331" y="920223"/>
                    <a:pt x="853528" y="921317"/>
                  </a:cubicBezTo>
                  <a:cubicBezTo>
                    <a:pt x="846427" y="922275"/>
                    <a:pt x="839335" y="922275"/>
                    <a:pt x="831574" y="917859"/>
                  </a:cubicBezTo>
                  <a:cubicBezTo>
                    <a:pt x="836797" y="909708"/>
                    <a:pt x="837428" y="898678"/>
                    <a:pt x="849348" y="898089"/>
                  </a:cubicBezTo>
                  <a:close/>
                  <a:moveTo>
                    <a:pt x="840141" y="942191"/>
                  </a:moveTo>
                  <a:cubicBezTo>
                    <a:pt x="839635" y="955624"/>
                    <a:pt x="833433" y="964549"/>
                    <a:pt x="820066" y="971055"/>
                  </a:cubicBezTo>
                  <a:cubicBezTo>
                    <a:pt x="818290" y="949692"/>
                    <a:pt x="818290" y="949692"/>
                    <a:pt x="840141" y="942191"/>
                  </a:cubicBezTo>
                  <a:close/>
                  <a:moveTo>
                    <a:pt x="883223" y="963606"/>
                  </a:moveTo>
                  <a:cubicBezTo>
                    <a:pt x="903939" y="950372"/>
                    <a:pt x="924157" y="957748"/>
                    <a:pt x="945347" y="968864"/>
                  </a:cubicBezTo>
                  <a:cubicBezTo>
                    <a:pt x="903122" y="986285"/>
                    <a:pt x="861972" y="1003040"/>
                    <a:pt x="817124" y="1021471"/>
                  </a:cubicBezTo>
                  <a:cubicBezTo>
                    <a:pt x="836930" y="995620"/>
                    <a:pt x="859474" y="978827"/>
                    <a:pt x="883223" y="963606"/>
                  </a:cubicBezTo>
                  <a:close/>
                  <a:moveTo>
                    <a:pt x="1042378" y="957367"/>
                  </a:moveTo>
                  <a:cubicBezTo>
                    <a:pt x="1032491" y="957329"/>
                    <a:pt x="1023423" y="954548"/>
                    <a:pt x="1020347" y="944481"/>
                  </a:cubicBezTo>
                  <a:cubicBezTo>
                    <a:pt x="1018708" y="938600"/>
                    <a:pt x="1036311" y="929003"/>
                    <a:pt x="1046102" y="929602"/>
                  </a:cubicBezTo>
                  <a:cubicBezTo>
                    <a:pt x="1046550" y="929664"/>
                    <a:pt x="1047112" y="929602"/>
                    <a:pt x="1047664" y="929859"/>
                  </a:cubicBezTo>
                  <a:cubicBezTo>
                    <a:pt x="1056056" y="934616"/>
                    <a:pt x="1069438" y="931202"/>
                    <a:pt x="1073582" y="943273"/>
                  </a:cubicBezTo>
                  <a:cubicBezTo>
                    <a:pt x="1074811" y="947175"/>
                    <a:pt x="1051436" y="957605"/>
                    <a:pt x="1042378" y="957367"/>
                  </a:cubicBezTo>
                  <a:close/>
                  <a:moveTo>
                    <a:pt x="1083459" y="868548"/>
                  </a:moveTo>
                  <a:cubicBezTo>
                    <a:pt x="1079630" y="871478"/>
                    <a:pt x="1074506" y="872912"/>
                    <a:pt x="1070029" y="875018"/>
                  </a:cubicBezTo>
                  <a:cubicBezTo>
                    <a:pt x="1055437" y="884109"/>
                    <a:pt x="1038406" y="885481"/>
                    <a:pt x="1022147" y="889381"/>
                  </a:cubicBezTo>
                  <a:cubicBezTo>
                    <a:pt x="1018746" y="890248"/>
                    <a:pt x="1013593" y="891135"/>
                    <a:pt x="1013355" y="884263"/>
                  </a:cubicBezTo>
                  <a:cubicBezTo>
                    <a:pt x="1013355" y="874471"/>
                    <a:pt x="1003535" y="864183"/>
                    <a:pt x="1017108" y="855484"/>
                  </a:cubicBezTo>
                  <a:cubicBezTo>
                    <a:pt x="1035539" y="843938"/>
                    <a:pt x="1055789" y="846322"/>
                    <a:pt x="1076030" y="846870"/>
                  </a:cubicBezTo>
                  <a:cubicBezTo>
                    <a:pt x="1083269" y="844786"/>
                    <a:pt x="1088889" y="848540"/>
                    <a:pt x="1090803" y="854453"/>
                  </a:cubicBezTo>
                  <a:cubicBezTo>
                    <a:pt x="1092527" y="859828"/>
                    <a:pt x="1087898" y="865122"/>
                    <a:pt x="1083459" y="868548"/>
                  </a:cubicBezTo>
                  <a:close/>
                  <a:moveTo>
                    <a:pt x="1443333" y="630204"/>
                  </a:moveTo>
                  <a:cubicBezTo>
                    <a:pt x="1436570" y="649747"/>
                    <a:pt x="1416891" y="651944"/>
                    <a:pt x="1402128" y="660683"/>
                  </a:cubicBezTo>
                  <a:cubicBezTo>
                    <a:pt x="1399280" y="662211"/>
                    <a:pt x="1395394" y="662603"/>
                    <a:pt x="1392184" y="663377"/>
                  </a:cubicBezTo>
                  <a:cubicBezTo>
                    <a:pt x="1390307" y="663965"/>
                    <a:pt x="1388431" y="664356"/>
                    <a:pt x="1386535" y="664780"/>
                  </a:cubicBezTo>
                  <a:cubicBezTo>
                    <a:pt x="1385183" y="667173"/>
                    <a:pt x="1382868" y="667277"/>
                    <a:pt x="1380411" y="666689"/>
                  </a:cubicBezTo>
                  <a:cubicBezTo>
                    <a:pt x="1373677" y="665337"/>
                    <a:pt x="1369762" y="671001"/>
                    <a:pt x="1364523" y="673056"/>
                  </a:cubicBezTo>
                  <a:cubicBezTo>
                    <a:pt x="1342911" y="676202"/>
                    <a:pt x="1346254" y="694475"/>
                    <a:pt x="1342968" y="708108"/>
                  </a:cubicBezTo>
                  <a:cubicBezTo>
                    <a:pt x="1341110" y="715877"/>
                    <a:pt x="1341492" y="723750"/>
                    <a:pt x="1330214" y="722243"/>
                  </a:cubicBezTo>
                  <a:cubicBezTo>
                    <a:pt x="1313345" y="727123"/>
                    <a:pt x="1298600" y="736679"/>
                    <a:pt x="1283656" y="744778"/>
                  </a:cubicBezTo>
                  <a:cubicBezTo>
                    <a:pt x="1265720" y="754375"/>
                    <a:pt x="1251309" y="745551"/>
                    <a:pt x="1235735" y="740889"/>
                  </a:cubicBezTo>
                  <a:cubicBezTo>
                    <a:pt x="1231002" y="741106"/>
                    <a:pt x="1226372" y="741239"/>
                    <a:pt x="1221772" y="741239"/>
                  </a:cubicBezTo>
                  <a:cubicBezTo>
                    <a:pt x="1194702" y="741436"/>
                    <a:pt x="1194435" y="741322"/>
                    <a:pt x="1186053" y="767717"/>
                  </a:cubicBezTo>
                  <a:cubicBezTo>
                    <a:pt x="1182224" y="780316"/>
                    <a:pt x="1174642" y="787104"/>
                    <a:pt x="1161269" y="787848"/>
                  </a:cubicBezTo>
                  <a:cubicBezTo>
                    <a:pt x="1149191" y="793843"/>
                    <a:pt x="1136171" y="789375"/>
                    <a:pt x="1123740" y="790655"/>
                  </a:cubicBezTo>
                  <a:cubicBezTo>
                    <a:pt x="1104757" y="796143"/>
                    <a:pt x="1085574" y="795814"/>
                    <a:pt x="1066505" y="791015"/>
                  </a:cubicBezTo>
                  <a:lnTo>
                    <a:pt x="1066505" y="791077"/>
                  </a:lnTo>
                  <a:cubicBezTo>
                    <a:pt x="1064466" y="790923"/>
                    <a:pt x="1062466" y="790561"/>
                    <a:pt x="1060266" y="790262"/>
                  </a:cubicBezTo>
                  <a:cubicBezTo>
                    <a:pt x="1055484" y="790458"/>
                    <a:pt x="1050874" y="791335"/>
                    <a:pt x="1046255" y="790655"/>
                  </a:cubicBezTo>
                  <a:cubicBezTo>
                    <a:pt x="1040930" y="790119"/>
                    <a:pt x="1032710" y="794214"/>
                    <a:pt x="1030567" y="788363"/>
                  </a:cubicBezTo>
                  <a:cubicBezTo>
                    <a:pt x="1028452" y="782193"/>
                    <a:pt x="1036539" y="778170"/>
                    <a:pt x="1041178" y="775084"/>
                  </a:cubicBezTo>
                  <a:cubicBezTo>
                    <a:pt x="1049188" y="769719"/>
                    <a:pt x="1058342" y="766562"/>
                    <a:pt x="1068524" y="766055"/>
                  </a:cubicBezTo>
                  <a:cubicBezTo>
                    <a:pt x="1096728" y="764723"/>
                    <a:pt x="1124379" y="768593"/>
                    <a:pt x="1151792" y="774166"/>
                  </a:cubicBezTo>
                  <a:cubicBezTo>
                    <a:pt x="1154944" y="774816"/>
                    <a:pt x="1158373" y="776477"/>
                    <a:pt x="1160040" y="773536"/>
                  </a:cubicBezTo>
                  <a:cubicBezTo>
                    <a:pt x="1161602" y="771121"/>
                    <a:pt x="1159421" y="767996"/>
                    <a:pt x="1158535" y="764940"/>
                  </a:cubicBezTo>
                  <a:cubicBezTo>
                    <a:pt x="1155097" y="754025"/>
                    <a:pt x="1144562" y="751920"/>
                    <a:pt x="1136152" y="748071"/>
                  </a:cubicBezTo>
                  <a:cubicBezTo>
                    <a:pt x="1131665" y="746108"/>
                    <a:pt x="1126931" y="744840"/>
                    <a:pt x="1122369" y="741436"/>
                  </a:cubicBezTo>
                  <a:cubicBezTo>
                    <a:pt x="1160459" y="715928"/>
                    <a:pt x="1201826" y="714154"/>
                    <a:pt x="1244537" y="717713"/>
                  </a:cubicBezTo>
                  <a:cubicBezTo>
                    <a:pt x="1246394" y="717795"/>
                    <a:pt x="1248508" y="719654"/>
                    <a:pt x="1250366" y="719438"/>
                  </a:cubicBezTo>
                  <a:cubicBezTo>
                    <a:pt x="1255890" y="718364"/>
                    <a:pt x="1263901" y="723750"/>
                    <a:pt x="1266711" y="716072"/>
                  </a:cubicBezTo>
                  <a:cubicBezTo>
                    <a:pt x="1269511" y="708603"/>
                    <a:pt x="1263749" y="704258"/>
                    <a:pt x="1257319" y="700906"/>
                  </a:cubicBezTo>
                  <a:cubicBezTo>
                    <a:pt x="1253414" y="698923"/>
                    <a:pt x="1250128" y="695756"/>
                    <a:pt x="1246089" y="692877"/>
                  </a:cubicBezTo>
                  <a:cubicBezTo>
                    <a:pt x="1264787" y="686242"/>
                    <a:pt x="1279379" y="672395"/>
                    <a:pt x="1298343" y="667102"/>
                  </a:cubicBezTo>
                  <a:cubicBezTo>
                    <a:pt x="1300277" y="663273"/>
                    <a:pt x="1304687" y="663645"/>
                    <a:pt x="1307754" y="661747"/>
                  </a:cubicBezTo>
                  <a:cubicBezTo>
                    <a:pt x="1308630" y="660993"/>
                    <a:pt x="1309488" y="660931"/>
                    <a:pt x="1310459" y="660993"/>
                  </a:cubicBezTo>
                  <a:cubicBezTo>
                    <a:pt x="1316174" y="652863"/>
                    <a:pt x="1331405" y="656329"/>
                    <a:pt x="1332948" y="643173"/>
                  </a:cubicBezTo>
                  <a:cubicBezTo>
                    <a:pt x="1318060" y="640985"/>
                    <a:pt x="1303753" y="643298"/>
                    <a:pt x="1289857" y="648797"/>
                  </a:cubicBezTo>
                  <a:cubicBezTo>
                    <a:pt x="1283675" y="651831"/>
                    <a:pt x="1277893" y="655463"/>
                    <a:pt x="1271635" y="657536"/>
                  </a:cubicBezTo>
                  <a:cubicBezTo>
                    <a:pt x="1267311" y="658858"/>
                    <a:pt x="1260843" y="660261"/>
                    <a:pt x="1260958" y="651943"/>
                  </a:cubicBezTo>
                  <a:cubicBezTo>
                    <a:pt x="1257633" y="650737"/>
                    <a:pt x="1258872" y="649456"/>
                    <a:pt x="1261215" y="648353"/>
                  </a:cubicBezTo>
                  <a:cubicBezTo>
                    <a:pt x="1260958" y="647508"/>
                    <a:pt x="1261005" y="646609"/>
                    <a:pt x="1261396" y="645815"/>
                  </a:cubicBezTo>
                  <a:lnTo>
                    <a:pt x="1261396" y="642740"/>
                  </a:lnTo>
                  <a:cubicBezTo>
                    <a:pt x="1261215" y="641812"/>
                    <a:pt x="1260958" y="640821"/>
                    <a:pt x="1260843" y="639912"/>
                  </a:cubicBezTo>
                  <a:cubicBezTo>
                    <a:pt x="1248947" y="632205"/>
                    <a:pt x="1242832" y="638995"/>
                    <a:pt x="1237993" y="648797"/>
                  </a:cubicBezTo>
                  <a:cubicBezTo>
                    <a:pt x="1237888" y="649456"/>
                    <a:pt x="1237650" y="649747"/>
                    <a:pt x="1237002" y="649838"/>
                  </a:cubicBezTo>
                  <a:cubicBezTo>
                    <a:pt x="1235497" y="657041"/>
                    <a:pt x="1237259" y="665357"/>
                    <a:pt x="1229659" y="670743"/>
                  </a:cubicBezTo>
                  <a:cubicBezTo>
                    <a:pt x="1214361" y="685541"/>
                    <a:pt x="1193111" y="687842"/>
                    <a:pt x="1174604" y="695715"/>
                  </a:cubicBezTo>
                  <a:cubicBezTo>
                    <a:pt x="1126274" y="715660"/>
                    <a:pt x="1079421" y="738195"/>
                    <a:pt x="1032691" y="761174"/>
                  </a:cubicBezTo>
                  <a:cubicBezTo>
                    <a:pt x="1026976" y="763836"/>
                    <a:pt x="1021832" y="768222"/>
                    <a:pt x="1013260" y="768593"/>
                  </a:cubicBezTo>
                  <a:cubicBezTo>
                    <a:pt x="1022623" y="738031"/>
                    <a:pt x="1044197" y="722275"/>
                    <a:pt x="1072239" y="713606"/>
                  </a:cubicBezTo>
                  <a:cubicBezTo>
                    <a:pt x="1098995" y="705301"/>
                    <a:pt x="1126931" y="701638"/>
                    <a:pt x="1153620" y="692515"/>
                  </a:cubicBezTo>
                  <a:cubicBezTo>
                    <a:pt x="1182891" y="682496"/>
                    <a:pt x="1205589" y="665079"/>
                    <a:pt x="1220019" y="638808"/>
                  </a:cubicBezTo>
                  <a:cubicBezTo>
                    <a:pt x="1238174" y="605419"/>
                    <a:pt x="1246089" y="611577"/>
                    <a:pt x="1271635" y="616067"/>
                  </a:cubicBezTo>
                  <a:cubicBezTo>
                    <a:pt x="1295581" y="620236"/>
                    <a:pt x="1316164" y="616850"/>
                    <a:pt x="1335443" y="602024"/>
                  </a:cubicBezTo>
                  <a:cubicBezTo>
                    <a:pt x="1351340" y="589806"/>
                    <a:pt x="1368590" y="580498"/>
                    <a:pt x="1388183" y="574484"/>
                  </a:cubicBezTo>
                  <a:cubicBezTo>
                    <a:pt x="1402575" y="570047"/>
                    <a:pt x="1414215" y="573245"/>
                    <a:pt x="1424407" y="583615"/>
                  </a:cubicBezTo>
                  <a:cubicBezTo>
                    <a:pt x="1427436" y="584625"/>
                    <a:pt x="1429588" y="586730"/>
                    <a:pt x="1430474" y="589982"/>
                  </a:cubicBezTo>
                  <a:cubicBezTo>
                    <a:pt x="1454163" y="609215"/>
                    <a:pt x="1455220" y="612321"/>
                    <a:pt x="1443190" y="630204"/>
                  </a:cubicBezTo>
                  <a:lnTo>
                    <a:pt x="1443333" y="630204"/>
                  </a:lnTo>
                  <a:close/>
                  <a:moveTo>
                    <a:pt x="1895713" y="364525"/>
                  </a:moveTo>
                  <a:cubicBezTo>
                    <a:pt x="1916868" y="364525"/>
                    <a:pt x="1937861" y="364443"/>
                    <a:pt x="1959207" y="369208"/>
                  </a:cubicBezTo>
                  <a:cubicBezTo>
                    <a:pt x="1975390" y="372676"/>
                    <a:pt x="1973856" y="378278"/>
                    <a:pt x="1968217" y="388081"/>
                  </a:cubicBezTo>
                  <a:cubicBezTo>
                    <a:pt x="1958359" y="405046"/>
                    <a:pt x="1946224" y="420284"/>
                    <a:pt x="1931946" y="433668"/>
                  </a:cubicBezTo>
                  <a:cubicBezTo>
                    <a:pt x="1900685" y="463209"/>
                    <a:pt x="1870929" y="494360"/>
                    <a:pt x="1836992" y="521250"/>
                  </a:cubicBezTo>
                  <a:cubicBezTo>
                    <a:pt x="1805797" y="545664"/>
                    <a:pt x="1775517" y="571294"/>
                    <a:pt x="1744123" y="595430"/>
                  </a:cubicBezTo>
                  <a:cubicBezTo>
                    <a:pt x="1711347" y="620627"/>
                    <a:pt x="1678391" y="645308"/>
                    <a:pt x="1645129" y="669630"/>
                  </a:cubicBezTo>
                  <a:cubicBezTo>
                    <a:pt x="1611116" y="694238"/>
                    <a:pt x="1575321" y="715309"/>
                    <a:pt x="1539354" y="737050"/>
                  </a:cubicBezTo>
                  <a:cubicBezTo>
                    <a:pt x="1502445" y="759544"/>
                    <a:pt x="1463897" y="779005"/>
                    <a:pt x="1426169" y="799734"/>
                  </a:cubicBezTo>
                  <a:cubicBezTo>
                    <a:pt x="1367104" y="832031"/>
                    <a:pt x="1305878" y="860313"/>
                    <a:pt x="1244251" y="887492"/>
                  </a:cubicBezTo>
                  <a:cubicBezTo>
                    <a:pt x="1215361" y="900235"/>
                    <a:pt x="1184634" y="909854"/>
                    <a:pt x="1152849" y="915941"/>
                  </a:cubicBezTo>
                  <a:cubicBezTo>
                    <a:pt x="1140200" y="918355"/>
                    <a:pt x="1127855" y="921327"/>
                    <a:pt x="1114892" y="922214"/>
                  </a:cubicBezTo>
                  <a:cubicBezTo>
                    <a:pt x="1110720" y="921730"/>
                    <a:pt x="1106557" y="921089"/>
                    <a:pt x="1102405" y="920914"/>
                  </a:cubicBezTo>
                  <a:cubicBezTo>
                    <a:pt x="1096118" y="920697"/>
                    <a:pt x="1090203" y="917035"/>
                    <a:pt x="1088850" y="912267"/>
                  </a:cubicBezTo>
                  <a:cubicBezTo>
                    <a:pt x="1087050" y="906024"/>
                    <a:pt x="1093642" y="903186"/>
                    <a:pt x="1099023" y="900835"/>
                  </a:cubicBezTo>
                  <a:cubicBezTo>
                    <a:pt x="1110720" y="895160"/>
                    <a:pt x="1117549" y="886451"/>
                    <a:pt x="1116282" y="872912"/>
                  </a:cubicBezTo>
                  <a:cubicBezTo>
                    <a:pt x="1116235" y="871859"/>
                    <a:pt x="1116159" y="870828"/>
                    <a:pt x="1116159" y="869849"/>
                  </a:cubicBezTo>
                  <a:cubicBezTo>
                    <a:pt x="1116663" y="830473"/>
                    <a:pt x="1123131" y="825798"/>
                    <a:pt x="1161564" y="814800"/>
                  </a:cubicBezTo>
                  <a:cubicBezTo>
                    <a:pt x="1195397" y="805122"/>
                    <a:pt x="1228277" y="790923"/>
                    <a:pt x="1260624" y="776693"/>
                  </a:cubicBezTo>
                  <a:cubicBezTo>
                    <a:pt x="1303944" y="757616"/>
                    <a:pt x="1347407" y="738506"/>
                    <a:pt x="1390155" y="717599"/>
                  </a:cubicBezTo>
                  <a:cubicBezTo>
                    <a:pt x="1434151" y="695900"/>
                    <a:pt x="1477004" y="672189"/>
                    <a:pt x="1518637" y="646609"/>
                  </a:cubicBezTo>
                  <a:cubicBezTo>
                    <a:pt x="1550832" y="626839"/>
                    <a:pt x="1583665" y="607326"/>
                    <a:pt x="1613640" y="584471"/>
                  </a:cubicBezTo>
                  <a:cubicBezTo>
                    <a:pt x="1658102" y="550648"/>
                    <a:pt x="1703842" y="517970"/>
                    <a:pt x="1742456" y="477593"/>
                  </a:cubicBezTo>
                  <a:cubicBezTo>
                    <a:pt x="1766459" y="452303"/>
                    <a:pt x="1793119" y="429345"/>
                    <a:pt x="1814655" y="401536"/>
                  </a:cubicBezTo>
                  <a:cubicBezTo>
                    <a:pt x="1834506" y="375988"/>
                    <a:pt x="1862852" y="364443"/>
                    <a:pt x="1895713" y="364525"/>
                  </a:cubicBezTo>
                  <a:close/>
                  <a:moveTo>
                    <a:pt x="1807588" y="352843"/>
                  </a:moveTo>
                  <a:cubicBezTo>
                    <a:pt x="1820151" y="357219"/>
                    <a:pt x="1815036" y="369208"/>
                    <a:pt x="1808426" y="377071"/>
                  </a:cubicBezTo>
                  <a:cubicBezTo>
                    <a:pt x="1795939" y="391848"/>
                    <a:pt x="1782899" y="406396"/>
                    <a:pt x="1769631" y="420409"/>
                  </a:cubicBezTo>
                  <a:cubicBezTo>
                    <a:pt x="1739732" y="451539"/>
                    <a:pt x="1708356" y="480905"/>
                    <a:pt x="1675019" y="508601"/>
                  </a:cubicBezTo>
                  <a:cubicBezTo>
                    <a:pt x="1636481" y="540464"/>
                    <a:pt x="1599086" y="573586"/>
                    <a:pt x="1556880" y="600692"/>
                  </a:cubicBezTo>
                  <a:cubicBezTo>
                    <a:pt x="1531125" y="617078"/>
                    <a:pt x="1506055" y="634485"/>
                    <a:pt x="1478156" y="647031"/>
                  </a:cubicBezTo>
                  <a:cubicBezTo>
                    <a:pt x="1473413" y="649210"/>
                    <a:pt x="1467850" y="651943"/>
                    <a:pt x="1463583" y="647745"/>
                  </a:cubicBezTo>
                  <a:cubicBezTo>
                    <a:pt x="1459935" y="644101"/>
                    <a:pt x="1463583" y="639912"/>
                    <a:pt x="1465764" y="636703"/>
                  </a:cubicBezTo>
                  <a:cubicBezTo>
                    <a:pt x="1480080" y="617481"/>
                    <a:pt x="1473413" y="597411"/>
                    <a:pt x="1453582" y="580572"/>
                  </a:cubicBezTo>
                  <a:cubicBezTo>
                    <a:pt x="1445952" y="574174"/>
                    <a:pt x="1436732" y="568911"/>
                    <a:pt x="1432922" y="558676"/>
                  </a:cubicBezTo>
                  <a:cubicBezTo>
                    <a:pt x="1426978" y="543435"/>
                    <a:pt x="1429912" y="537347"/>
                    <a:pt x="1446543" y="533490"/>
                  </a:cubicBezTo>
                  <a:cubicBezTo>
                    <a:pt x="1454563" y="531580"/>
                    <a:pt x="1462869" y="530506"/>
                    <a:pt x="1471232" y="529579"/>
                  </a:cubicBezTo>
                  <a:cubicBezTo>
                    <a:pt x="1505874" y="525492"/>
                    <a:pt x="1528153" y="501511"/>
                    <a:pt x="1551556" y="480070"/>
                  </a:cubicBezTo>
                  <a:cubicBezTo>
                    <a:pt x="1574559" y="458814"/>
                    <a:pt x="1599067" y="439271"/>
                    <a:pt x="1623584" y="419842"/>
                  </a:cubicBezTo>
                  <a:cubicBezTo>
                    <a:pt x="1648511" y="400082"/>
                    <a:pt x="1671542" y="378485"/>
                    <a:pt x="1692326" y="354350"/>
                  </a:cubicBezTo>
                  <a:cubicBezTo>
                    <a:pt x="1715967" y="326718"/>
                    <a:pt x="1740018" y="299404"/>
                    <a:pt x="1764582" y="272360"/>
                  </a:cubicBezTo>
                  <a:cubicBezTo>
                    <a:pt x="1768164" y="268439"/>
                    <a:pt x="1769164" y="263115"/>
                    <a:pt x="1773527" y="260289"/>
                  </a:cubicBezTo>
                  <a:cubicBezTo>
                    <a:pt x="1777260" y="257810"/>
                    <a:pt x="1780566" y="252559"/>
                    <a:pt x="1785680" y="254634"/>
                  </a:cubicBezTo>
                  <a:cubicBezTo>
                    <a:pt x="1790081" y="256428"/>
                    <a:pt x="1791557" y="261659"/>
                    <a:pt x="1791557" y="266303"/>
                  </a:cubicBezTo>
                  <a:cubicBezTo>
                    <a:pt x="1791891" y="277098"/>
                    <a:pt x="1791595" y="287890"/>
                    <a:pt x="1791595" y="298704"/>
                  </a:cubicBezTo>
                  <a:cubicBezTo>
                    <a:pt x="1791595" y="308970"/>
                    <a:pt x="1790681" y="319391"/>
                    <a:pt x="1791929" y="329452"/>
                  </a:cubicBezTo>
                  <a:cubicBezTo>
                    <a:pt x="1793358" y="339018"/>
                    <a:pt x="1794034" y="348284"/>
                    <a:pt x="1807588" y="352843"/>
                  </a:cubicBezTo>
                  <a:close/>
                  <a:moveTo>
                    <a:pt x="1595028" y="247441"/>
                  </a:moveTo>
                  <a:cubicBezTo>
                    <a:pt x="1615859" y="226537"/>
                    <a:pt x="1636186" y="205156"/>
                    <a:pt x="1658245" y="185438"/>
                  </a:cubicBezTo>
                  <a:cubicBezTo>
                    <a:pt x="1695164" y="152522"/>
                    <a:pt x="1720520" y="111021"/>
                    <a:pt x="1749704" y="72358"/>
                  </a:cubicBezTo>
                  <a:cubicBezTo>
                    <a:pt x="1759772" y="59233"/>
                    <a:pt x="1768831" y="45479"/>
                    <a:pt x="1782309" y="31838"/>
                  </a:cubicBezTo>
                  <a:cubicBezTo>
                    <a:pt x="1791576" y="68747"/>
                    <a:pt x="1789776" y="103262"/>
                    <a:pt x="1794091" y="137199"/>
                  </a:cubicBezTo>
                  <a:cubicBezTo>
                    <a:pt x="1799920" y="182187"/>
                    <a:pt x="1783594" y="219612"/>
                    <a:pt x="1757058" y="254634"/>
                  </a:cubicBezTo>
                  <a:cubicBezTo>
                    <a:pt x="1716176" y="308423"/>
                    <a:pt x="1671123" y="358157"/>
                    <a:pt x="1614916" y="396614"/>
                  </a:cubicBezTo>
                  <a:cubicBezTo>
                    <a:pt x="1600648" y="406478"/>
                    <a:pt x="1584617" y="417974"/>
                    <a:pt x="1563348" y="413310"/>
                  </a:cubicBezTo>
                  <a:cubicBezTo>
                    <a:pt x="1567644" y="405158"/>
                    <a:pt x="1574606" y="399905"/>
                    <a:pt x="1582788" y="395923"/>
                  </a:cubicBezTo>
                  <a:cubicBezTo>
                    <a:pt x="1599400" y="387514"/>
                    <a:pt x="1616240" y="379579"/>
                    <a:pt x="1632785" y="371025"/>
                  </a:cubicBezTo>
                  <a:cubicBezTo>
                    <a:pt x="1651883" y="360964"/>
                    <a:pt x="1657760" y="347201"/>
                    <a:pt x="1653102" y="326718"/>
                  </a:cubicBezTo>
                  <a:cubicBezTo>
                    <a:pt x="1644939" y="291707"/>
                    <a:pt x="1641882" y="289313"/>
                    <a:pt x="1608068" y="284299"/>
                  </a:cubicBezTo>
                  <a:cubicBezTo>
                    <a:pt x="1596723" y="282503"/>
                    <a:pt x="1580817" y="281306"/>
                    <a:pt x="1577045" y="271286"/>
                  </a:cubicBezTo>
                  <a:cubicBezTo>
                    <a:pt x="1573940" y="262940"/>
                    <a:pt x="1587475" y="254695"/>
                    <a:pt x="1595028" y="247441"/>
                  </a:cubicBezTo>
                  <a:close/>
                  <a:moveTo>
                    <a:pt x="916322" y="722243"/>
                  </a:moveTo>
                  <a:cubicBezTo>
                    <a:pt x="916322" y="718601"/>
                    <a:pt x="918295" y="713039"/>
                    <a:pt x="921184" y="711749"/>
                  </a:cubicBezTo>
                  <a:cubicBezTo>
                    <a:pt x="939907" y="702886"/>
                    <a:pt x="934829" y="686934"/>
                    <a:pt x="933663" y="672549"/>
                  </a:cubicBezTo>
                  <a:cubicBezTo>
                    <a:pt x="932724" y="660466"/>
                    <a:pt x="929927" y="648529"/>
                    <a:pt x="928111" y="636621"/>
                  </a:cubicBezTo>
                  <a:cubicBezTo>
                    <a:pt x="924570" y="633102"/>
                    <a:pt x="924457" y="628304"/>
                    <a:pt x="923600" y="623806"/>
                  </a:cubicBezTo>
                  <a:cubicBezTo>
                    <a:pt x="922897" y="623362"/>
                    <a:pt x="922712" y="622774"/>
                    <a:pt x="923176" y="622113"/>
                  </a:cubicBezTo>
                  <a:cubicBezTo>
                    <a:pt x="922557" y="613538"/>
                    <a:pt x="919584" y="604840"/>
                    <a:pt x="925335" y="596750"/>
                  </a:cubicBezTo>
                  <a:cubicBezTo>
                    <a:pt x="925593" y="594502"/>
                    <a:pt x="925872" y="592222"/>
                    <a:pt x="926242" y="590084"/>
                  </a:cubicBezTo>
                  <a:cubicBezTo>
                    <a:pt x="926809" y="589156"/>
                    <a:pt x="927429" y="588444"/>
                    <a:pt x="928111" y="587661"/>
                  </a:cubicBezTo>
                  <a:cubicBezTo>
                    <a:pt x="928337" y="584471"/>
                    <a:pt x="928637" y="581231"/>
                    <a:pt x="928894" y="577838"/>
                  </a:cubicBezTo>
                  <a:cubicBezTo>
                    <a:pt x="928894" y="570222"/>
                    <a:pt x="930825" y="563030"/>
                    <a:pt x="934283" y="556230"/>
                  </a:cubicBezTo>
                  <a:cubicBezTo>
                    <a:pt x="933613" y="546675"/>
                    <a:pt x="936801" y="537626"/>
                    <a:pt x="938350" y="528463"/>
                  </a:cubicBezTo>
                  <a:cubicBezTo>
                    <a:pt x="933901" y="513078"/>
                    <a:pt x="944056" y="509499"/>
                    <a:pt x="956062" y="507074"/>
                  </a:cubicBezTo>
                  <a:cubicBezTo>
                    <a:pt x="966083" y="505164"/>
                    <a:pt x="977360" y="507074"/>
                    <a:pt x="984685" y="497735"/>
                  </a:cubicBezTo>
                  <a:cubicBezTo>
                    <a:pt x="991210" y="489275"/>
                    <a:pt x="986190" y="479224"/>
                    <a:pt x="988571" y="470236"/>
                  </a:cubicBezTo>
                  <a:cubicBezTo>
                    <a:pt x="975265" y="433906"/>
                    <a:pt x="978713" y="400350"/>
                    <a:pt x="1006421" y="371190"/>
                  </a:cubicBezTo>
                  <a:cubicBezTo>
                    <a:pt x="1023156" y="352473"/>
                    <a:pt x="1023156" y="352473"/>
                    <a:pt x="1035253" y="371221"/>
                  </a:cubicBezTo>
                  <a:cubicBezTo>
                    <a:pt x="1037606" y="372128"/>
                    <a:pt x="1039025" y="373791"/>
                    <a:pt x="1039320" y="376267"/>
                  </a:cubicBezTo>
                  <a:cubicBezTo>
                    <a:pt x="1046236" y="377536"/>
                    <a:pt x="1052446" y="382034"/>
                    <a:pt x="1059942" y="380508"/>
                  </a:cubicBezTo>
                  <a:cubicBezTo>
                    <a:pt x="1071705" y="370943"/>
                    <a:pt x="1072620" y="355734"/>
                    <a:pt x="1079478" y="343651"/>
                  </a:cubicBezTo>
                  <a:cubicBezTo>
                    <a:pt x="1081878" y="307608"/>
                    <a:pt x="1099985" y="283443"/>
                    <a:pt x="1135171" y="272236"/>
                  </a:cubicBezTo>
                  <a:cubicBezTo>
                    <a:pt x="1152830" y="256357"/>
                    <a:pt x="1169984" y="239733"/>
                    <a:pt x="1194559" y="234193"/>
                  </a:cubicBezTo>
                  <a:cubicBezTo>
                    <a:pt x="1197883" y="233419"/>
                    <a:pt x="1198969" y="235999"/>
                    <a:pt x="1201331" y="236184"/>
                  </a:cubicBezTo>
                  <a:cubicBezTo>
                    <a:pt x="1208494" y="240084"/>
                    <a:pt x="1215304" y="244253"/>
                    <a:pt x="1213428" y="254097"/>
                  </a:cubicBezTo>
                  <a:cubicBezTo>
                    <a:pt x="1213618" y="255180"/>
                    <a:pt x="1213971" y="256274"/>
                    <a:pt x="1214419" y="257326"/>
                  </a:cubicBezTo>
                  <a:cubicBezTo>
                    <a:pt x="1222362" y="281306"/>
                    <a:pt x="1209532" y="299961"/>
                    <a:pt x="1198236" y="319000"/>
                  </a:cubicBezTo>
                  <a:cubicBezTo>
                    <a:pt x="1194464" y="333713"/>
                    <a:pt x="1176195" y="341668"/>
                    <a:pt x="1178757" y="359221"/>
                  </a:cubicBezTo>
                  <a:cubicBezTo>
                    <a:pt x="1179157" y="359995"/>
                    <a:pt x="1179481" y="360810"/>
                    <a:pt x="1179481" y="361677"/>
                  </a:cubicBezTo>
                  <a:cubicBezTo>
                    <a:pt x="1181481" y="362243"/>
                    <a:pt x="1184043" y="362100"/>
                    <a:pt x="1185024" y="363244"/>
                  </a:cubicBezTo>
                  <a:cubicBezTo>
                    <a:pt x="1189339" y="368611"/>
                    <a:pt x="1200588" y="369208"/>
                    <a:pt x="1199340" y="376463"/>
                  </a:cubicBezTo>
                  <a:cubicBezTo>
                    <a:pt x="1198083" y="383046"/>
                    <a:pt x="1190025" y="387463"/>
                    <a:pt x="1182357" y="389402"/>
                  </a:cubicBezTo>
                  <a:cubicBezTo>
                    <a:pt x="1166089" y="400082"/>
                    <a:pt x="1158116" y="418892"/>
                    <a:pt x="1142086" y="429840"/>
                  </a:cubicBezTo>
                  <a:cubicBezTo>
                    <a:pt x="1131294" y="447505"/>
                    <a:pt x="1124979" y="467120"/>
                    <a:pt x="1116682" y="485827"/>
                  </a:cubicBezTo>
                  <a:cubicBezTo>
                    <a:pt x="1115159" y="497456"/>
                    <a:pt x="1112120" y="508622"/>
                    <a:pt x="1106767" y="519166"/>
                  </a:cubicBezTo>
                  <a:cubicBezTo>
                    <a:pt x="1106024" y="527319"/>
                    <a:pt x="1103776" y="534975"/>
                    <a:pt x="1098042" y="541228"/>
                  </a:cubicBezTo>
                  <a:cubicBezTo>
                    <a:pt x="1089165" y="549441"/>
                    <a:pt x="1076154" y="549585"/>
                    <a:pt x="1066829" y="556756"/>
                  </a:cubicBezTo>
                  <a:cubicBezTo>
                    <a:pt x="1060294" y="574174"/>
                    <a:pt x="1058875" y="593479"/>
                    <a:pt x="1047750" y="609215"/>
                  </a:cubicBezTo>
                  <a:cubicBezTo>
                    <a:pt x="1047883" y="610226"/>
                    <a:pt x="1047683" y="611103"/>
                    <a:pt x="1047131" y="612053"/>
                  </a:cubicBezTo>
                  <a:cubicBezTo>
                    <a:pt x="1047874" y="614819"/>
                    <a:pt x="1047741" y="617211"/>
                    <a:pt x="1044531" y="618481"/>
                  </a:cubicBezTo>
                  <a:cubicBezTo>
                    <a:pt x="1033853" y="643606"/>
                    <a:pt x="1022309" y="668329"/>
                    <a:pt x="1003840" y="689327"/>
                  </a:cubicBezTo>
                  <a:cubicBezTo>
                    <a:pt x="997801" y="696343"/>
                    <a:pt x="1000658" y="708603"/>
                    <a:pt x="988914" y="714041"/>
                  </a:cubicBezTo>
                  <a:cubicBezTo>
                    <a:pt x="997801" y="718364"/>
                    <a:pt x="1003840" y="716464"/>
                    <a:pt x="1009831" y="716662"/>
                  </a:cubicBezTo>
                  <a:cubicBezTo>
                    <a:pt x="1031329" y="701731"/>
                    <a:pt x="1041035" y="679101"/>
                    <a:pt x="1050750" y="656679"/>
                  </a:cubicBezTo>
                  <a:cubicBezTo>
                    <a:pt x="1060494" y="634041"/>
                    <a:pt x="1069458" y="611186"/>
                    <a:pt x="1078744" y="588598"/>
                  </a:cubicBezTo>
                  <a:cubicBezTo>
                    <a:pt x="1080859" y="583563"/>
                    <a:pt x="1081764" y="577785"/>
                    <a:pt x="1087917" y="575454"/>
                  </a:cubicBezTo>
                  <a:cubicBezTo>
                    <a:pt x="1089917" y="567653"/>
                    <a:pt x="1097632" y="567457"/>
                    <a:pt x="1102814" y="566610"/>
                  </a:cubicBezTo>
                  <a:cubicBezTo>
                    <a:pt x="1121445" y="562876"/>
                    <a:pt x="1128589" y="550153"/>
                    <a:pt x="1129036" y="534026"/>
                  </a:cubicBezTo>
                  <a:cubicBezTo>
                    <a:pt x="1131294" y="461723"/>
                    <a:pt x="1176395" y="418944"/>
                    <a:pt x="1233926" y="384326"/>
                  </a:cubicBezTo>
                  <a:cubicBezTo>
                    <a:pt x="1235164" y="383532"/>
                    <a:pt x="1236917" y="383696"/>
                    <a:pt x="1238479" y="383428"/>
                  </a:cubicBezTo>
                  <a:cubicBezTo>
                    <a:pt x="1242746" y="376689"/>
                    <a:pt x="1246832" y="374945"/>
                    <a:pt x="1251585" y="383324"/>
                  </a:cubicBezTo>
                  <a:cubicBezTo>
                    <a:pt x="1254871" y="389371"/>
                    <a:pt x="1258910" y="395107"/>
                    <a:pt x="1262558" y="400948"/>
                  </a:cubicBezTo>
                  <a:cubicBezTo>
                    <a:pt x="1273978" y="404032"/>
                    <a:pt x="1282246" y="401536"/>
                    <a:pt x="1287809" y="390073"/>
                  </a:cubicBezTo>
                  <a:cubicBezTo>
                    <a:pt x="1292143" y="380972"/>
                    <a:pt x="1298781" y="373223"/>
                    <a:pt x="1304458" y="364906"/>
                  </a:cubicBezTo>
                  <a:cubicBezTo>
                    <a:pt x="1304696" y="362379"/>
                    <a:pt x="1304458" y="359645"/>
                    <a:pt x="1307649" y="358581"/>
                  </a:cubicBezTo>
                  <a:cubicBezTo>
                    <a:pt x="1313364" y="352473"/>
                    <a:pt x="1317003" y="344280"/>
                    <a:pt x="1326642" y="343020"/>
                  </a:cubicBezTo>
                  <a:cubicBezTo>
                    <a:pt x="1342787" y="327750"/>
                    <a:pt x="1363666" y="320847"/>
                    <a:pt x="1383268" y="311890"/>
                  </a:cubicBezTo>
                  <a:cubicBezTo>
                    <a:pt x="1402356" y="302108"/>
                    <a:pt x="1422006" y="294029"/>
                    <a:pt x="1442276" y="287487"/>
                  </a:cubicBezTo>
                  <a:cubicBezTo>
                    <a:pt x="1448972" y="285392"/>
                    <a:pt x="1450648" y="286764"/>
                    <a:pt x="1452658" y="293131"/>
                  </a:cubicBezTo>
                  <a:cubicBezTo>
                    <a:pt x="1455477" y="302573"/>
                    <a:pt x="1455953" y="313097"/>
                    <a:pt x="1461888" y="321455"/>
                  </a:cubicBezTo>
                  <a:cubicBezTo>
                    <a:pt x="1467136" y="316895"/>
                    <a:pt x="1473984" y="320083"/>
                    <a:pt x="1479518" y="318318"/>
                  </a:cubicBezTo>
                  <a:cubicBezTo>
                    <a:pt x="1490644" y="314583"/>
                    <a:pt x="1500388" y="309156"/>
                    <a:pt x="1506808" y="298053"/>
                  </a:cubicBezTo>
                  <a:cubicBezTo>
                    <a:pt x="1510284" y="292119"/>
                    <a:pt x="1515256" y="285103"/>
                    <a:pt x="1524067" y="284351"/>
                  </a:cubicBezTo>
                  <a:cubicBezTo>
                    <a:pt x="1543355" y="272319"/>
                    <a:pt x="1543355" y="274889"/>
                    <a:pt x="1555737" y="288964"/>
                  </a:cubicBezTo>
                  <a:cubicBezTo>
                    <a:pt x="1562881" y="296846"/>
                    <a:pt x="1574416" y="294978"/>
                    <a:pt x="1580712" y="302789"/>
                  </a:cubicBezTo>
                  <a:cubicBezTo>
                    <a:pt x="1588980" y="302789"/>
                    <a:pt x="1597257" y="302336"/>
                    <a:pt x="1605343" y="303006"/>
                  </a:cubicBezTo>
                  <a:cubicBezTo>
                    <a:pt x="1618679" y="304379"/>
                    <a:pt x="1630699" y="307990"/>
                    <a:pt x="1630937" y="324468"/>
                  </a:cubicBezTo>
                  <a:cubicBezTo>
                    <a:pt x="1636100" y="337470"/>
                    <a:pt x="1629061" y="345848"/>
                    <a:pt x="1619955" y="353546"/>
                  </a:cubicBezTo>
                  <a:cubicBezTo>
                    <a:pt x="1619955" y="353546"/>
                    <a:pt x="1619717" y="353772"/>
                    <a:pt x="1619717" y="353731"/>
                  </a:cubicBezTo>
                  <a:cubicBezTo>
                    <a:pt x="1614411" y="364443"/>
                    <a:pt x="1602524" y="365495"/>
                    <a:pt x="1593352" y="370323"/>
                  </a:cubicBezTo>
                  <a:cubicBezTo>
                    <a:pt x="1592456" y="370716"/>
                    <a:pt x="1591694" y="370943"/>
                    <a:pt x="1590904" y="370716"/>
                  </a:cubicBezTo>
                  <a:cubicBezTo>
                    <a:pt x="1581169" y="378165"/>
                    <a:pt x="1570149" y="382767"/>
                    <a:pt x="1558833" y="386709"/>
                  </a:cubicBezTo>
                  <a:cubicBezTo>
                    <a:pt x="1549737" y="393797"/>
                    <a:pt x="1538402" y="397719"/>
                    <a:pt x="1530363" y="406654"/>
                  </a:cubicBezTo>
                  <a:cubicBezTo>
                    <a:pt x="1526048" y="411752"/>
                    <a:pt x="1525248" y="414703"/>
                    <a:pt x="1531544" y="420089"/>
                  </a:cubicBezTo>
                  <a:cubicBezTo>
                    <a:pt x="1560481" y="444452"/>
                    <a:pt x="1559824" y="448847"/>
                    <a:pt x="1528181" y="469515"/>
                  </a:cubicBezTo>
                  <a:cubicBezTo>
                    <a:pt x="1509112" y="481762"/>
                    <a:pt x="1490243" y="494309"/>
                    <a:pt x="1471479" y="506692"/>
                  </a:cubicBezTo>
                  <a:cubicBezTo>
                    <a:pt x="1456849" y="514368"/>
                    <a:pt x="1442047" y="511427"/>
                    <a:pt x="1427398" y="506857"/>
                  </a:cubicBezTo>
                  <a:cubicBezTo>
                    <a:pt x="1422406" y="506857"/>
                    <a:pt x="1417206" y="506857"/>
                    <a:pt x="1411977" y="506970"/>
                  </a:cubicBezTo>
                  <a:cubicBezTo>
                    <a:pt x="1400575" y="513564"/>
                    <a:pt x="1394060" y="522861"/>
                    <a:pt x="1396117" y="536419"/>
                  </a:cubicBezTo>
                  <a:cubicBezTo>
                    <a:pt x="1397699" y="547325"/>
                    <a:pt x="1392222" y="552836"/>
                    <a:pt x="1382411" y="555870"/>
                  </a:cubicBezTo>
                  <a:cubicBezTo>
                    <a:pt x="1372333" y="558965"/>
                    <a:pt x="1362504" y="562390"/>
                    <a:pt x="1352502" y="565714"/>
                  </a:cubicBezTo>
                  <a:cubicBezTo>
                    <a:pt x="1347292" y="568788"/>
                    <a:pt x="1341901" y="571697"/>
                    <a:pt x="1336700" y="574752"/>
                  </a:cubicBezTo>
                  <a:cubicBezTo>
                    <a:pt x="1335662" y="577981"/>
                    <a:pt x="1332614" y="577640"/>
                    <a:pt x="1330138" y="578497"/>
                  </a:cubicBezTo>
                  <a:cubicBezTo>
                    <a:pt x="1329347" y="579291"/>
                    <a:pt x="1328499" y="580055"/>
                    <a:pt x="1327671" y="580830"/>
                  </a:cubicBezTo>
                  <a:cubicBezTo>
                    <a:pt x="1319708" y="585855"/>
                    <a:pt x="1313402" y="594294"/>
                    <a:pt x="1302306" y="593097"/>
                  </a:cubicBezTo>
                  <a:cubicBezTo>
                    <a:pt x="1292324" y="601094"/>
                    <a:pt x="1281608" y="600692"/>
                    <a:pt x="1270368" y="595657"/>
                  </a:cubicBezTo>
                  <a:cubicBezTo>
                    <a:pt x="1252880" y="598381"/>
                    <a:pt x="1234869" y="593099"/>
                    <a:pt x="1217590" y="598855"/>
                  </a:cubicBezTo>
                  <a:cubicBezTo>
                    <a:pt x="1201122" y="614488"/>
                    <a:pt x="1195940" y="636796"/>
                    <a:pt x="1182976" y="654533"/>
                  </a:cubicBezTo>
                  <a:cubicBezTo>
                    <a:pt x="1173042" y="668050"/>
                    <a:pt x="1160621" y="675161"/>
                    <a:pt x="1143581" y="676791"/>
                  </a:cubicBezTo>
                  <a:cubicBezTo>
                    <a:pt x="1129427" y="678297"/>
                    <a:pt x="1115682" y="682908"/>
                    <a:pt x="1101357" y="684756"/>
                  </a:cubicBezTo>
                  <a:cubicBezTo>
                    <a:pt x="1093175" y="685902"/>
                    <a:pt x="1085126" y="685499"/>
                    <a:pt x="1075363" y="686004"/>
                  </a:cubicBezTo>
                  <a:cubicBezTo>
                    <a:pt x="1086107" y="664151"/>
                    <a:pt x="1105148" y="659962"/>
                    <a:pt x="1123969" y="654844"/>
                  </a:cubicBezTo>
                  <a:cubicBezTo>
                    <a:pt x="1136228" y="651561"/>
                    <a:pt x="1148677" y="648529"/>
                    <a:pt x="1160116" y="642130"/>
                  </a:cubicBezTo>
                  <a:cubicBezTo>
                    <a:pt x="1166736" y="638438"/>
                    <a:pt x="1171527" y="633815"/>
                    <a:pt x="1173166" y="623785"/>
                  </a:cubicBezTo>
                  <a:cubicBezTo>
                    <a:pt x="1154259" y="626839"/>
                    <a:pt x="1135980" y="629718"/>
                    <a:pt x="1116292" y="632834"/>
                  </a:cubicBezTo>
                  <a:cubicBezTo>
                    <a:pt x="1124455" y="614488"/>
                    <a:pt x="1134961" y="599062"/>
                    <a:pt x="1146524" y="584782"/>
                  </a:cubicBezTo>
                  <a:cubicBezTo>
                    <a:pt x="1164184" y="562978"/>
                    <a:pt x="1183177" y="542652"/>
                    <a:pt x="1213361" y="536223"/>
                  </a:cubicBezTo>
                  <a:cubicBezTo>
                    <a:pt x="1230935" y="532559"/>
                    <a:pt x="1244070" y="541320"/>
                    <a:pt x="1258443" y="546438"/>
                  </a:cubicBezTo>
                  <a:cubicBezTo>
                    <a:pt x="1265882" y="549131"/>
                    <a:pt x="1272635" y="553074"/>
                    <a:pt x="1279265" y="557045"/>
                  </a:cubicBezTo>
                  <a:cubicBezTo>
                    <a:pt x="1293295" y="566094"/>
                    <a:pt x="1305449" y="564154"/>
                    <a:pt x="1318146" y="550379"/>
                  </a:cubicBezTo>
                  <a:cubicBezTo>
                    <a:pt x="1287151" y="537089"/>
                    <a:pt x="1257252" y="524016"/>
                    <a:pt x="1226430" y="510860"/>
                  </a:cubicBezTo>
                  <a:cubicBezTo>
                    <a:pt x="1236793" y="485167"/>
                    <a:pt x="1258195" y="472413"/>
                    <a:pt x="1282970" y="463426"/>
                  </a:cubicBezTo>
                  <a:cubicBezTo>
                    <a:pt x="1287799" y="460218"/>
                    <a:pt x="1292781" y="458133"/>
                    <a:pt x="1298543" y="457937"/>
                  </a:cubicBezTo>
                  <a:cubicBezTo>
                    <a:pt x="1300582" y="457710"/>
                    <a:pt x="1302668" y="457555"/>
                    <a:pt x="1304515" y="457205"/>
                  </a:cubicBezTo>
                  <a:cubicBezTo>
                    <a:pt x="1308973" y="452510"/>
                    <a:pt x="1314593" y="454780"/>
                    <a:pt x="1319851" y="454944"/>
                  </a:cubicBezTo>
                  <a:cubicBezTo>
                    <a:pt x="1340187" y="447505"/>
                    <a:pt x="1361008" y="451075"/>
                    <a:pt x="1381354" y="452510"/>
                  </a:cubicBezTo>
                  <a:cubicBezTo>
                    <a:pt x="1410824" y="454397"/>
                    <a:pt x="1440247" y="459102"/>
                    <a:pt x="1469641" y="457030"/>
                  </a:cubicBezTo>
                  <a:cubicBezTo>
                    <a:pt x="1486300" y="455904"/>
                    <a:pt x="1469869" y="449146"/>
                    <a:pt x="1470755" y="445142"/>
                  </a:cubicBezTo>
                  <a:cubicBezTo>
                    <a:pt x="1455315" y="436196"/>
                    <a:pt x="1437303" y="437372"/>
                    <a:pt x="1420568" y="432811"/>
                  </a:cubicBezTo>
                  <a:cubicBezTo>
                    <a:pt x="1406814" y="432885"/>
                    <a:pt x="1393136" y="432885"/>
                    <a:pt x="1374886" y="432885"/>
                  </a:cubicBezTo>
                  <a:cubicBezTo>
                    <a:pt x="1396927" y="416509"/>
                    <a:pt x="1419235" y="412030"/>
                    <a:pt x="1439266" y="402671"/>
                  </a:cubicBezTo>
                  <a:cubicBezTo>
                    <a:pt x="1461926" y="392065"/>
                    <a:pt x="1484890" y="382416"/>
                    <a:pt x="1505426" y="367918"/>
                  </a:cubicBezTo>
                  <a:cubicBezTo>
                    <a:pt x="1511246" y="363865"/>
                    <a:pt x="1520438" y="359447"/>
                    <a:pt x="1516961" y="352421"/>
                  </a:cubicBezTo>
                  <a:cubicBezTo>
                    <a:pt x="1513789" y="345848"/>
                    <a:pt x="1504579" y="348965"/>
                    <a:pt x="1497892" y="351915"/>
                  </a:cubicBezTo>
                  <a:cubicBezTo>
                    <a:pt x="1495778" y="352772"/>
                    <a:pt x="1492739" y="352215"/>
                    <a:pt x="1490186" y="352318"/>
                  </a:cubicBezTo>
                  <a:cubicBezTo>
                    <a:pt x="1474346" y="360893"/>
                    <a:pt x="1458592" y="369353"/>
                    <a:pt x="1442923" y="377948"/>
                  </a:cubicBezTo>
                  <a:cubicBezTo>
                    <a:pt x="1424264" y="388226"/>
                    <a:pt x="1405738" y="398760"/>
                    <a:pt x="1384687" y="404302"/>
                  </a:cubicBezTo>
                  <a:cubicBezTo>
                    <a:pt x="1379639" y="405580"/>
                    <a:pt x="1373715" y="406881"/>
                    <a:pt x="1369447" y="404032"/>
                  </a:cubicBezTo>
                  <a:cubicBezTo>
                    <a:pt x="1363732" y="399905"/>
                    <a:pt x="1369857" y="394345"/>
                    <a:pt x="1371276" y="390393"/>
                  </a:cubicBezTo>
                  <a:cubicBezTo>
                    <a:pt x="1374991" y="379176"/>
                    <a:pt x="1378515" y="368001"/>
                    <a:pt x="1376772" y="356135"/>
                  </a:cubicBezTo>
                  <a:cubicBezTo>
                    <a:pt x="1375924" y="349882"/>
                    <a:pt x="1375105" y="342123"/>
                    <a:pt x="1364733" y="346611"/>
                  </a:cubicBezTo>
                  <a:cubicBezTo>
                    <a:pt x="1357379" y="361862"/>
                    <a:pt x="1350045" y="377279"/>
                    <a:pt x="1342520" y="392724"/>
                  </a:cubicBezTo>
                  <a:cubicBezTo>
                    <a:pt x="1342368" y="393684"/>
                    <a:pt x="1341958" y="394757"/>
                    <a:pt x="1341853" y="395769"/>
                  </a:cubicBezTo>
                  <a:cubicBezTo>
                    <a:pt x="1339758" y="404643"/>
                    <a:pt x="1336177" y="412423"/>
                    <a:pt x="1327099" y="416664"/>
                  </a:cubicBezTo>
                  <a:cubicBezTo>
                    <a:pt x="1325023" y="417932"/>
                    <a:pt x="1322908" y="419285"/>
                    <a:pt x="1321041" y="420584"/>
                  </a:cubicBezTo>
                  <a:cubicBezTo>
                    <a:pt x="1310488" y="428457"/>
                    <a:pt x="1297981" y="433039"/>
                    <a:pt x="1285942" y="438631"/>
                  </a:cubicBezTo>
                  <a:cubicBezTo>
                    <a:pt x="1281046" y="439097"/>
                    <a:pt x="1276950" y="441798"/>
                    <a:pt x="1273074" y="444452"/>
                  </a:cubicBezTo>
                  <a:cubicBezTo>
                    <a:pt x="1263568" y="455337"/>
                    <a:pt x="1250061" y="460588"/>
                    <a:pt x="1238993" y="469328"/>
                  </a:cubicBezTo>
                  <a:cubicBezTo>
                    <a:pt x="1231373" y="474972"/>
                    <a:pt x="1221867" y="487272"/>
                    <a:pt x="1216219" y="483187"/>
                  </a:cubicBezTo>
                  <a:cubicBezTo>
                    <a:pt x="1208103" y="477181"/>
                    <a:pt x="1218962" y="467120"/>
                    <a:pt x="1222772" y="459547"/>
                  </a:cubicBezTo>
                  <a:cubicBezTo>
                    <a:pt x="1228849" y="447361"/>
                    <a:pt x="1228344" y="435845"/>
                    <a:pt x="1223010" y="424000"/>
                  </a:cubicBezTo>
                  <a:cubicBezTo>
                    <a:pt x="1219381" y="422709"/>
                    <a:pt x="1217038" y="425558"/>
                    <a:pt x="1214123" y="426857"/>
                  </a:cubicBezTo>
                  <a:cubicBezTo>
                    <a:pt x="1208942" y="438311"/>
                    <a:pt x="1203684" y="449703"/>
                    <a:pt x="1198502" y="461033"/>
                  </a:cubicBezTo>
                  <a:cubicBezTo>
                    <a:pt x="1198264" y="463900"/>
                    <a:pt x="1198016" y="466677"/>
                    <a:pt x="1197855" y="469432"/>
                  </a:cubicBezTo>
                  <a:cubicBezTo>
                    <a:pt x="1194597" y="481391"/>
                    <a:pt x="1191978" y="493598"/>
                    <a:pt x="1187910" y="505247"/>
                  </a:cubicBezTo>
                  <a:cubicBezTo>
                    <a:pt x="1185062" y="513078"/>
                    <a:pt x="1181691" y="521167"/>
                    <a:pt x="1173566" y="525656"/>
                  </a:cubicBezTo>
                  <a:cubicBezTo>
                    <a:pt x="1167032" y="541846"/>
                    <a:pt x="1151163" y="548988"/>
                    <a:pt x="1138790" y="559624"/>
                  </a:cubicBezTo>
                  <a:cubicBezTo>
                    <a:pt x="1138457" y="561296"/>
                    <a:pt x="1137780" y="562710"/>
                    <a:pt x="1135752" y="562710"/>
                  </a:cubicBezTo>
                  <a:cubicBezTo>
                    <a:pt x="1128160" y="572575"/>
                    <a:pt x="1119892" y="582274"/>
                    <a:pt x="1113092" y="592901"/>
                  </a:cubicBezTo>
                  <a:cubicBezTo>
                    <a:pt x="1107586" y="601002"/>
                    <a:pt x="1103262" y="602498"/>
                    <a:pt x="1097671" y="593479"/>
                  </a:cubicBezTo>
                  <a:cubicBezTo>
                    <a:pt x="1096670" y="592551"/>
                    <a:pt x="1095556" y="591499"/>
                    <a:pt x="1094584" y="590518"/>
                  </a:cubicBezTo>
                  <a:cubicBezTo>
                    <a:pt x="1093699" y="590354"/>
                    <a:pt x="1092784" y="590158"/>
                    <a:pt x="1092041" y="589806"/>
                  </a:cubicBezTo>
                  <a:cubicBezTo>
                    <a:pt x="1080649" y="593749"/>
                    <a:pt x="1079630" y="604799"/>
                    <a:pt x="1079687" y="612980"/>
                  </a:cubicBezTo>
                  <a:cubicBezTo>
                    <a:pt x="1080259" y="633815"/>
                    <a:pt x="1072010" y="651108"/>
                    <a:pt x="1060342" y="667431"/>
                  </a:cubicBezTo>
                  <a:cubicBezTo>
                    <a:pt x="1041616" y="693372"/>
                    <a:pt x="1022833" y="719260"/>
                    <a:pt x="1003992" y="745285"/>
                  </a:cubicBezTo>
                  <a:cubicBezTo>
                    <a:pt x="1004211" y="745871"/>
                    <a:pt x="1003992" y="746532"/>
                    <a:pt x="1003611" y="746966"/>
                  </a:cubicBezTo>
                  <a:cubicBezTo>
                    <a:pt x="996734" y="757894"/>
                    <a:pt x="989752" y="768593"/>
                    <a:pt x="982780" y="779490"/>
                  </a:cubicBezTo>
                  <a:cubicBezTo>
                    <a:pt x="976055" y="790119"/>
                    <a:pt x="963768" y="787228"/>
                    <a:pt x="953900" y="790458"/>
                  </a:cubicBezTo>
                  <a:cubicBezTo>
                    <a:pt x="949382" y="792760"/>
                    <a:pt x="943665" y="794173"/>
                    <a:pt x="940280" y="797526"/>
                  </a:cubicBezTo>
                  <a:cubicBezTo>
                    <a:pt x="927047" y="810899"/>
                    <a:pt x="925065" y="800849"/>
                    <a:pt x="922031" y="789994"/>
                  </a:cubicBezTo>
                  <a:cubicBezTo>
                    <a:pt x="915705" y="767717"/>
                    <a:pt x="915414" y="745057"/>
                    <a:pt x="916322" y="722243"/>
                  </a:cubicBezTo>
                  <a:close/>
                  <a:moveTo>
                    <a:pt x="836930" y="666319"/>
                  </a:moveTo>
                  <a:cubicBezTo>
                    <a:pt x="840699" y="652863"/>
                    <a:pt x="843960" y="639325"/>
                    <a:pt x="847696" y="625920"/>
                  </a:cubicBezTo>
                  <a:cubicBezTo>
                    <a:pt x="850173" y="616758"/>
                    <a:pt x="854767" y="610143"/>
                    <a:pt x="865738" y="608678"/>
                  </a:cubicBezTo>
                  <a:cubicBezTo>
                    <a:pt x="872035" y="607782"/>
                    <a:pt x="878373" y="604799"/>
                    <a:pt x="883842" y="601476"/>
                  </a:cubicBezTo>
                  <a:cubicBezTo>
                    <a:pt x="888353" y="598742"/>
                    <a:pt x="892223" y="600507"/>
                    <a:pt x="892791" y="603477"/>
                  </a:cubicBezTo>
                  <a:cubicBezTo>
                    <a:pt x="897972" y="630853"/>
                    <a:pt x="911988" y="656143"/>
                    <a:pt x="912793" y="684282"/>
                  </a:cubicBezTo>
                  <a:cubicBezTo>
                    <a:pt x="913030" y="687708"/>
                    <a:pt x="913300" y="690369"/>
                    <a:pt x="908862" y="692877"/>
                  </a:cubicBezTo>
                  <a:cubicBezTo>
                    <a:pt x="897880" y="698801"/>
                    <a:pt x="895309" y="710264"/>
                    <a:pt x="894483" y="721026"/>
                  </a:cubicBezTo>
                  <a:cubicBezTo>
                    <a:pt x="893338" y="732211"/>
                    <a:pt x="888104" y="738587"/>
                    <a:pt x="876091" y="741931"/>
                  </a:cubicBezTo>
                  <a:cubicBezTo>
                    <a:pt x="875802" y="730250"/>
                    <a:pt x="870795" y="720870"/>
                    <a:pt x="874087" y="708746"/>
                  </a:cubicBezTo>
                  <a:cubicBezTo>
                    <a:pt x="877092" y="697282"/>
                    <a:pt x="863478" y="693743"/>
                    <a:pt x="853281" y="692515"/>
                  </a:cubicBezTo>
                  <a:cubicBezTo>
                    <a:pt x="830016" y="689564"/>
                    <a:pt x="830120" y="689915"/>
                    <a:pt x="836930" y="666319"/>
                  </a:cubicBezTo>
                  <a:close/>
                  <a:moveTo>
                    <a:pt x="662499" y="693959"/>
                  </a:moveTo>
                  <a:cubicBezTo>
                    <a:pt x="667516" y="685902"/>
                    <a:pt x="670024" y="673716"/>
                    <a:pt x="681852" y="689967"/>
                  </a:cubicBezTo>
                  <a:cubicBezTo>
                    <a:pt x="686632" y="696376"/>
                    <a:pt x="697334" y="692515"/>
                    <a:pt x="702671" y="684117"/>
                  </a:cubicBezTo>
                  <a:cubicBezTo>
                    <a:pt x="706551" y="677699"/>
                    <a:pt x="705757" y="670280"/>
                    <a:pt x="705757" y="663273"/>
                  </a:cubicBezTo>
                  <a:cubicBezTo>
                    <a:pt x="705819" y="643298"/>
                    <a:pt x="705757" y="623361"/>
                    <a:pt x="705819" y="603302"/>
                  </a:cubicBezTo>
                  <a:cubicBezTo>
                    <a:pt x="705819" y="589156"/>
                    <a:pt x="710887" y="578043"/>
                    <a:pt x="723973" y="570594"/>
                  </a:cubicBezTo>
                  <a:cubicBezTo>
                    <a:pt x="738041" y="562390"/>
                    <a:pt x="749231" y="549863"/>
                    <a:pt x="764837" y="544105"/>
                  </a:cubicBezTo>
                  <a:cubicBezTo>
                    <a:pt x="766385" y="541588"/>
                    <a:pt x="768530" y="541021"/>
                    <a:pt x="771390" y="541134"/>
                  </a:cubicBezTo>
                  <a:lnTo>
                    <a:pt x="771855" y="540970"/>
                  </a:lnTo>
                  <a:cubicBezTo>
                    <a:pt x="779451" y="534242"/>
                    <a:pt x="787554" y="531859"/>
                    <a:pt x="796813" y="537977"/>
                  </a:cubicBezTo>
                  <a:lnTo>
                    <a:pt x="796813" y="537895"/>
                  </a:lnTo>
                  <a:cubicBezTo>
                    <a:pt x="806668" y="543559"/>
                    <a:pt x="813120" y="551659"/>
                    <a:pt x="815721" y="562710"/>
                  </a:cubicBezTo>
                  <a:cubicBezTo>
                    <a:pt x="828159" y="590518"/>
                    <a:pt x="831378" y="619112"/>
                    <a:pt x="822130" y="648529"/>
                  </a:cubicBezTo>
                  <a:cubicBezTo>
                    <a:pt x="820076" y="655081"/>
                    <a:pt x="817898" y="661417"/>
                    <a:pt x="815845" y="667793"/>
                  </a:cubicBezTo>
                  <a:cubicBezTo>
                    <a:pt x="813656" y="676026"/>
                    <a:pt x="811159" y="684117"/>
                    <a:pt x="809715" y="692372"/>
                  </a:cubicBezTo>
                  <a:cubicBezTo>
                    <a:pt x="808185" y="701328"/>
                    <a:pt x="808187" y="710119"/>
                    <a:pt x="822130" y="707829"/>
                  </a:cubicBezTo>
                  <a:cubicBezTo>
                    <a:pt x="826805" y="707024"/>
                    <a:pt x="831141" y="708983"/>
                    <a:pt x="835011" y="711574"/>
                  </a:cubicBezTo>
                  <a:cubicBezTo>
                    <a:pt x="853290" y="712772"/>
                    <a:pt x="855882" y="715536"/>
                    <a:pt x="852228" y="731324"/>
                  </a:cubicBezTo>
                  <a:cubicBezTo>
                    <a:pt x="848583" y="747905"/>
                    <a:pt x="846830" y="764879"/>
                    <a:pt x="846436" y="781811"/>
                  </a:cubicBezTo>
                  <a:cubicBezTo>
                    <a:pt x="846819" y="783783"/>
                    <a:pt x="847171" y="785639"/>
                    <a:pt x="847491" y="787640"/>
                  </a:cubicBezTo>
                  <a:cubicBezTo>
                    <a:pt x="853734" y="816327"/>
                    <a:pt x="854034" y="843319"/>
                    <a:pt x="825598" y="862285"/>
                  </a:cubicBezTo>
                  <a:cubicBezTo>
                    <a:pt x="820190" y="865639"/>
                    <a:pt x="815721" y="870344"/>
                    <a:pt x="809362" y="871859"/>
                  </a:cubicBezTo>
                  <a:cubicBezTo>
                    <a:pt x="809362" y="909945"/>
                    <a:pt x="805450" y="947113"/>
                    <a:pt x="793530" y="984056"/>
                  </a:cubicBezTo>
                  <a:cubicBezTo>
                    <a:pt x="784964" y="1010993"/>
                    <a:pt x="768314" y="1022299"/>
                    <a:pt x="742201" y="1025623"/>
                  </a:cubicBezTo>
                  <a:cubicBezTo>
                    <a:pt x="740642" y="1025852"/>
                    <a:pt x="739012" y="1026090"/>
                    <a:pt x="737670" y="1026481"/>
                  </a:cubicBezTo>
                  <a:cubicBezTo>
                    <a:pt x="733500" y="1028310"/>
                    <a:pt x="729228" y="1030214"/>
                    <a:pt x="724985" y="1032024"/>
                  </a:cubicBezTo>
                  <a:cubicBezTo>
                    <a:pt x="720206" y="1034987"/>
                    <a:pt x="724284" y="1042168"/>
                    <a:pt x="718534" y="1044702"/>
                  </a:cubicBezTo>
                  <a:cubicBezTo>
                    <a:pt x="718534" y="1046417"/>
                    <a:pt x="718534" y="1048007"/>
                    <a:pt x="718607" y="1049798"/>
                  </a:cubicBezTo>
                  <a:cubicBezTo>
                    <a:pt x="723376" y="1054056"/>
                    <a:pt x="723457" y="1058313"/>
                    <a:pt x="718854" y="1062742"/>
                  </a:cubicBezTo>
                  <a:cubicBezTo>
                    <a:pt x="713394" y="1072515"/>
                    <a:pt x="709761" y="1083850"/>
                    <a:pt x="697087" y="1087565"/>
                  </a:cubicBezTo>
                  <a:lnTo>
                    <a:pt x="697024" y="1087574"/>
                  </a:lnTo>
                  <a:cubicBezTo>
                    <a:pt x="695446" y="1091889"/>
                    <a:pt x="689788" y="1093346"/>
                    <a:pt x="689376" y="1098909"/>
                  </a:cubicBezTo>
                  <a:cubicBezTo>
                    <a:pt x="684165" y="1089098"/>
                    <a:pt x="681542" y="1079525"/>
                    <a:pt x="686641" y="1069229"/>
                  </a:cubicBezTo>
                  <a:cubicBezTo>
                    <a:pt x="686454" y="1030967"/>
                    <a:pt x="705023" y="1003087"/>
                    <a:pt x="737185" y="982799"/>
                  </a:cubicBezTo>
                  <a:cubicBezTo>
                    <a:pt x="757259" y="970112"/>
                    <a:pt x="777377" y="956901"/>
                    <a:pt x="781072" y="930593"/>
                  </a:cubicBezTo>
                  <a:cubicBezTo>
                    <a:pt x="771917" y="927538"/>
                    <a:pt x="767478" y="935825"/>
                    <a:pt x="761171" y="939116"/>
                  </a:cubicBezTo>
                  <a:cubicBezTo>
                    <a:pt x="756465" y="941530"/>
                    <a:pt x="751986" y="944481"/>
                    <a:pt x="746671" y="945927"/>
                  </a:cubicBezTo>
                  <a:cubicBezTo>
                    <a:pt x="743791" y="952605"/>
                    <a:pt x="735204" y="951982"/>
                    <a:pt x="730219" y="957672"/>
                  </a:cubicBezTo>
                  <a:cubicBezTo>
                    <a:pt x="727556" y="932172"/>
                    <a:pt x="729268" y="907396"/>
                    <a:pt x="739393" y="884263"/>
                  </a:cubicBezTo>
                  <a:cubicBezTo>
                    <a:pt x="748994" y="861924"/>
                    <a:pt x="761730" y="841008"/>
                    <a:pt x="773041" y="819536"/>
                  </a:cubicBezTo>
                  <a:cubicBezTo>
                    <a:pt x="778667" y="808692"/>
                    <a:pt x="789968" y="803449"/>
                    <a:pt x="798081" y="794937"/>
                  </a:cubicBezTo>
                  <a:cubicBezTo>
                    <a:pt x="801828" y="790923"/>
                    <a:pt x="805275" y="786187"/>
                    <a:pt x="802416" y="781564"/>
                  </a:cubicBezTo>
                  <a:cubicBezTo>
                    <a:pt x="799031" y="776065"/>
                    <a:pt x="793788" y="780254"/>
                    <a:pt x="788906" y="781100"/>
                  </a:cubicBezTo>
                  <a:cubicBezTo>
                    <a:pt x="777861" y="783122"/>
                    <a:pt x="772537" y="791687"/>
                    <a:pt x="766498" y="798919"/>
                  </a:cubicBezTo>
                  <a:cubicBezTo>
                    <a:pt x="763649" y="802304"/>
                    <a:pt x="760264" y="805368"/>
                    <a:pt x="757055" y="804769"/>
                  </a:cubicBezTo>
                  <a:cubicBezTo>
                    <a:pt x="751996" y="803954"/>
                    <a:pt x="753027" y="798691"/>
                    <a:pt x="753027" y="794637"/>
                  </a:cubicBezTo>
                  <a:cubicBezTo>
                    <a:pt x="751986" y="760453"/>
                    <a:pt x="758644" y="726865"/>
                    <a:pt x="763639" y="693197"/>
                  </a:cubicBezTo>
                  <a:cubicBezTo>
                    <a:pt x="766622" y="672643"/>
                    <a:pt x="769326" y="652099"/>
                    <a:pt x="768530" y="631194"/>
                  </a:cubicBezTo>
                  <a:cubicBezTo>
                    <a:pt x="768355" y="626736"/>
                    <a:pt x="767395" y="622445"/>
                    <a:pt x="762441" y="622113"/>
                  </a:cubicBezTo>
                  <a:cubicBezTo>
                    <a:pt x="757292" y="621712"/>
                    <a:pt x="756001" y="626199"/>
                    <a:pt x="755557" y="630503"/>
                  </a:cubicBezTo>
                  <a:cubicBezTo>
                    <a:pt x="751728" y="651831"/>
                    <a:pt x="744782" y="672281"/>
                    <a:pt x="737246" y="692515"/>
                  </a:cubicBezTo>
                  <a:cubicBezTo>
                    <a:pt x="731570" y="713813"/>
                    <a:pt x="726575" y="735286"/>
                    <a:pt x="728215" y="757616"/>
                  </a:cubicBezTo>
                  <a:cubicBezTo>
                    <a:pt x="734316" y="791077"/>
                    <a:pt x="740322" y="824664"/>
                    <a:pt x="724540" y="857672"/>
                  </a:cubicBezTo>
                  <a:cubicBezTo>
                    <a:pt x="717925" y="856331"/>
                    <a:pt x="718246" y="850502"/>
                    <a:pt x="715893" y="846633"/>
                  </a:cubicBezTo>
                  <a:cubicBezTo>
                    <a:pt x="710712" y="821228"/>
                    <a:pt x="704001" y="796143"/>
                    <a:pt x="687705" y="775084"/>
                  </a:cubicBezTo>
                  <a:cubicBezTo>
                    <a:pt x="685227" y="771741"/>
                    <a:pt x="682049" y="765849"/>
                    <a:pt x="677135" y="767439"/>
                  </a:cubicBezTo>
                  <a:cubicBezTo>
                    <a:pt x="671634" y="769129"/>
                    <a:pt x="675102" y="775279"/>
                    <a:pt x="674451" y="779583"/>
                  </a:cubicBezTo>
                  <a:cubicBezTo>
                    <a:pt x="672903" y="788818"/>
                    <a:pt x="676403" y="797526"/>
                    <a:pt x="677817" y="806411"/>
                  </a:cubicBezTo>
                  <a:cubicBezTo>
                    <a:pt x="692762" y="837933"/>
                    <a:pt x="706706" y="869849"/>
                    <a:pt x="711619" y="904632"/>
                  </a:cubicBezTo>
                  <a:cubicBezTo>
                    <a:pt x="714385" y="924475"/>
                    <a:pt x="708171" y="942375"/>
                    <a:pt x="698552" y="959396"/>
                  </a:cubicBezTo>
                  <a:cubicBezTo>
                    <a:pt x="695249" y="965140"/>
                    <a:pt x="691864" y="965635"/>
                    <a:pt x="689397" y="958691"/>
                  </a:cubicBezTo>
                  <a:cubicBezTo>
                    <a:pt x="687694" y="953662"/>
                    <a:pt x="682358" y="949580"/>
                    <a:pt x="685010" y="943326"/>
                  </a:cubicBezTo>
                  <a:cubicBezTo>
                    <a:pt x="678271" y="932172"/>
                    <a:pt x="671613" y="921142"/>
                    <a:pt x="664759" y="910049"/>
                  </a:cubicBezTo>
                  <a:cubicBezTo>
                    <a:pt x="656668" y="897068"/>
                    <a:pt x="643952" y="891764"/>
                    <a:pt x="629037" y="890424"/>
                  </a:cubicBezTo>
                  <a:cubicBezTo>
                    <a:pt x="625404" y="890175"/>
                    <a:pt x="622968" y="892271"/>
                    <a:pt x="621791" y="895118"/>
                  </a:cubicBezTo>
                  <a:cubicBezTo>
                    <a:pt x="620201" y="898780"/>
                    <a:pt x="622082" y="901836"/>
                    <a:pt x="625063" y="904590"/>
                  </a:cubicBezTo>
                  <a:cubicBezTo>
                    <a:pt x="636448" y="915135"/>
                    <a:pt x="649721" y="923586"/>
                    <a:pt x="657277" y="938331"/>
                  </a:cubicBezTo>
                  <a:cubicBezTo>
                    <a:pt x="660983" y="945616"/>
                    <a:pt x="664399" y="952489"/>
                    <a:pt x="665606" y="960587"/>
                  </a:cubicBezTo>
                  <a:cubicBezTo>
                    <a:pt x="675948" y="990752"/>
                    <a:pt x="672419" y="1021775"/>
                    <a:pt x="669859" y="1052236"/>
                  </a:cubicBezTo>
                  <a:cubicBezTo>
                    <a:pt x="668908" y="1061761"/>
                    <a:pt x="672728" y="1072715"/>
                    <a:pt x="665296" y="1081430"/>
                  </a:cubicBezTo>
                  <a:cubicBezTo>
                    <a:pt x="664821" y="1086574"/>
                    <a:pt x="663966" y="1092137"/>
                    <a:pt x="657844" y="1092899"/>
                  </a:cubicBezTo>
                  <a:cubicBezTo>
                    <a:pt x="652539" y="1093622"/>
                    <a:pt x="649454" y="1089127"/>
                    <a:pt x="646780" y="1085564"/>
                  </a:cubicBezTo>
                  <a:cubicBezTo>
                    <a:pt x="630946" y="1064362"/>
                    <a:pt x="624146" y="1040349"/>
                    <a:pt x="624527" y="1014479"/>
                  </a:cubicBezTo>
                  <a:cubicBezTo>
                    <a:pt x="625074" y="995124"/>
                    <a:pt x="623588" y="976112"/>
                    <a:pt x="614939" y="958253"/>
                  </a:cubicBezTo>
                  <a:cubicBezTo>
                    <a:pt x="610873" y="954776"/>
                    <a:pt x="604864" y="952633"/>
                    <a:pt x="606371" y="945553"/>
                  </a:cubicBezTo>
                  <a:cubicBezTo>
                    <a:pt x="605939" y="944759"/>
                    <a:pt x="605525" y="943913"/>
                    <a:pt x="605432" y="942924"/>
                  </a:cubicBezTo>
                  <a:cubicBezTo>
                    <a:pt x="599766" y="929932"/>
                    <a:pt x="601923" y="916528"/>
                    <a:pt x="604100" y="903423"/>
                  </a:cubicBezTo>
                  <a:cubicBezTo>
                    <a:pt x="604864" y="899019"/>
                    <a:pt x="604947" y="894437"/>
                    <a:pt x="605989" y="889969"/>
                  </a:cubicBezTo>
                  <a:cubicBezTo>
                    <a:pt x="606145" y="887906"/>
                    <a:pt x="606145" y="885686"/>
                    <a:pt x="606145" y="883613"/>
                  </a:cubicBezTo>
                  <a:cubicBezTo>
                    <a:pt x="606207" y="859644"/>
                    <a:pt x="609963" y="855392"/>
                    <a:pt x="633362" y="853183"/>
                  </a:cubicBezTo>
                  <a:cubicBezTo>
                    <a:pt x="641423" y="848943"/>
                    <a:pt x="642217" y="841059"/>
                    <a:pt x="639556" y="834776"/>
                  </a:cubicBezTo>
                  <a:cubicBezTo>
                    <a:pt x="617086" y="782977"/>
                    <a:pt x="634941" y="737804"/>
                    <a:pt x="662499" y="693959"/>
                  </a:cubicBezTo>
                  <a:close/>
                  <a:moveTo>
                    <a:pt x="641011" y="1113463"/>
                  </a:moveTo>
                  <a:cubicBezTo>
                    <a:pt x="641413" y="1120092"/>
                    <a:pt x="639803" y="1126293"/>
                    <a:pt x="633290" y="1129055"/>
                  </a:cubicBezTo>
                  <a:cubicBezTo>
                    <a:pt x="626374" y="1131722"/>
                    <a:pt x="622464" y="1125417"/>
                    <a:pt x="619397" y="1121350"/>
                  </a:cubicBezTo>
                  <a:cubicBezTo>
                    <a:pt x="611605" y="1110701"/>
                    <a:pt x="611604" y="1097290"/>
                    <a:pt x="609581" y="1084917"/>
                  </a:cubicBezTo>
                  <a:cubicBezTo>
                    <a:pt x="608602" y="1079525"/>
                    <a:pt x="614763" y="1074858"/>
                    <a:pt x="621255" y="1078582"/>
                  </a:cubicBezTo>
                  <a:cubicBezTo>
                    <a:pt x="632020" y="1084469"/>
                    <a:pt x="640608" y="1100861"/>
                    <a:pt x="641011" y="1113463"/>
                  </a:cubicBezTo>
                  <a:close/>
                  <a:moveTo>
                    <a:pt x="526226" y="1001135"/>
                  </a:moveTo>
                  <a:cubicBezTo>
                    <a:pt x="521003" y="1000325"/>
                    <a:pt x="515461" y="1000811"/>
                    <a:pt x="516049" y="993343"/>
                  </a:cubicBezTo>
                  <a:cubicBezTo>
                    <a:pt x="516875" y="983466"/>
                    <a:pt x="522996" y="992267"/>
                    <a:pt x="526226" y="990752"/>
                  </a:cubicBezTo>
                  <a:cubicBezTo>
                    <a:pt x="528848" y="989295"/>
                    <a:pt x="533038" y="988228"/>
                    <a:pt x="533564" y="986171"/>
                  </a:cubicBezTo>
                  <a:cubicBezTo>
                    <a:pt x="535453" y="980923"/>
                    <a:pt x="530903" y="977894"/>
                    <a:pt x="527341" y="974998"/>
                  </a:cubicBezTo>
                  <a:cubicBezTo>
                    <a:pt x="523399" y="971845"/>
                    <a:pt x="512880" y="972188"/>
                    <a:pt x="516926" y="965283"/>
                  </a:cubicBezTo>
                  <a:cubicBezTo>
                    <a:pt x="520136" y="960111"/>
                    <a:pt x="527166" y="966797"/>
                    <a:pt x="532552" y="968864"/>
                  </a:cubicBezTo>
                  <a:cubicBezTo>
                    <a:pt x="553299" y="976198"/>
                    <a:pt x="552474" y="991857"/>
                    <a:pt x="553011" y="1008707"/>
                  </a:cubicBezTo>
                  <a:cubicBezTo>
                    <a:pt x="553536" y="1030214"/>
                    <a:pt x="559130" y="1050865"/>
                    <a:pt x="567502" y="1070962"/>
                  </a:cubicBezTo>
                  <a:cubicBezTo>
                    <a:pt x="572012" y="1081326"/>
                    <a:pt x="583996" y="1083050"/>
                    <a:pt x="588763" y="1092356"/>
                  </a:cubicBezTo>
                  <a:cubicBezTo>
                    <a:pt x="590631" y="1095842"/>
                    <a:pt x="594440" y="1099033"/>
                    <a:pt x="591922" y="1103433"/>
                  </a:cubicBezTo>
                  <a:cubicBezTo>
                    <a:pt x="589827" y="1107224"/>
                    <a:pt x="585440" y="1105938"/>
                    <a:pt x="581992" y="1106596"/>
                  </a:cubicBezTo>
                  <a:cubicBezTo>
                    <a:pt x="567698" y="1103433"/>
                    <a:pt x="549562" y="1097480"/>
                    <a:pt x="544443" y="1079383"/>
                  </a:cubicBezTo>
                  <a:cubicBezTo>
                    <a:pt x="539375" y="1060113"/>
                    <a:pt x="538179" y="1038768"/>
                    <a:pt x="520374" y="1024099"/>
                  </a:cubicBezTo>
                  <a:cubicBezTo>
                    <a:pt x="513428" y="1018251"/>
                    <a:pt x="521365" y="1016232"/>
                    <a:pt x="526051" y="1014174"/>
                  </a:cubicBezTo>
                  <a:cubicBezTo>
                    <a:pt x="529147" y="1012689"/>
                    <a:pt x="533967" y="1012508"/>
                    <a:pt x="533668" y="1007821"/>
                  </a:cubicBezTo>
                  <a:cubicBezTo>
                    <a:pt x="533564" y="1003935"/>
                    <a:pt x="529209" y="1001668"/>
                    <a:pt x="526226" y="1001135"/>
                  </a:cubicBezTo>
                  <a:close/>
                  <a:moveTo>
                    <a:pt x="540264" y="1126960"/>
                  </a:moveTo>
                  <a:cubicBezTo>
                    <a:pt x="549707" y="1119931"/>
                    <a:pt x="559451" y="1115778"/>
                    <a:pt x="571931" y="1121759"/>
                  </a:cubicBezTo>
                  <a:cubicBezTo>
                    <a:pt x="585740" y="1128255"/>
                    <a:pt x="602450" y="1131018"/>
                    <a:pt x="602037" y="1152087"/>
                  </a:cubicBezTo>
                  <a:cubicBezTo>
                    <a:pt x="603162" y="1156735"/>
                    <a:pt x="599757" y="1161202"/>
                    <a:pt x="598888" y="1166174"/>
                  </a:cubicBezTo>
                  <a:cubicBezTo>
                    <a:pt x="597464" y="1174699"/>
                    <a:pt x="592758" y="1184062"/>
                    <a:pt x="585079" y="1183996"/>
                  </a:cubicBezTo>
                  <a:cubicBezTo>
                    <a:pt x="577720" y="1183996"/>
                    <a:pt x="578731" y="1172566"/>
                    <a:pt x="577130" y="1165927"/>
                  </a:cubicBezTo>
                  <a:cubicBezTo>
                    <a:pt x="575541" y="1158783"/>
                    <a:pt x="574066" y="1152173"/>
                    <a:pt x="569009" y="1146581"/>
                  </a:cubicBezTo>
                  <a:cubicBezTo>
                    <a:pt x="563363" y="1140152"/>
                    <a:pt x="557881" y="1134209"/>
                    <a:pt x="548088" y="1139885"/>
                  </a:cubicBezTo>
                  <a:cubicBezTo>
                    <a:pt x="544102" y="1142248"/>
                    <a:pt x="540252" y="1142248"/>
                    <a:pt x="537280" y="1137647"/>
                  </a:cubicBezTo>
                  <a:cubicBezTo>
                    <a:pt x="534205" y="1132646"/>
                    <a:pt x="537239" y="1129532"/>
                    <a:pt x="540264" y="1126960"/>
                  </a:cubicBezTo>
                  <a:close/>
                  <a:moveTo>
                    <a:pt x="547797" y="752548"/>
                  </a:moveTo>
                  <a:cubicBezTo>
                    <a:pt x="545620" y="747049"/>
                    <a:pt x="537683" y="748267"/>
                    <a:pt x="531789" y="750989"/>
                  </a:cubicBezTo>
                  <a:cubicBezTo>
                    <a:pt x="530118" y="751775"/>
                    <a:pt x="527702" y="751114"/>
                    <a:pt x="524811" y="751114"/>
                  </a:cubicBezTo>
                  <a:cubicBezTo>
                    <a:pt x="528703" y="738587"/>
                    <a:pt x="547209" y="738701"/>
                    <a:pt x="547065" y="723750"/>
                  </a:cubicBezTo>
                  <a:cubicBezTo>
                    <a:pt x="542070" y="723523"/>
                    <a:pt x="536672" y="723192"/>
                    <a:pt x="528837" y="722954"/>
                  </a:cubicBezTo>
                  <a:cubicBezTo>
                    <a:pt x="545238" y="710118"/>
                    <a:pt x="563745" y="707829"/>
                    <a:pt x="580381" y="702154"/>
                  </a:cubicBezTo>
                  <a:cubicBezTo>
                    <a:pt x="594615" y="697355"/>
                    <a:pt x="609942" y="695281"/>
                    <a:pt x="624899" y="692640"/>
                  </a:cubicBezTo>
                  <a:cubicBezTo>
                    <a:pt x="632350" y="691453"/>
                    <a:pt x="639782" y="690979"/>
                    <a:pt x="633755" y="702978"/>
                  </a:cubicBezTo>
                  <a:cubicBezTo>
                    <a:pt x="624899" y="720644"/>
                    <a:pt x="615526" y="738361"/>
                    <a:pt x="609200" y="756883"/>
                  </a:cubicBezTo>
                  <a:cubicBezTo>
                    <a:pt x="602542" y="776177"/>
                    <a:pt x="602130" y="796505"/>
                    <a:pt x="611780" y="815583"/>
                  </a:cubicBezTo>
                  <a:cubicBezTo>
                    <a:pt x="615362" y="822373"/>
                    <a:pt x="614845" y="825252"/>
                    <a:pt x="607022" y="829029"/>
                  </a:cubicBezTo>
                  <a:cubicBezTo>
                    <a:pt x="594285" y="835105"/>
                    <a:pt x="580959" y="835745"/>
                    <a:pt x="567936" y="833857"/>
                  </a:cubicBezTo>
                  <a:cubicBezTo>
                    <a:pt x="557356" y="832341"/>
                    <a:pt x="549687" y="824292"/>
                    <a:pt x="549221" y="813015"/>
                  </a:cubicBezTo>
                  <a:cubicBezTo>
                    <a:pt x="549221" y="802303"/>
                    <a:pt x="549924" y="792378"/>
                    <a:pt x="532387" y="798579"/>
                  </a:cubicBezTo>
                  <a:cubicBezTo>
                    <a:pt x="535421" y="787640"/>
                    <a:pt x="545217" y="785031"/>
                    <a:pt x="544319" y="775279"/>
                  </a:cubicBezTo>
                  <a:cubicBezTo>
                    <a:pt x="536651" y="777580"/>
                    <a:pt x="529178" y="779768"/>
                    <a:pt x="520167" y="782472"/>
                  </a:cubicBezTo>
                  <a:cubicBezTo>
                    <a:pt x="523460" y="772441"/>
                    <a:pt x="529901" y="768222"/>
                    <a:pt x="537198" y="764528"/>
                  </a:cubicBezTo>
                  <a:cubicBezTo>
                    <a:pt x="542534" y="761959"/>
                    <a:pt x="550656" y="759101"/>
                    <a:pt x="547797" y="752548"/>
                  </a:cubicBezTo>
                  <a:close/>
                  <a:moveTo>
                    <a:pt x="522221" y="913919"/>
                  </a:moveTo>
                  <a:cubicBezTo>
                    <a:pt x="522602" y="910440"/>
                    <a:pt x="525318" y="912102"/>
                    <a:pt x="526927" y="911648"/>
                  </a:cubicBezTo>
                  <a:cubicBezTo>
                    <a:pt x="532108" y="910328"/>
                    <a:pt x="539591" y="914692"/>
                    <a:pt x="542295" y="908811"/>
                  </a:cubicBezTo>
                  <a:cubicBezTo>
                    <a:pt x="545517" y="901836"/>
                    <a:pt x="537229" y="898678"/>
                    <a:pt x="533172" y="894437"/>
                  </a:cubicBezTo>
                  <a:cubicBezTo>
                    <a:pt x="527702" y="888751"/>
                    <a:pt x="518660" y="886656"/>
                    <a:pt x="515368" y="877773"/>
                  </a:cubicBezTo>
                  <a:cubicBezTo>
                    <a:pt x="526215" y="877773"/>
                    <a:pt x="533957" y="885923"/>
                    <a:pt x="543876" y="886543"/>
                  </a:cubicBezTo>
                  <a:cubicBezTo>
                    <a:pt x="541471" y="874193"/>
                    <a:pt x="541471" y="874193"/>
                    <a:pt x="518453" y="857930"/>
                  </a:cubicBezTo>
                  <a:cubicBezTo>
                    <a:pt x="517381" y="856331"/>
                    <a:pt x="516534" y="855176"/>
                    <a:pt x="515575" y="853793"/>
                  </a:cubicBezTo>
                  <a:cubicBezTo>
                    <a:pt x="518227" y="852409"/>
                    <a:pt x="520188" y="853061"/>
                    <a:pt x="521077" y="855763"/>
                  </a:cubicBezTo>
                  <a:cubicBezTo>
                    <a:pt x="530365" y="854938"/>
                    <a:pt x="539366" y="861841"/>
                    <a:pt x="548592" y="858125"/>
                  </a:cubicBezTo>
                  <a:cubicBezTo>
                    <a:pt x="542058" y="849830"/>
                    <a:pt x="535845" y="841968"/>
                    <a:pt x="530995" y="835736"/>
                  </a:cubicBezTo>
                  <a:cubicBezTo>
                    <a:pt x="546622" y="842091"/>
                    <a:pt x="564899" y="849283"/>
                    <a:pt x="582540" y="856889"/>
                  </a:cubicBezTo>
                  <a:cubicBezTo>
                    <a:pt x="586307" y="858499"/>
                    <a:pt x="586719" y="862273"/>
                    <a:pt x="586792" y="866155"/>
                  </a:cubicBezTo>
                  <a:cubicBezTo>
                    <a:pt x="587721" y="892579"/>
                    <a:pt x="581312" y="918862"/>
                    <a:pt x="583634" y="945431"/>
                  </a:cubicBezTo>
                  <a:cubicBezTo>
                    <a:pt x="583696" y="947753"/>
                    <a:pt x="583695" y="949991"/>
                    <a:pt x="580547" y="951590"/>
                  </a:cubicBezTo>
                  <a:cubicBezTo>
                    <a:pt x="561618" y="960768"/>
                    <a:pt x="523480" y="948536"/>
                    <a:pt x="514976" y="930582"/>
                  </a:cubicBezTo>
                  <a:cubicBezTo>
                    <a:pt x="523470" y="929809"/>
                    <a:pt x="529189" y="940044"/>
                    <a:pt x="538404" y="934803"/>
                  </a:cubicBezTo>
                  <a:cubicBezTo>
                    <a:pt x="536950" y="925578"/>
                    <a:pt x="527578" y="920965"/>
                    <a:pt x="522221" y="913919"/>
                  </a:cubicBezTo>
                  <a:close/>
                  <a:moveTo>
                    <a:pt x="356789" y="1106719"/>
                  </a:moveTo>
                  <a:cubicBezTo>
                    <a:pt x="380012" y="1096947"/>
                    <a:pt x="380353" y="1096947"/>
                    <a:pt x="374202" y="1072553"/>
                  </a:cubicBezTo>
                  <a:cubicBezTo>
                    <a:pt x="371992" y="1064790"/>
                    <a:pt x="369548" y="1057104"/>
                    <a:pt x="368226" y="1049179"/>
                  </a:cubicBezTo>
                  <a:cubicBezTo>
                    <a:pt x="365191" y="1030005"/>
                    <a:pt x="366698" y="1012250"/>
                    <a:pt x="382097" y="996887"/>
                  </a:cubicBezTo>
                  <a:cubicBezTo>
                    <a:pt x="395887" y="982837"/>
                    <a:pt x="407746" y="966768"/>
                    <a:pt x="420318" y="951385"/>
                  </a:cubicBezTo>
                  <a:cubicBezTo>
                    <a:pt x="424715" y="946215"/>
                    <a:pt x="428410" y="937835"/>
                    <a:pt x="436389" y="940056"/>
                  </a:cubicBezTo>
                  <a:cubicBezTo>
                    <a:pt x="444512" y="942635"/>
                    <a:pt x="447597" y="950342"/>
                    <a:pt x="448961" y="959091"/>
                  </a:cubicBezTo>
                  <a:cubicBezTo>
                    <a:pt x="449961" y="965978"/>
                    <a:pt x="453120" y="972417"/>
                    <a:pt x="451262" y="979675"/>
                  </a:cubicBezTo>
                  <a:cubicBezTo>
                    <a:pt x="451696" y="981542"/>
                    <a:pt x="452179" y="983590"/>
                    <a:pt x="452490" y="985457"/>
                  </a:cubicBezTo>
                  <a:cubicBezTo>
                    <a:pt x="454875" y="1006983"/>
                    <a:pt x="459787" y="1028310"/>
                    <a:pt x="457764" y="1050322"/>
                  </a:cubicBezTo>
                  <a:cubicBezTo>
                    <a:pt x="458188" y="1057608"/>
                    <a:pt x="462986" y="1064190"/>
                    <a:pt x="461469" y="1071782"/>
                  </a:cubicBezTo>
                  <a:cubicBezTo>
                    <a:pt x="467622" y="1071724"/>
                    <a:pt x="473978" y="1071648"/>
                    <a:pt x="480192" y="1071610"/>
                  </a:cubicBezTo>
                  <a:cubicBezTo>
                    <a:pt x="481214" y="1068877"/>
                    <a:pt x="483722" y="1068877"/>
                    <a:pt x="486395" y="1068953"/>
                  </a:cubicBezTo>
                  <a:cubicBezTo>
                    <a:pt x="487459" y="1067238"/>
                    <a:pt x="488801" y="1065495"/>
                    <a:pt x="489223" y="1063628"/>
                  </a:cubicBezTo>
                  <a:cubicBezTo>
                    <a:pt x="490700" y="1054875"/>
                    <a:pt x="494808" y="1049179"/>
                    <a:pt x="504221" y="1047207"/>
                  </a:cubicBezTo>
                  <a:cubicBezTo>
                    <a:pt x="516008" y="1044702"/>
                    <a:pt x="516886" y="1054637"/>
                    <a:pt x="521375" y="1060390"/>
                  </a:cubicBezTo>
                  <a:cubicBezTo>
                    <a:pt x="530210" y="1072125"/>
                    <a:pt x="529746" y="1084288"/>
                    <a:pt x="524203" y="1096947"/>
                  </a:cubicBezTo>
                  <a:cubicBezTo>
                    <a:pt x="523501" y="1101176"/>
                    <a:pt x="525503" y="1105824"/>
                    <a:pt x="521323" y="1109339"/>
                  </a:cubicBezTo>
                  <a:cubicBezTo>
                    <a:pt x="519558" y="1123179"/>
                    <a:pt x="516317" y="1136428"/>
                    <a:pt x="511693" y="1149553"/>
                  </a:cubicBezTo>
                  <a:cubicBezTo>
                    <a:pt x="511373" y="1151544"/>
                    <a:pt x="511168" y="1153363"/>
                    <a:pt x="510931" y="1155354"/>
                  </a:cubicBezTo>
                  <a:cubicBezTo>
                    <a:pt x="510991" y="1161707"/>
                    <a:pt x="510991" y="1168041"/>
                    <a:pt x="511168" y="1174480"/>
                  </a:cubicBezTo>
                  <a:cubicBezTo>
                    <a:pt x="511549" y="1176138"/>
                    <a:pt x="511693" y="1177776"/>
                    <a:pt x="511993" y="1179652"/>
                  </a:cubicBezTo>
                  <a:lnTo>
                    <a:pt x="533461" y="1179652"/>
                  </a:lnTo>
                  <a:cubicBezTo>
                    <a:pt x="538117" y="1174394"/>
                    <a:pt x="543761" y="1164536"/>
                    <a:pt x="548541" y="1166984"/>
                  </a:cubicBezTo>
                  <a:cubicBezTo>
                    <a:pt x="555817" y="1170908"/>
                    <a:pt x="558418" y="1180910"/>
                    <a:pt x="559018" y="1190463"/>
                  </a:cubicBezTo>
                  <a:cubicBezTo>
                    <a:pt x="559937" y="1205179"/>
                    <a:pt x="549274" y="1213476"/>
                    <a:pt x="542070" y="1223667"/>
                  </a:cubicBezTo>
                  <a:cubicBezTo>
                    <a:pt x="538881" y="1238879"/>
                    <a:pt x="527413" y="1248899"/>
                    <a:pt x="518227" y="1260234"/>
                  </a:cubicBezTo>
                  <a:cubicBezTo>
                    <a:pt x="518454" y="1264968"/>
                    <a:pt x="515914" y="1267778"/>
                    <a:pt x="511684" y="1269540"/>
                  </a:cubicBezTo>
                  <a:cubicBezTo>
                    <a:pt x="511981" y="1270464"/>
                    <a:pt x="511682" y="1271168"/>
                    <a:pt x="511177" y="1272016"/>
                  </a:cubicBezTo>
                  <a:cubicBezTo>
                    <a:pt x="509732" y="1277169"/>
                    <a:pt x="508329" y="1282484"/>
                    <a:pt x="502529" y="1285132"/>
                  </a:cubicBezTo>
                  <a:cubicBezTo>
                    <a:pt x="503157" y="1290676"/>
                    <a:pt x="498699" y="1293057"/>
                    <a:pt x="495551" y="1296238"/>
                  </a:cubicBezTo>
                  <a:cubicBezTo>
                    <a:pt x="491762" y="1300020"/>
                    <a:pt x="490410" y="1309707"/>
                    <a:pt x="484951" y="1307411"/>
                  </a:cubicBezTo>
                  <a:cubicBezTo>
                    <a:pt x="479181" y="1305058"/>
                    <a:pt x="480171" y="1296095"/>
                    <a:pt x="480430" y="1289371"/>
                  </a:cubicBezTo>
                  <a:cubicBezTo>
                    <a:pt x="482607" y="1238431"/>
                    <a:pt x="484413" y="1187387"/>
                    <a:pt x="486664" y="1136361"/>
                  </a:cubicBezTo>
                  <a:cubicBezTo>
                    <a:pt x="487230" y="1126293"/>
                    <a:pt x="484806" y="1116968"/>
                    <a:pt x="482432" y="1106757"/>
                  </a:cubicBezTo>
                  <a:cubicBezTo>
                    <a:pt x="464505" y="1122083"/>
                    <a:pt x="475610" y="1144429"/>
                    <a:pt x="464505" y="1162298"/>
                  </a:cubicBezTo>
                  <a:cubicBezTo>
                    <a:pt x="445947" y="1129532"/>
                    <a:pt x="420752" y="1100509"/>
                    <a:pt x="423632" y="1059971"/>
                  </a:cubicBezTo>
                  <a:cubicBezTo>
                    <a:pt x="424261" y="1051293"/>
                    <a:pt x="424157" y="1042854"/>
                    <a:pt x="411009" y="1044702"/>
                  </a:cubicBezTo>
                  <a:cubicBezTo>
                    <a:pt x="399026" y="1058513"/>
                    <a:pt x="399531" y="1073925"/>
                    <a:pt x="404620" y="1090060"/>
                  </a:cubicBezTo>
                  <a:cubicBezTo>
                    <a:pt x="407417" y="1098356"/>
                    <a:pt x="409253" y="1106719"/>
                    <a:pt x="411390" y="1115016"/>
                  </a:cubicBezTo>
                  <a:lnTo>
                    <a:pt x="411668" y="1115054"/>
                  </a:lnTo>
                  <a:cubicBezTo>
                    <a:pt x="415084" y="1118540"/>
                    <a:pt x="417294" y="1122559"/>
                    <a:pt x="417842" y="1127522"/>
                  </a:cubicBezTo>
                  <a:cubicBezTo>
                    <a:pt x="421040" y="1130017"/>
                    <a:pt x="422600" y="1133427"/>
                    <a:pt x="423517" y="1137476"/>
                  </a:cubicBezTo>
                  <a:cubicBezTo>
                    <a:pt x="423889" y="1137895"/>
                    <a:pt x="424014" y="1138542"/>
                    <a:pt x="423889" y="1139123"/>
                  </a:cubicBezTo>
                  <a:cubicBezTo>
                    <a:pt x="425664" y="1140028"/>
                    <a:pt x="427212" y="1141133"/>
                    <a:pt x="426325" y="1143486"/>
                  </a:cubicBezTo>
                  <a:cubicBezTo>
                    <a:pt x="426737" y="1144162"/>
                    <a:pt x="427037" y="1144715"/>
                    <a:pt x="427037" y="1145477"/>
                  </a:cubicBezTo>
                  <a:cubicBezTo>
                    <a:pt x="432064" y="1149010"/>
                    <a:pt x="433271" y="1155040"/>
                    <a:pt x="435428" y="1160031"/>
                  </a:cubicBezTo>
                  <a:cubicBezTo>
                    <a:pt x="438577" y="1167327"/>
                    <a:pt x="433529" y="1168222"/>
                    <a:pt x="427471" y="1166984"/>
                  </a:cubicBezTo>
                  <a:cubicBezTo>
                    <a:pt x="422135" y="1166984"/>
                    <a:pt x="417377" y="1170146"/>
                    <a:pt x="411369" y="1168222"/>
                  </a:cubicBezTo>
                  <a:cubicBezTo>
                    <a:pt x="405300" y="1166251"/>
                    <a:pt x="402514" y="1171280"/>
                    <a:pt x="400718" y="1176576"/>
                  </a:cubicBezTo>
                  <a:cubicBezTo>
                    <a:pt x="398510" y="1183243"/>
                    <a:pt x="404360" y="1182595"/>
                    <a:pt x="407560" y="1183996"/>
                  </a:cubicBezTo>
                  <a:cubicBezTo>
                    <a:pt x="414992" y="1187215"/>
                    <a:pt x="422341" y="1189892"/>
                    <a:pt x="429999" y="1192911"/>
                  </a:cubicBezTo>
                  <a:cubicBezTo>
                    <a:pt x="442353" y="1198293"/>
                    <a:pt x="443862" y="1210437"/>
                    <a:pt x="447493" y="1221000"/>
                  </a:cubicBezTo>
                  <a:cubicBezTo>
                    <a:pt x="457455" y="1249918"/>
                    <a:pt x="462936" y="1279569"/>
                    <a:pt x="455338" y="1310021"/>
                  </a:cubicBezTo>
                  <a:cubicBezTo>
                    <a:pt x="454709" y="1313069"/>
                    <a:pt x="454709" y="1313069"/>
                    <a:pt x="448567" y="1315669"/>
                  </a:cubicBezTo>
                  <a:cubicBezTo>
                    <a:pt x="439681" y="1316660"/>
                    <a:pt x="431703" y="1312516"/>
                    <a:pt x="423199" y="1310535"/>
                  </a:cubicBezTo>
                  <a:cubicBezTo>
                    <a:pt x="418285" y="1309507"/>
                    <a:pt x="411658" y="1306963"/>
                    <a:pt x="409067" y="1312116"/>
                  </a:cubicBezTo>
                  <a:cubicBezTo>
                    <a:pt x="406682" y="1317327"/>
                    <a:pt x="407405" y="1323642"/>
                    <a:pt x="413257" y="1328757"/>
                  </a:cubicBezTo>
                  <a:cubicBezTo>
                    <a:pt x="418377" y="1333110"/>
                    <a:pt x="424137" y="1335615"/>
                    <a:pt x="430340" y="1337939"/>
                  </a:cubicBezTo>
                  <a:cubicBezTo>
                    <a:pt x="435904" y="1340168"/>
                    <a:pt x="440858" y="1344101"/>
                    <a:pt x="446142" y="1347187"/>
                  </a:cubicBezTo>
                  <a:cubicBezTo>
                    <a:pt x="451386" y="1348654"/>
                    <a:pt x="452914" y="1350912"/>
                    <a:pt x="448424" y="1355274"/>
                  </a:cubicBezTo>
                  <a:cubicBezTo>
                    <a:pt x="438619" y="1364513"/>
                    <a:pt x="429308" y="1374105"/>
                    <a:pt x="419533" y="1383278"/>
                  </a:cubicBezTo>
                  <a:cubicBezTo>
                    <a:pt x="410101" y="1392260"/>
                    <a:pt x="406497" y="1382573"/>
                    <a:pt x="401471" y="1377553"/>
                  </a:cubicBezTo>
                  <a:cubicBezTo>
                    <a:pt x="389942" y="1368962"/>
                    <a:pt x="381469" y="1357865"/>
                    <a:pt x="379157" y="1344159"/>
                  </a:cubicBezTo>
                  <a:cubicBezTo>
                    <a:pt x="373264" y="1310659"/>
                    <a:pt x="364076" y="1276798"/>
                    <a:pt x="377969" y="1242927"/>
                  </a:cubicBezTo>
                  <a:cubicBezTo>
                    <a:pt x="382604" y="1230963"/>
                    <a:pt x="378784" y="1221648"/>
                    <a:pt x="369454" y="1214561"/>
                  </a:cubicBezTo>
                  <a:cubicBezTo>
                    <a:pt x="352084" y="1201865"/>
                    <a:pt x="349122" y="1184005"/>
                    <a:pt x="348502" y="1164660"/>
                  </a:cubicBezTo>
                  <a:cubicBezTo>
                    <a:pt x="347944" y="1152430"/>
                    <a:pt x="347562" y="1139533"/>
                    <a:pt x="344475" y="1128313"/>
                  </a:cubicBezTo>
                  <a:cubicBezTo>
                    <a:pt x="340317" y="1114215"/>
                    <a:pt x="347862" y="1110434"/>
                    <a:pt x="356789" y="1106719"/>
                  </a:cubicBezTo>
                  <a:close/>
                  <a:moveTo>
                    <a:pt x="241809" y="1349635"/>
                  </a:moveTo>
                  <a:cubicBezTo>
                    <a:pt x="243048" y="1336281"/>
                    <a:pt x="239323" y="1322565"/>
                    <a:pt x="245733" y="1309821"/>
                  </a:cubicBezTo>
                  <a:cubicBezTo>
                    <a:pt x="243698" y="1295791"/>
                    <a:pt x="253761" y="1290085"/>
                    <a:pt x="263835" y="1284551"/>
                  </a:cubicBezTo>
                  <a:cubicBezTo>
                    <a:pt x="269098" y="1271711"/>
                    <a:pt x="268345" y="1259615"/>
                    <a:pt x="261760" y="1246889"/>
                  </a:cubicBezTo>
                  <a:cubicBezTo>
                    <a:pt x="254360" y="1232326"/>
                    <a:pt x="243048" y="1217638"/>
                    <a:pt x="251377" y="1200102"/>
                  </a:cubicBezTo>
                  <a:cubicBezTo>
                    <a:pt x="261058" y="1179652"/>
                    <a:pt x="265477" y="1157040"/>
                    <a:pt x="278957" y="1138180"/>
                  </a:cubicBezTo>
                  <a:cubicBezTo>
                    <a:pt x="283466" y="1131475"/>
                    <a:pt x="284777" y="1130513"/>
                    <a:pt x="292446" y="1135104"/>
                  </a:cubicBezTo>
                  <a:cubicBezTo>
                    <a:pt x="324154" y="1154001"/>
                    <a:pt x="333825" y="1185158"/>
                    <a:pt x="342547" y="1217028"/>
                  </a:cubicBezTo>
                  <a:cubicBezTo>
                    <a:pt x="347594" y="1224667"/>
                    <a:pt x="349947" y="1232973"/>
                    <a:pt x="347976" y="1241993"/>
                  </a:cubicBezTo>
                  <a:cubicBezTo>
                    <a:pt x="348193" y="1243870"/>
                    <a:pt x="348336" y="1245651"/>
                    <a:pt x="348532" y="1247594"/>
                  </a:cubicBezTo>
                  <a:cubicBezTo>
                    <a:pt x="355066" y="1261605"/>
                    <a:pt x="350670" y="1276493"/>
                    <a:pt x="351392" y="1290952"/>
                  </a:cubicBezTo>
                  <a:cubicBezTo>
                    <a:pt x="352022" y="1291885"/>
                    <a:pt x="352331" y="1292723"/>
                    <a:pt x="352020" y="1293819"/>
                  </a:cubicBezTo>
                  <a:cubicBezTo>
                    <a:pt x="357667" y="1307945"/>
                    <a:pt x="354240" y="1322737"/>
                    <a:pt x="354479" y="1337224"/>
                  </a:cubicBezTo>
                  <a:cubicBezTo>
                    <a:pt x="354642" y="1337653"/>
                    <a:pt x="354716" y="1338234"/>
                    <a:pt x="354716" y="1338672"/>
                  </a:cubicBezTo>
                  <a:cubicBezTo>
                    <a:pt x="354716" y="1359780"/>
                    <a:pt x="365862" y="1373162"/>
                    <a:pt x="382635" y="1385707"/>
                  </a:cubicBezTo>
                  <a:cubicBezTo>
                    <a:pt x="399644" y="1398394"/>
                    <a:pt x="389891" y="1431398"/>
                    <a:pt x="368959" y="1438732"/>
                  </a:cubicBezTo>
                  <a:cubicBezTo>
                    <a:pt x="367255" y="1439285"/>
                    <a:pt x="364665" y="1439113"/>
                    <a:pt x="363106" y="1438170"/>
                  </a:cubicBezTo>
                  <a:cubicBezTo>
                    <a:pt x="359844" y="1435970"/>
                    <a:pt x="362848" y="1433694"/>
                    <a:pt x="363736" y="1431779"/>
                  </a:cubicBezTo>
                  <a:cubicBezTo>
                    <a:pt x="367544" y="1423340"/>
                    <a:pt x="372385" y="1415758"/>
                    <a:pt x="370764" y="1405681"/>
                  </a:cubicBezTo>
                  <a:cubicBezTo>
                    <a:pt x="369702" y="1398289"/>
                    <a:pt x="368122" y="1395136"/>
                    <a:pt x="360526" y="1400927"/>
                  </a:cubicBezTo>
                  <a:cubicBezTo>
                    <a:pt x="354488" y="1405595"/>
                    <a:pt x="347603" y="1409071"/>
                    <a:pt x="341369" y="1412948"/>
                  </a:cubicBezTo>
                  <a:cubicBezTo>
                    <a:pt x="322399" y="1382249"/>
                    <a:pt x="352340" y="1353283"/>
                    <a:pt x="344528" y="1322927"/>
                  </a:cubicBezTo>
                  <a:cubicBezTo>
                    <a:pt x="334340" y="1323366"/>
                    <a:pt x="325371" y="1324994"/>
                    <a:pt x="323419" y="1337653"/>
                  </a:cubicBezTo>
                  <a:cubicBezTo>
                    <a:pt x="319653" y="1327261"/>
                    <a:pt x="319602" y="1317460"/>
                    <a:pt x="321533" y="1307878"/>
                  </a:cubicBezTo>
                  <a:cubicBezTo>
                    <a:pt x="324535" y="1293086"/>
                    <a:pt x="324793" y="1278703"/>
                    <a:pt x="321026" y="1263939"/>
                  </a:cubicBezTo>
                  <a:cubicBezTo>
                    <a:pt x="313730" y="1236726"/>
                    <a:pt x="305585" y="1209694"/>
                    <a:pt x="294840" y="1183519"/>
                  </a:cubicBezTo>
                  <a:cubicBezTo>
                    <a:pt x="292199" y="1182186"/>
                    <a:pt x="289700" y="1180367"/>
                    <a:pt x="288628" y="1177433"/>
                  </a:cubicBezTo>
                  <a:cubicBezTo>
                    <a:pt x="281030" y="1176576"/>
                    <a:pt x="282816" y="1182138"/>
                    <a:pt x="282982" y="1186139"/>
                  </a:cubicBezTo>
                  <a:cubicBezTo>
                    <a:pt x="283125" y="1192330"/>
                    <a:pt x="283477" y="1198378"/>
                    <a:pt x="283570" y="1204389"/>
                  </a:cubicBezTo>
                  <a:lnTo>
                    <a:pt x="283477" y="1204389"/>
                  </a:lnTo>
                  <a:cubicBezTo>
                    <a:pt x="286170" y="1206075"/>
                    <a:pt x="286005" y="1208570"/>
                    <a:pt x="285438" y="1211151"/>
                  </a:cubicBezTo>
                  <a:cubicBezTo>
                    <a:pt x="285603" y="1212256"/>
                    <a:pt x="285954" y="1213371"/>
                    <a:pt x="286067" y="1214523"/>
                  </a:cubicBezTo>
                  <a:cubicBezTo>
                    <a:pt x="292354" y="1231249"/>
                    <a:pt x="296750" y="1248613"/>
                    <a:pt x="297752" y="1266473"/>
                  </a:cubicBezTo>
                  <a:cubicBezTo>
                    <a:pt x="298164" y="1268473"/>
                    <a:pt x="298432" y="1270397"/>
                    <a:pt x="298577" y="1272302"/>
                  </a:cubicBezTo>
                  <a:cubicBezTo>
                    <a:pt x="304739" y="1291923"/>
                    <a:pt x="302314" y="1311488"/>
                    <a:pt x="298164" y="1330766"/>
                  </a:cubicBezTo>
                  <a:cubicBezTo>
                    <a:pt x="296658" y="1337653"/>
                    <a:pt x="291394" y="1333348"/>
                    <a:pt x="287338" y="1331900"/>
                  </a:cubicBezTo>
                  <a:cubicBezTo>
                    <a:pt x="280030" y="1329442"/>
                    <a:pt x="276561" y="1319946"/>
                    <a:pt x="267262" y="1321451"/>
                  </a:cubicBezTo>
                  <a:cubicBezTo>
                    <a:pt x="249159" y="1331795"/>
                    <a:pt x="250015" y="1336615"/>
                    <a:pt x="266643" y="1348645"/>
                  </a:cubicBezTo>
                  <a:cubicBezTo>
                    <a:pt x="288887" y="1364628"/>
                    <a:pt x="305122" y="1386059"/>
                    <a:pt x="314648" y="1411700"/>
                  </a:cubicBezTo>
                  <a:cubicBezTo>
                    <a:pt x="317208" y="1412948"/>
                    <a:pt x="317413" y="1415377"/>
                    <a:pt x="317547" y="1417673"/>
                  </a:cubicBezTo>
                  <a:cubicBezTo>
                    <a:pt x="321077" y="1425626"/>
                    <a:pt x="324288" y="1433694"/>
                    <a:pt x="328231" y="1441456"/>
                  </a:cubicBezTo>
                  <a:cubicBezTo>
                    <a:pt x="334320" y="1453553"/>
                    <a:pt x="330511" y="1460887"/>
                    <a:pt x="317455" y="1464259"/>
                  </a:cubicBezTo>
                  <a:cubicBezTo>
                    <a:pt x="301860" y="1473441"/>
                    <a:pt x="286262" y="1482414"/>
                    <a:pt x="267901" y="1486043"/>
                  </a:cubicBezTo>
                  <a:cubicBezTo>
                    <a:pt x="261296" y="1487291"/>
                    <a:pt x="259831" y="1483795"/>
                    <a:pt x="257807" y="1479880"/>
                  </a:cubicBezTo>
                  <a:cubicBezTo>
                    <a:pt x="252688" y="1468564"/>
                    <a:pt x="247755" y="1457096"/>
                    <a:pt x="242160" y="1445838"/>
                  </a:cubicBezTo>
                  <a:cubicBezTo>
                    <a:pt x="240014" y="1441352"/>
                    <a:pt x="240591" y="1438170"/>
                    <a:pt x="244461" y="1435532"/>
                  </a:cubicBezTo>
                  <a:cubicBezTo>
                    <a:pt x="246257" y="1434446"/>
                    <a:pt x="248230" y="1433922"/>
                    <a:pt x="249799" y="1432684"/>
                  </a:cubicBezTo>
                  <a:cubicBezTo>
                    <a:pt x="268728" y="1419511"/>
                    <a:pt x="268748" y="1418577"/>
                    <a:pt x="254711" y="1399975"/>
                  </a:cubicBezTo>
                  <a:cubicBezTo>
                    <a:pt x="253545" y="1398737"/>
                    <a:pt x="252502" y="1397537"/>
                    <a:pt x="251387" y="1396365"/>
                  </a:cubicBezTo>
                  <a:cubicBezTo>
                    <a:pt x="249426" y="1396213"/>
                    <a:pt x="248384" y="1395136"/>
                    <a:pt x="248157" y="1393298"/>
                  </a:cubicBezTo>
                  <a:cubicBezTo>
                    <a:pt x="233522" y="1380487"/>
                    <a:pt x="237692" y="1365009"/>
                    <a:pt x="241809" y="1349635"/>
                  </a:cubicBezTo>
                  <a:close/>
                  <a:moveTo>
                    <a:pt x="163965" y="1603115"/>
                  </a:moveTo>
                  <a:cubicBezTo>
                    <a:pt x="163181" y="1605944"/>
                    <a:pt x="161148" y="1606420"/>
                    <a:pt x="158567" y="1605210"/>
                  </a:cubicBezTo>
                  <a:cubicBezTo>
                    <a:pt x="159600" y="1603810"/>
                    <a:pt x="160620" y="1602477"/>
                    <a:pt x="161510" y="1601076"/>
                  </a:cubicBezTo>
                  <a:cubicBezTo>
                    <a:pt x="167536" y="1592494"/>
                    <a:pt x="177104" y="1588018"/>
                    <a:pt x="184567" y="1581093"/>
                  </a:cubicBezTo>
                  <a:cubicBezTo>
                    <a:pt x="189273" y="1576616"/>
                    <a:pt x="192225" y="1569739"/>
                    <a:pt x="185074" y="1567386"/>
                  </a:cubicBezTo>
                  <a:cubicBezTo>
                    <a:pt x="166246" y="1561271"/>
                    <a:pt x="182193" y="1555080"/>
                    <a:pt x="185578" y="1552766"/>
                  </a:cubicBezTo>
                  <a:cubicBezTo>
                    <a:pt x="204951" y="1539116"/>
                    <a:pt x="226193" y="1528791"/>
                    <a:pt x="247910" y="1519161"/>
                  </a:cubicBezTo>
                  <a:cubicBezTo>
                    <a:pt x="288287" y="1501226"/>
                    <a:pt x="331409" y="1488967"/>
                    <a:pt x="368721" y="1464640"/>
                  </a:cubicBezTo>
                  <a:cubicBezTo>
                    <a:pt x="401863" y="1442980"/>
                    <a:pt x="427223" y="1413548"/>
                    <a:pt x="452241" y="1383821"/>
                  </a:cubicBezTo>
                  <a:cubicBezTo>
                    <a:pt x="497987" y="1329214"/>
                    <a:pt x="535495" y="1267930"/>
                    <a:pt x="587288" y="1217857"/>
                  </a:cubicBezTo>
                  <a:cubicBezTo>
                    <a:pt x="631360" y="1175214"/>
                    <a:pt x="683720" y="1148601"/>
                    <a:pt x="742697" y="1133694"/>
                  </a:cubicBezTo>
                  <a:cubicBezTo>
                    <a:pt x="796110" y="1120264"/>
                    <a:pt x="850265" y="1109053"/>
                    <a:pt x="903844" y="1095994"/>
                  </a:cubicBezTo>
                  <a:cubicBezTo>
                    <a:pt x="936986" y="1087927"/>
                    <a:pt x="970683" y="1083164"/>
                    <a:pt x="1004259" y="1077963"/>
                  </a:cubicBezTo>
                  <a:cubicBezTo>
                    <a:pt x="1009212" y="1077239"/>
                    <a:pt x="1014508" y="1077763"/>
                    <a:pt x="1019461" y="1077763"/>
                  </a:cubicBezTo>
                  <a:cubicBezTo>
                    <a:pt x="1019747" y="1079106"/>
                    <a:pt x="1020013" y="1080430"/>
                    <a:pt x="1020356" y="1081602"/>
                  </a:cubicBezTo>
                  <a:cubicBezTo>
                    <a:pt x="1002421" y="1087869"/>
                    <a:pt x="984695" y="1094108"/>
                    <a:pt x="965806" y="1100671"/>
                  </a:cubicBezTo>
                  <a:cubicBezTo>
                    <a:pt x="976636" y="1109053"/>
                    <a:pt x="989590" y="1108005"/>
                    <a:pt x="1002011" y="1114130"/>
                  </a:cubicBezTo>
                  <a:cubicBezTo>
                    <a:pt x="984161" y="1119988"/>
                    <a:pt x="967921" y="1125417"/>
                    <a:pt x="947360" y="1132113"/>
                  </a:cubicBezTo>
                  <a:cubicBezTo>
                    <a:pt x="962130" y="1136637"/>
                    <a:pt x="973169" y="1140200"/>
                    <a:pt x="985657" y="1144162"/>
                  </a:cubicBezTo>
                  <a:cubicBezTo>
                    <a:pt x="970521" y="1150953"/>
                    <a:pt x="956396" y="1157316"/>
                    <a:pt x="942385" y="1163707"/>
                  </a:cubicBezTo>
                  <a:cubicBezTo>
                    <a:pt x="948309" y="1174328"/>
                    <a:pt x="959339" y="1168041"/>
                    <a:pt x="969340" y="1173109"/>
                  </a:cubicBezTo>
                  <a:cubicBezTo>
                    <a:pt x="954386" y="1180852"/>
                    <a:pt x="941383" y="1187425"/>
                    <a:pt x="925344" y="1195702"/>
                  </a:cubicBezTo>
                  <a:cubicBezTo>
                    <a:pt x="939412" y="1199007"/>
                    <a:pt x="949775" y="1201569"/>
                    <a:pt x="961301" y="1204189"/>
                  </a:cubicBezTo>
                  <a:cubicBezTo>
                    <a:pt x="942787" y="1218276"/>
                    <a:pt x="921918" y="1219705"/>
                    <a:pt x="902420" y="1222172"/>
                  </a:cubicBezTo>
                  <a:cubicBezTo>
                    <a:pt x="832132" y="1231506"/>
                    <a:pt x="769212" y="1257767"/>
                    <a:pt x="711320" y="1296838"/>
                  </a:cubicBezTo>
                  <a:cubicBezTo>
                    <a:pt x="663293" y="1329214"/>
                    <a:pt x="624279" y="1370552"/>
                    <a:pt x="590569" y="1416844"/>
                  </a:cubicBezTo>
                  <a:cubicBezTo>
                    <a:pt x="555580" y="1464755"/>
                    <a:pt x="513582" y="1504798"/>
                    <a:pt x="464049" y="1538288"/>
                  </a:cubicBezTo>
                  <a:cubicBezTo>
                    <a:pt x="396621" y="1583979"/>
                    <a:pt x="323400" y="1617869"/>
                    <a:pt x="249147" y="1650806"/>
                  </a:cubicBezTo>
                  <a:cubicBezTo>
                    <a:pt x="214840" y="1666046"/>
                    <a:pt x="182947" y="1686420"/>
                    <a:pt x="148731" y="1703623"/>
                  </a:cubicBezTo>
                  <a:cubicBezTo>
                    <a:pt x="156813" y="1689468"/>
                    <a:pt x="168951" y="1677838"/>
                    <a:pt x="177476" y="1661827"/>
                  </a:cubicBezTo>
                  <a:cubicBezTo>
                    <a:pt x="170746" y="1664370"/>
                    <a:pt x="165885" y="1666104"/>
                    <a:pt x="160890" y="1667828"/>
                  </a:cubicBezTo>
                  <a:cubicBezTo>
                    <a:pt x="160012" y="1670790"/>
                    <a:pt x="158051" y="1671218"/>
                    <a:pt x="155522" y="1669971"/>
                  </a:cubicBezTo>
                  <a:cubicBezTo>
                    <a:pt x="156564" y="1668589"/>
                    <a:pt x="157422" y="1667218"/>
                    <a:pt x="158320" y="1665742"/>
                  </a:cubicBezTo>
                  <a:cubicBezTo>
                    <a:pt x="163357" y="1653331"/>
                    <a:pt x="176856" y="1647463"/>
                    <a:pt x="183597" y="1635214"/>
                  </a:cubicBezTo>
                  <a:cubicBezTo>
                    <a:pt x="170066" y="1636376"/>
                    <a:pt x="159589" y="1643386"/>
                    <a:pt x="144674" y="1647225"/>
                  </a:cubicBezTo>
                  <a:cubicBezTo>
                    <a:pt x="154615" y="1628651"/>
                    <a:pt x="169334" y="1616707"/>
                    <a:pt x="180521" y="1601524"/>
                  </a:cubicBezTo>
                  <a:cubicBezTo>
                    <a:pt x="173884" y="1598000"/>
                    <a:pt x="169334" y="1604991"/>
                    <a:pt x="163965" y="1603115"/>
                  </a:cubicBezTo>
                  <a:close/>
                  <a:moveTo>
                    <a:pt x="143178" y="1772536"/>
                  </a:moveTo>
                  <a:cubicBezTo>
                    <a:pt x="146553" y="1765735"/>
                    <a:pt x="152963" y="1761935"/>
                    <a:pt x="158567" y="1757439"/>
                  </a:cubicBezTo>
                  <a:cubicBezTo>
                    <a:pt x="162231" y="1754238"/>
                    <a:pt x="165069" y="1751133"/>
                    <a:pt x="162880" y="1745675"/>
                  </a:cubicBezTo>
                  <a:cubicBezTo>
                    <a:pt x="159774" y="1737808"/>
                    <a:pt x="156813" y="1744704"/>
                    <a:pt x="153913" y="1745675"/>
                  </a:cubicBezTo>
                  <a:cubicBezTo>
                    <a:pt x="147999" y="1747476"/>
                    <a:pt x="144695" y="1743561"/>
                    <a:pt x="146347" y="1739722"/>
                  </a:cubicBezTo>
                  <a:cubicBezTo>
                    <a:pt x="149763" y="1731474"/>
                    <a:pt x="148731" y="1722215"/>
                    <a:pt x="160394" y="1716300"/>
                  </a:cubicBezTo>
                  <a:cubicBezTo>
                    <a:pt x="202505" y="1694450"/>
                    <a:pt x="244472" y="1672285"/>
                    <a:pt x="287544" y="1652349"/>
                  </a:cubicBezTo>
                  <a:cubicBezTo>
                    <a:pt x="310870" y="1641519"/>
                    <a:pt x="335858" y="1634366"/>
                    <a:pt x="359153" y="1623412"/>
                  </a:cubicBezTo>
                  <a:cubicBezTo>
                    <a:pt x="396743" y="1605486"/>
                    <a:pt x="434252" y="1587151"/>
                    <a:pt x="468332" y="1563119"/>
                  </a:cubicBezTo>
                  <a:cubicBezTo>
                    <a:pt x="492795" y="1545879"/>
                    <a:pt x="516296" y="1528086"/>
                    <a:pt x="537528" y="1507303"/>
                  </a:cubicBezTo>
                  <a:cubicBezTo>
                    <a:pt x="547788" y="1497035"/>
                    <a:pt x="557893" y="1486824"/>
                    <a:pt x="566273" y="1475118"/>
                  </a:cubicBezTo>
                  <a:cubicBezTo>
                    <a:pt x="568389" y="1472251"/>
                    <a:pt x="570990" y="1469041"/>
                    <a:pt x="575200" y="1469936"/>
                  </a:cubicBezTo>
                  <a:cubicBezTo>
                    <a:pt x="580022" y="1470793"/>
                    <a:pt x="580321" y="1475708"/>
                    <a:pt x="579743" y="1478442"/>
                  </a:cubicBezTo>
                  <a:cubicBezTo>
                    <a:pt x="576192" y="1499464"/>
                    <a:pt x="582963" y="1520266"/>
                    <a:pt x="581105" y="1541269"/>
                  </a:cubicBezTo>
                  <a:cubicBezTo>
                    <a:pt x="580022" y="1552518"/>
                    <a:pt x="577720" y="1554042"/>
                    <a:pt x="567502" y="1547832"/>
                  </a:cubicBezTo>
                  <a:cubicBezTo>
                    <a:pt x="548088" y="1536144"/>
                    <a:pt x="545908" y="1537402"/>
                    <a:pt x="532408" y="1554880"/>
                  </a:cubicBezTo>
                  <a:cubicBezTo>
                    <a:pt x="521075" y="1569577"/>
                    <a:pt x="508040" y="1582998"/>
                    <a:pt x="497790" y="1598257"/>
                  </a:cubicBezTo>
                  <a:cubicBezTo>
                    <a:pt x="480792" y="1623746"/>
                    <a:pt x="458704" y="1647606"/>
                    <a:pt x="467064" y="1682687"/>
                  </a:cubicBezTo>
                  <a:cubicBezTo>
                    <a:pt x="469118" y="1691488"/>
                    <a:pt x="460872" y="1699812"/>
                    <a:pt x="453667" y="1703956"/>
                  </a:cubicBezTo>
                  <a:cubicBezTo>
                    <a:pt x="409665" y="1729492"/>
                    <a:pt x="364995" y="1753333"/>
                    <a:pt x="315462" y="1768240"/>
                  </a:cubicBezTo>
                  <a:cubicBezTo>
                    <a:pt x="296245" y="1774241"/>
                    <a:pt x="279121" y="1787223"/>
                    <a:pt x="261740" y="1798272"/>
                  </a:cubicBezTo>
                  <a:cubicBezTo>
                    <a:pt x="251718" y="1804540"/>
                    <a:pt x="241180" y="1809988"/>
                    <a:pt x="230652" y="1814894"/>
                  </a:cubicBezTo>
                  <a:cubicBezTo>
                    <a:pt x="218762" y="1820294"/>
                    <a:pt x="209008" y="1810217"/>
                    <a:pt x="198264" y="1807493"/>
                  </a:cubicBezTo>
                  <a:cubicBezTo>
                    <a:pt x="184546" y="1803864"/>
                    <a:pt x="172016" y="1796777"/>
                    <a:pt x="162210" y="1813665"/>
                  </a:cubicBezTo>
                  <a:cubicBezTo>
                    <a:pt x="160745" y="1816199"/>
                    <a:pt x="157659" y="1819418"/>
                    <a:pt x="153685" y="1814398"/>
                  </a:cubicBezTo>
                  <a:cubicBezTo>
                    <a:pt x="149257" y="1808540"/>
                    <a:pt x="147214" y="1802378"/>
                    <a:pt x="154212" y="1798958"/>
                  </a:cubicBezTo>
                  <a:cubicBezTo>
                    <a:pt x="166102" y="1793110"/>
                    <a:pt x="165246" y="1780575"/>
                    <a:pt x="171303" y="1771250"/>
                  </a:cubicBezTo>
                  <a:cubicBezTo>
                    <a:pt x="165659" y="1776327"/>
                    <a:pt x="158887" y="1778127"/>
                    <a:pt x="152705" y="1781328"/>
                  </a:cubicBezTo>
                  <a:cubicBezTo>
                    <a:pt x="149454" y="1783109"/>
                    <a:pt x="146832" y="1786442"/>
                    <a:pt x="143498" y="1782766"/>
                  </a:cubicBezTo>
                  <a:cubicBezTo>
                    <a:pt x="140845" y="1779642"/>
                    <a:pt x="141526" y="1775898"/>
                    <a:pt x="143178" y="1772536"/>
                  </a:cubicBezTo>
                  <a:close/>
                  <a:moveTo>
                    <a:pt x="187313" y="1984715"/>
                  </a:moveTo>
                  <a:cubicBezTo>
                    <a:pt x="191792" y="1995735"/>
                    <a:pt x="197551" y="2009832"/>
                    <a:pt x="191265" y="2018090"/>
                  </a:cubicBezTo>
                  <a:cubicBezTo>
                    <a:pt x="180304" y="2032740"/>
                    <a:pt x="164719" y="2044656"/>
                    <a:pt x="143735" y="2049752"/>
                  </a:cubicBezTo>
                  <a:cubicBezTo>
                    <a:pt x="148236" y="2036483"/>
                    <a:pt x="157628" y="2029130"/>
                    <a:pt x="164543" y="2019957"/>
                  </a:cubicBezTo>
                  <a:cubicBezTo>
                    <a:pt x="168661" y="2014461"/>
                    <a:pt x="177208" y="2008299"/>
                    <a:pt x="172729" y="2001888"/>
                  </a:cubicBezTo>
                  <a:cubicBezTo>
                    <a:pt x="168372" y="1995592"/>
                    <a:pt x="161136" y="2004365"/>
                    <a:pt x="152797" y="2004784"/>
                  </a:cubicBezTo>
                  <a:cubicBezTo>
                    <a:pt x="154356" y="1979809"/>
                    <a:pt x="179179" y="1967808"/>
                    <a:pt x="185733" y="1945615"/>
                  </a:cubicBezTo>
                  <a:cubicBezTo>
                    <a:pt x="171511" y="1943186"/>
                    <a:pt x="166133" y="1952997"/>
                    <a:pt x="159774" y="1961379"/>
                  </a:cubicBezTo>
                  <a:cubicBezTo>
                    <a:pt x="157215" y="1964684"/>
                    <a:pt x="155264" y="1971856"/>
                    <a:pt x="149670" y="1968589"/>
                  </a:cubicBezTo>
                  <a:cubicBezTo>
                    <a:pt x="143519" y="1965208"/>
                    <a:pt x="147544" y="1959445"/>
                    <a:pt x="150393" y="1955225"/>
                  </a:cubicBezTo>
                  <a:cubicBezTo>
                    <a:pt x="157855" y="1942890"/>
                    <a:pt x="168652" y="1933556"/>
                    <a:pt x="181740" y="1927174"/>
                  </a:cubicBezTo>
                  <a:cubicBezTo>
                    <a:pt x="184557" y="1925917"/>
                    <a:pt x="187829" y="1923545"/>
                    <a:pt x="191038" y="1927793"/>
                  </a:cubicBezTo>
                  <a:cubicBezTo>
                    <a:pt x="193453" y="1930975"/>
                    <a:pt x="197303" y="1933013"/>
                    <a:pt x="200070" y="1935928"/>
                  </a:cubicBezTo>
                  <a:cubicBezTo>
                    <a:pt x="218462" y="1955864"/>
                    <a:pt x="218462" y="1955930"/>
                    <a:pt x="191854" y="1962588"/>
                  </a:cubicBezTo>
                  <a:cubicBezTo>
                    <a:pt x="187725" y="1963607"/>
                    <a:pt x="185825" y="1965703"/>
                    <a:pt x="185062" y="1969675"/>
                  </a:cubicBezTo>
                  <a:cubicBezTo>
                    <a:pt x="184288" y="1974894"/>
                    <a:pt x="185320" y="1979809"/>
                    <a:pt x="187313" y="1984715"/>
                  </a:cubicBezTo>
                  <a:close/>
                  <a:moveTo>
                    <a:pt x="167536" y="1890465"/>
                  </a:moveTo>
                  <a:cubicBezTo>
                    <a:pt x="172460" y="1889589"/>
                    <a:pt x="173884" y="1892056"/>
                    <a:pt x="173223" y="1896551"/>
                  </a:cubicBezTo>
                  <a:cubicBezTo>
                    <a:pt x="171748" y="1908791"/>
                    <a:pt x="164275" y="1917668"/>
                    <a:pt x="155037" y="1925098"/>
                  </a:cubicBezTo>
                  <a:cubicBezTo>
                    <a:pt x="152054" y="1927555"/>
                    <a:pt x="148586" y="1926793"/>
                    <a:pt x="146853" y="1921897"/>
                  </a:cubicBezTo>
                  <a:cubicBezTo>
                    <a:pt x="142384" y="1909115"/>
                    <a:pt x="154077" y="1891084"/>
                    <a:pt x="167536" y="1890465"/>
                  </a:cubicBezTo>
                  <a:close/>
                  <a:moveTo>
                    <a:pt x="274849" y="2301107"/>
                  </a:moveTo>
                  <a:cubicBezTo>
                    <a:pt x="272753" y="2298154"/>
                    <a:pt x="268748" y="2294354"/>
                    <a:pt x="271659" y="2290067"/>
                  </a:cubicBezTo>
                  <a:cubicBezTo>
                    <a:pt x="274848" y="2285086"/>
                    <a:pt x="278780" y="2289829"/>
                    <a:pt x="282383" y="2290067"/>
                  </a:cubicBezTo>
                  <a:cubicBezTo>
                    <a:pt x="298556" y="2291039"/>
                    <a:pt x="306793" y="2301154"/>
                    <a:pt x="314844" y="2314604"/>
                  </a:cubicBezTo>
                  <a:cubicBezTo>
                    <a:pt x="297907" y="2316623"/>
                    <a:pt x="283911" y="2314928"/>
                    <a:pt x="274849" y="2301107"/>
                  </a:cubicBezTo>
                  <a:close/>
                  <a:moveTo>
                    <a:pt x="325703" y="2241376"/>
                  </a:moveTo>
                  <a:cubicBezTo>
                    <a:pt x="317538" y="2252996"/>
                    <a:pt x="297616" y="2257539"/>
                    <a:pt x="283250" y="2250653"/>
                  </a:cubicBezTo>
                  <a:cubicBezTo>
                    <a:pt x="262752" y="2240804"/>
                    <a:pt x="245638" y="2225764"/>
                    <a:pt x="227112" y="2213010"/>
                  </a:cubicBezTo>
                  <a:cubicBezTo>
                    <a:pt x="205240" y="2198113"/>
                    <a:pt x="181429" y="2186902"/>
                    <a:pt x="161240" y="2169386"/>
                  </a:cubicBezTo>
                  <a:cubicBezTo>
                    <a:pt x="157618" y="2166166"/>
                    <a:pt x="151270" y="2164937"/>
                    <a:pt x="151610" y="2159060"/>
                  </a:cubicBezTo>
                  <a:cubicBezTo>
                    <a:pt x="152054" y="2150545"/>
                    <a:pt x="161354" y="2159937"/>
                    <a:pt x="164150" y="2152126"/>
                  </a:cubicBezTo>
                  <a:cubicBezTo>
                    <a:pt x="156812" y="2147631"/>
                    <a:pt x="148225" y="2145230"/>
                    <a:pt x="141630" y="2137820"/>
                  </a:cubicBezTo>
                  <a:cubicBezTo>
                    <a:pt x="148731" y="2133886"/>
                    <a:pt x="154233" y="2135658"/>
                    <a:pt x="159774" y="2138648"/>
                  </a:cubicBezTo>
                  <a:cubicBezTo>
                    <a:pt x="161756" y="2139877"/>
                    <a:pt x="163645" y="2140239"/>
                    <a:pt x="165069" y="2138058"/>
                  </a:cubicBezTo>
                  <a:cubicBezTo>
                    <a:pt x="166567" y="2136229"/>
                    <a:pt x="165441" y="2134562"/>
                    <a:pt x="164470" y="2132533"/>
                  </a:cubicBezTo>
                  <a:cubicBezTo>
                    <a:pt x="160620" y="2125132"/>
                    <a:pt x="151693" y="2124209"/>
                    <a:pt x="145944" y="2119236"/>
                  </a:cubicBezTo>
                  <a:cubicBezTo>
                    <a:pt x="143910" y="2117665"/>
                    <a:pt x="141041" y="2116836"/>
                    <a:pt x="142177" y="2113512"/>
                  </a:cubicBezTo>
                  <a:cubicBezTo>
                    <a:pt x="143178" y="2110245"/>
                    <a:pt x="146264" y="2110978"/>
                    <a:pt x="148586" y="2111264"/>
                  </a:cubicBezTo>
                  <a:cubicBezTo>
                    <a:pt x="153406" y="2111502"/>
                    <a:pt x="157679" y="2112350"/>
                    <a:pt x="161756" y="2115512"/>
                  </a:cubicBezTo>
                  <a:cubicBezTo>
                    <a:pt x="166122" y="2118779"/>
                    <a:pt x="172976" y="2120303"/>
                    <a:pt x="176238" y="2116293"/>
                  </a:cubicBezTo>
                  <a:cubicBezTo>
                    <a:pt x="180366" y="2111150"/>
                    <a:pt x="175248" y="2105482"/>
                    <a:pt x="171098" y="2101930"/>
                  </a:cubicBezTo>
                  <a:cubicBezTo>
                    <a:pt x="167062" y="2098367"/>
                    <a:pt x="163532" y="2093414"/>
                    <a:pt x="156937" y="2093109"/>
                  </a:cubicBezTo>
                  <a:cubicBezTo>
                    <a:pt x="152415" y="2093062"/>
                    <a:pt x="149278" y="2089928"/>
                    <a:pt x="147430" y="2086137"/>
                  </a:cubicBezTo>
                  <a:cubicBezTo>
                    <a:pt x="146336" y="2083861"/>
                    <a:pt x="148720" y="2082222"/>
                    <a:pt x="150496" y="2081775"/>
                  </a:cubicBezTo>
                  <a:cubicBezTo>
                    <a:pt x="155512" y="2080879"/>
                    <a:pt x="160878" y="2079127"/>
                    <a:pt x="165060" y="2083861"/>
                  </a:cubicBezTo>
                  <a:cubicBezTo>
                    <a:pt x="167681" y="2087166"/>
                    <a:pt x="170126" y="2090433"/>
                    <a:pt x="172563" y="2093728"/>
                  </a:cubicBezTo>
                  <a:cubicBezTo>
                    <a:pt x="176856" y="2099539"/>
                    <a:pt x="183781" y="2102711"/>
                    <a:pt x="188520" y="2098110"/>
                  </a:cubicBezTo>
                  <a:cubicBezTo>
                    <a:pt x="195116" y="2091728"/>
                    <a:pt x="187373" y="2087070"/>
                    <a:pt x="182750" y="2083765"/>
                  </a:cubicBezTo>
                  <a:cubicBezTo>
                    <a:pt x="176535" y="2079317"/>
                    <a:pt x="167898" y="2077088"/>
                    <a:pt x="172563" y="2066154"/>
                  </a:cubicBezTo>
                  <a:cubicBezTo>
                    <a:pt x="188014" y="2068811"/>
                    <a:pt x="199079" y="2077412"/>
                    <a:pt x="207408" y="2090166"/>
                  </a:cubicBezTo>
                  <a:cubicBezTo>
                    <a:pt x="216821" y="2104816"/>
                    <a:pt x="228216" y="2115512"/>
                    <a:pt x="248643" y="2113369"/>
                  </a:cubicBezTo>
                  <a:cubicBezTo>
                    <a:pt x="259634" y="2112102"/>
                    <a:pt x="267179" y="2121370"/>
                    <a:pt x="263535" y="2131628"/>
                  </a:cubicBezTo>
                  <a:cubicBezTo>
                    <a:pt x="253699" y="2159880"/>
                    <a:pt x="272029" y="2172643"/>
                    <a:pt x="290877" y="2186712"/>
                  </a:cubicBezTo>
                  <a:cubicBezTo>
                    <a:pt x="299805" y="2193331"/>
                    <a:pt x="310138" y="2197618"/>
                    <a:pt x="317971" y="2206085"/>
                  </a:cubicBezTo>
                  <a:cubicBezTo>
                    <a:pt x="327643" y="2216658"/>
                    <a:pt x="335579" y="2227078"/>
                    <a:pt x="325703" y="2241376"/>
                  </a:cubicBezTo>
                  <a:close/>
                  <a:moveTo>
                    <a:pt x="349152" y="2328872"/>
                  </a:moveTo>
                  <a:cubicBezTo>
                    <a:pt x="350659" y="2336711"/>
                    <a:pt x="344755" y="2335883"/>
                    <a:pt x="339708" y="2337121"/>
                  </a:cubicBezTo>
                  <a:cubicBezTo>
                    <a:pt x="333877" y="2338635"/>
                    <a:pt x="334228" y="2335606"/>
                    <a:pt x="334145" y="2331958"/>
                  </a:cubicBezTo>
                  <a:cubicBezTo>
                    <a:pt x="333825" y="2326072"/>
                    <a:pt x="336209" y="2322347"/>
                    <a:pt x="342485" y="2321709"/>
                  </a:cubicBezTo>
                  <a:cubicBezTo>
                    <a:pt x="348336" y="2321100"/>
                    <a:pt x="349854" y="2323938"/>
                    <a:pt x="349152" y="2328872"/>
                  </a:cubicBezTo>
                  <a:close/>
                  <a:moveTo>
                    <a:pt x="361775" y="2299649"/>
                  </a:moveTo>
                  <a:cubicBezTo>
                    <a:pt x="349421" y="2295420"/>
                    <a:pt x="341535" y="2287219"/>
                    <a:pt x="341742" y="2272675"/>
                  </a:cubicBezTo>
                  <a:cubicBezTo>
                    <a:pt x="349421" y="2281038"/>
                    <a:pt x="361981" y="2278780"/>
                    <a:pt x="369082" y="2286743"/>
                  </a:cubicBezTo>
                  <a:cubicBezTo>
                    <a:pt x="371435" y="2289401"/>
                    <a:pt x="376875" y="2291277"/>
                    <a:pt x="373129" y="2296630"/>
                  </a:cubicBezTo>
                  <a:cubicBezTo>
                    <a:pt x="370290" y="2300802"/>
                    <a:pt x="365459" y="2300926"/>
                    <a:pt x="361775" y="2299649"/>
                  </a:cubicBezTo>
                  <a:close/>
                  <a:moveTo>
                    <a:pt x="453110" y="2518362"/>
                  </a:moveTo>
                  <a:cubicBezTo>
                    <a:pt x="422289" y="2523696"/>
                    <a:pt x="390375" y="2520639"/>
                    <a:pt x="360196" y="2531421"/>
                  </a:cubicBezTo>
                  <a:cubicBezTo>
                    <a:pt x="355262" y="2533231"/>
                    <a:pt x="353662" y="2530002"/>
                    <a:pt x="350318" y="2527821"/>
                  </a:cubicBezTo>
                  <a:cubicBezTo>
                    <a:pt x="328406" y="2513457"/>
                    <a:pt x="319045" y="2516467"/>
                    <a:pt x="310622" y="2535736"/>
                  </a:cubicBezTo>
                  <a:cubicBezTo>
                    <a:pt x="304212" y="2550357"/>
                    <a:pt x="288472" y="2556244"/>
                    <a:pt x="271659" y="2556129"/>
                  </a:cubicBezTo>
                  <a:cubicBezTo>
                    <a:pt x="239807" y="2555719"/>
                    <a:pt x="207975" y="2557548"/>
                    <a:pt x="175277" y="2551338"/>
                  </a:cubicBezTo>
                  <a:cubicBezTo>
                    <a:pt x="180821" y="2541708"/>
                    <a:pt x="186527" y="2531821"/>
                    <a:pt x="192917" y="2520925"/>
                  </a:cubicBezTo>
                  <a:cubicBezTo>
                    <a:pt x="180521" y="2519239"/>
                    <a:pt x="168652" y="2516115"/>
                    <a:pt x="156730" y="2516400"/>
                  </a:cubicBezTo>
                  <a:cubicBezTo>
                    <a:pt x="140019" y="2516962"/>
                    <a:pt x="123856" y="2511542"/>
                    <a:pt x="107052" y="2513000"/>
                  </a:cubicBezTo>
                  <a:cubicBezTo>
                    <a:pt x="100344" y="2513695"/>
                    <a:pt x="96804" y="2510285"/>
                    <a:pt x="94368" y="2504418"/>
                  </a:cubicBezTo>
                  <a:cubicBezTo>
                    <a:pt x="85399" y="2481929"/>
                    <a:pt x="76326" y="2459441"/>
                    <a:pt x="67109" y="2437086"/>
                  </a:cubicBezTo>
                  <a:cubicBezTo>
                    <a:pt x="63786" y="2429123"/>
                    <a:pt x="63693" y="2423998"/>
                    <a:pt x="75108" y="2423303"/>
                  </a:cubicBezTo>
                  <a:cubicBezTo>
                    <a:pt x="83995" y="2422570"/>
                    <a:pt x="92830" y="2418550"/>
                    <a:pt x="101758" y="2417855"/>
                  </a:cubicBezTo>
                  <a:cubicBezTo>
                    <a:pt x="114061" y="2416855"/>
                    <a:pt x="111470" y="2411340"/>
                    <a:pt x="108694" y="2403491"/>
                  </a:cubicBezTo>
                  <a:cubicBezTo>
                    <a:pt x="103771" y="2389489"/>
                    <a:pt x="92118" y="2383250"/>
                    <a:pt x="80166" y="2377250"/>
                  </a:cubicBezTo>
                  <a:cubicBezTo>
                    <a:pt x="60545" y="2367610"/>
                    <a:pt x="39087" y="2359895"/>
                    <a:pt x="27836" y="2339702"/>
                  </a:cubicBezTo>
                  <a:cubicBezTo>
                    <a:pt x="15131" y="2316966"/>
                    <a:pt x="18082" y="2312822"/>
                    <a:pt x="38622" y="2305898"/>
                  </a:cubicBezTo>
                  <a:cubicBezTo>
                    <a:pt x="48376" y="2302650"/>
                    <a:pt x="55539" y="2294620"/>
                    <a:pt x="63012" y="2287419"/>
                  </a:cubicBezTo>
                  <a:cubicBezTo>
                    <a:pt x="83696" y="2266807"/>
                    <a:pt x="96411" y="2266455"/>
                    <a:pt x="115062" y="2288153"/>
                  </a:cubicBezTo>
                  <a:cubicBezTo>
                    <a:pt x="119015" y="2292630"/>
                    <a:pt x="126881" y="2295039"/>
                    <a:pt x="126881" y="2302631"/>
                  </a:cubicBezTo>
                  <a:cubicBezTo>
                    <a:pt x="131030" y="2312041"/>
                    <a:pt x="135282" y="2321328"/>
                    <a:pt x="139441" y="2330815"/>
                  </a:cubicBezTo>
                  <a:cubicBezTo>
                    <a:pt x="143157" y="2333139"/>
                    <a:pt x="146842" y="2335606"/>
                    <a:pt x="148483" y="2340102"/>
                  </a:cubicBezTo>
                  <a:cubicBezTo>
                    <a:pt x="165048" y="2343284"/>
                    <a:pt x="181738" y="2334578"/>
                    <a:pt x="198273" y="2340321"/>
                  </a:cubicBezTo>
                  <a:cubicBezTo>
                    <a:pt x="204951" y="2342579"/>
                    <a:pt x="211661" y="2345398"/>
                    <a:pt x="214870" y="2352532"/>
                  </a:cubicBezTo>
                  <a:cubicBezTo>
                    <a:pt x="220113" y="2355533"/>
                    <a:pt x="224408" y="2359409"/>
                    <a:pt x="227349" y="2364753"/>
                  </a:cubicBezTo>
                  <a:cubicBezTo>
                    <a:pt x="233501" y="2371830"/>
                    <a:pt x="239786" y="2378955"/>
                    <a:pt x="246093" y="2386241"/>
                  </a:cubicBezTo>
                  <a:cubicBezTo>
                    <a:pt x="250686" y="2388013"/>
                    <a:pt x="253329" y="2391661"/>
                    <a:pt x="255713" y="2395576"/>
                  </a:cubicBezTo>
                  <a:cubicBezTo>
                    <a:pt x="265104" y="2401005"/>
                    <a:pt x="271896" y="2395433"/>
                    <a:pt x="278429" y="2390070"/>
                  </a:cubicBezTo>
                  <a:cubicBezTo>
                    <a:pt x="286769" y="2383250"/>
                    <a:pt x="295626" y="2379745"/>
                    <a:pt x="305947" y="2386136"/>
                  </a:cubicBezTo>
                  <a:cubicBezTo>
                    <a:pt x="317642" y="2385898"/>
                    <a:pt x="328385" y="2388184"/>
                    <a:pt x="337510" y="2395576"/>
                  </a:cubicBezTo>
                  <a:cubicBezTo>
                    <a:pt x="353518" y="2408492"/>
                    <a:pt x="372911" y="2417140"/>
                    <a:pt x="386320" y="2433199"/>
                  </a:cubicBezTo>
                  <a:cubicBezTo>
                    <a:pt x="393039" y="2440848"/>
                    <a:pt x="403742" y="2438143"/>
                    <a:pt x="412649" y="2439191"/>
                  </a:cubicBezTo>
                  <a:cubicBezTo>
                    <a:pt x="423332" y="2437962"/>
                    <a:pt x="433890" y="2437029"/>
                    <a:pt x="440692" y="2447963"/>
                  </a:cubicBezTo>
                  <a:cubicBezTo>
                    <a:pt x="444924" y="2449525"/>
                    <a:pt x="447196" y="2452611"/>
                    <a:pt x="447566" y="2457088"/>
                  </a:cubicBezTo>
                  <a:cubicBezTo>
                    <a:pt x="448433" y="2457984"/>
                    <a:pt x="449094" y="2458774"/>
                    <a:pt x="449931" y="2459688"/>
                  </a:cubicBezTo>
                  <a:cubicBezTo>
                    <a:pt x="455679" y="2465861"/>
                    <a:pt x="458413" y="2473328"/>
                    <a:pt x="462378" y="2482691"/>
                  </a:cubicBezTo>
                  <a:cubicBezTo>
                    <a:pt x="454999" y="2480005"/>
                    <a:pt x="449104" y="2477919"/>
                    <a:pt x="443273" y="2475929"/>
                  </a:cubicBezTo>
                  <a:cubicBezTo>
                    <a:pt x="406684" y="2464927"/>
                    <a:pt x="377287" y="2441343"/>
                    <a:pt x="344632" y="2423208"/>
                  </a:cubicBezTo>
                  <a:cubicBezTo>
                    <a:pt x="333382" y="2416845"/>
                    <a:pt x="322841" y="2408349"/>
                    <a:pt x="308887" y="2408349"/>
                  </a:cubicBezTo>
                  <a:cubicBezTo>
                    <a:pt x="307504" y="2423379"/>
                    <a:pt x="313264" y="2433590"/>
                    <a:pt x="328023" y="2438886"/>
                  </a:cubicBezTo>
                  <a:cubicBezTo>
                    <a:pt x="331276" y="2440096"/>
                    <a:pt x="334847" y="2441867"/>
                    <a:pt x="336787" y="2444449"/>
                  </a:cubicBezTo>
                  <a:cubicBezTo>
                    <a:pt x="342071" y="2451421"/>
                    <a:pt x="340420" y="2455402"/>
                    <a:pt x="330903" y="2454297"/>
                  </a:cubicBezTo>
                  <a:cubicBezTo>
                    <a:pt x="303005" y="2461184"/>
                    <a:pt x="276469" y="2462698"/>
                    <a:pt x="254443" y="2439591"/>
                  </a:cubicBezTo>
                  <a:cubicBezTo>
                    <a:pt x="243894" y="2428351"/>
                    <a:pt x="232531" y="2417969"/>
                    <a:pt x="221279" y="2407168"/>
                  </a:cubicBezTo>
                  <a:cubicBezTo>
                    <a:pt x="218028" y="2404186"/>
                    <a:pt x="216016" y="2398014"/>
                    <a:pt x="210803" y="2399462"/>
                  </a:cubicBezTo>
                  <a:cubicBezTo>
                    <a:pt x="205127" y="2401005"/>
                    <a:pt x="203279" y="2407168"/>
                    <a:pt x="202371" y="2412664"/>
                  </a:cubicBezTo>
                  <a:cubicBezTo>
                    <a:pt x="201864" y="2415064"/>
                    <a:pt x="202371" y="2417855"/>
                    <a:pt x="202413" y="2420322"/>
                  </a:cubicBezTo>
                  <a:cubicBezTo>
                    <a:pt x="206491" y="2427103"/>
                    <a:pt x="210495" y="2433790"/>
                    <a:pt x="215128" y="2441724"/>
                  </a:cubicBezTo>
                  <a:cubicBezTo>
                    <a:pt x="204445" y="2441343"/>
                    <a:pt x="196241" y="2438600"/>
                    <a:pt x="189005" y="2432790"/>
                  </a:cubicBezTo>
                  <a:cubicBezTo>
                    <a:pt x="165576" y="2418207"/>
                    <a:pt x="153685" y="2393890"/>
                    <a:pt x="136531" y="2374211"/>
                  </a:cubicBezTo>
                  <a:cubicBezTo>
                    <a:pt x="129192" y="2365848"/>
                    <a:pt x="122019" y="2358695"/>
                    <a:pt x="111337" y="2355609"/>
                  </a:cubicBezTo>
                  <a:cubicBezTo>
                    <a:pt x="108571" y="2354809"/>
                    <a:pt x="104896" y="2349284"/>
                    <a:pt x="102419" y="2354942"/>
                  </a:cubicBezTo>
                  <a:cubicBezTo>
                    <a:pt x="100984" y="2358295"/>
                    <a:pt x="100540" y="2362886"/>
                    <a:pt x="104597" y="2366086"/>
                  </a:cubicBezTo>
                  <a:cubicBezTo>
                    <a:pt x="122732" y="2380117"/>
                    <a:pt x="130916" y="2401176"/>
                    <a:pt x="142548" y="2419960"/>
                  </a:cubicBezTo>
                  <a:cubicBezTo>
                    <a:pt x="148720" y="2424875"/>
                    <a:pt x="152952" y="2431133"/>
                    <a:pt x="155254" y="2438781"/>
                  </a:cubicBezTo>
                  <a:cubicBezTo>
                    <a:pt x="161489" y="2448201"/>
                    <a:pt x="161489" y="2448201"/>
                    <a:pt x="148865" y="2450611"/>
                  </a:cubicBezTo>
                  <a:cubicBezTo>
                    <a:pt x="147822" y="2450802"/>
                    <a:pt x="146739" y="2451021"/>
                    <a:pt x="145748" y="2451259"/>
                  </a:cubicBezTo>
                  <a:cubicBezTo>
                    <a:pt x="138265" y="2457745"/>
                    <a:pt x="125560" y="2453478"/>
                    <a:pt x="120079" y="2463727"/>
                  </a:cubicBezTo>
                  <a:cubicBezTo>
                    <a:pt x="137264" y="2469156"/>
                    <a:pt x="154893" y="2469918"/>
                    <a:pt x="172852" y="2469890"/>
                  </a:cubicBezTo>
                  <a:cubicBezTo>
                    <a:pt x="187889" y="2469890"/>
                    <a:pt x="202928" y="2470214"/>
                    <a:pt x="217966" y="2470385"/>
                  </a:cubicBezTo>
                  <a:cubicBezTo>
                    <a:pt x="225470" y="2474843"/>
                    <a:pt x="234264" y="2471185"/>
                    <a:pt x="242150" y="2473566"/>
                  </a:cubicBezTo>
                  <a:cubicBezTo>
                    <a:pt x="249396" y="2475786"/>
                    <a:pt x="254443" y="2478215"/>
                    <a:pt x="249396" y="2486997"/>
                  </a:cubicBezTo>
                  <a:cubicBezTo>
                    <a:pt x="245515" y="2493807"/>
                    <a:pt x="244390" y="2502342"/>
                    <a:pt x="236845" y="2506790"/>
                  </a:cubicBezTo>
                  <a:cubicBezTo>
                    <a:pt x="233448" y="2519115"/>
                    <a:pt x="230311" y="2531355"/>
                    <a:pt x="237144" y="2543518"/>
                  </a:cubicBezTo>
                  <a:cubicBezTo>
                    <a:pt x="250490" y="2533441"/>
                    <a:pt x="259418" y="2519829"/>
                    <a:pt x="266601" y="2505589"/>
                  </a:cubicBezTo>
                  <a:cubicBezTo>
                    <a:pt x="274559" y="2490226"/>
                    <a:pt x="285913" y="2481025"/>
                    <a:pt x="303189" y="2479319"/>
                  </a:cubicBezTo>
                  <a:cubicBezTo>
                    <a:pt x="319602" y="2477824"/>
                    <a:pt x="336292" y="2477234"/>
                    <a:pt x="352660" y="2475691"/>
                  </a:cubicBezTo>
                  <a:cubicBezTo>
                    <a:pt x="363602" y="2474509"/>
                    <a:pt x="366141" y="2479158"/>
                    <a:pt x="365429" y="2488759"/>
                  </a:cubicBezTo>
                  <a:cubicBezTo>
                    <a:pt x="365109" y="2496245"/>
                    <a:pt x="361940" y="2507361"/>
                    <a:pt x="367225" y="2510590"/>
                  </a:cubicBezTo>
                  <a:cubicBezTo>
                    <a:pt x="374605" y="2515114"/>
                    <a:pt x="378784" y="2503199"/>
                    <a:pt x="385348" y="2499703"/>
                  </a:cubicBezTo>
                  <a:cubicBezTo>
                    <a:pt x="404557" y="2489226"/>
                    <a:pt x="424488" y="2493807"/>
                    <a:pt x="443862" y="2496579"/>
                  </a:cubicBezTo>
                  <a:cubicBezTo>
                    <a:pt x="451045" y="2497646"/>
                    <a:pt x="459982" y="2499703"/>
                    <a:pt x="465929" y="2506180"/>
                  </a:cubicBezTo>
                  <a:cubicBezTo>
                    <a:pt x="471110" y="2506466"/>
                    <a:pt x="475909" y="2507933"/>
                    <a:pt x="480626" y="2511438"/>
                  </a:cubicBezTo>
                  <a:cubicBezTo>
                    <a:pt x="471440" y="2515095"/>
                    <a:pt x="463348" y="2520229"/>
                    <a:pt x="453110" y="2518362"/>
                  </a:cubicBezTo>
                  <a:close/>
                  <a:moveTo>
                    <a:pt x="370642" y="2327967"/>
                  </a:moveTo>
                  <a:cubicBezTo>
                    <a:pt x="387672" y="2329958"/>
                    <a:pt x="399261" y="2338826"/>
                    <a:pt x="411400" y="2346179"/>
                  </a:cubicBezTo>
                  <a:cubicBezTo>
                    <a:pt x="428997" y="2356885"/>
                    <a:pt x="446360" y="2368220"/>
                    <a:pt x="463431" y="2379745"/>
                  </a:cubicBezTo>
                  <a:cubicBezTo>
                    <a:pt x="474485" y="2387308"/>
                    <a:pt x="479314" y="2398662"/>
                    <a:pt x="481432" y="2411816"/>
                  </a:cubicBezTo>
                  <a:cubicBezTo>
                    <a:pt x="472442" y="2409130"/>
                    <a:pt x="376865" y="2337435"/>
                    <a:pt x="370642" y="2327967"/>
                  </a:cubicBezTo>
                  <a:close/>
                  <a:moveTo>
                    <a:pt x="392977" y="2256073"/>
                  </a:moveTo>
                  <a:cubicBezTo>
                    <a:pt x="392792" y="2249843"/>
                    <a:pt x="397229" y="2247633"/>
                    <a:pt x="403277" y="2247548"/>
                  </a:cubicBezTo>
                  <a:cubicBezTo>
                    <a:pt x="410873" y="2247376"/>
                    <a:pt x="410802" y="2252663"/>
                    <a:pt x="411163" y="2258663"/>
                  </a:cubicBezTo>
                  <a:cubicBezTo>
                    <a:pt x="411689" y="2263492"/>
                    <a:pt x="408954" y="2266198"/>
                    <a:pt x="402988" y="2265588"/>
                  </a:cubicBezTo>
                  <a:cubicBezTo>
                    <a:pt x="397188" y="2264864"/>
                    <a:pt x="393317" y="2261568"/>
                    <a:pt x="392977" y="2256073"/>
                  </a:cubicBezTo>
                  <a:close/>
                  <a:moveTo>
                    <a:pt x="433695" y="2288143"/>
                  </a:moveTo>
                  <a:cubicBezTo>
                    <a:pt x="438319" y="2283505"/>
                    <a:pt x="445708" y="2284000"/>
                    <a:pt x="451241" y="2286886"/>
                  </a:cubicBezTo>
                  <a:cubicBezTo>
                    <a:pt x="469076" y="2295668"/>
                    <a:pt x="480565" y="2309032"/>
                    <a:pt x="479574" y="2332349"/>
                  </a:cubicBezTo>
                  <a:cubicBezTo>
                    <a:pt x="478726" y="2335444"/>
                    <a:pt x="481607" y="2343455"/>
                    <a:pt x="474195" y="2345655"/>
                  </a:cubicBezTo>
                  <a:cubicBezTo>
                    <a:pt x="467599" y="2347998"/>
                    <a:pt x="461593" y="2344988"/>
                    <a:pt x="455895" y="2339959"/>
                  </a:cubicBezTo>
                  <a:cubicBezTo>
                    <a:pt x="445720" y="2330339"/>
                    <a:pt x="438112" y="2319157"/>
                    <a:pt x="432146" y="2306631"/>
                  </a:cubicBezTo>
                  <a:cubicBezTo>
                    <a:pt x="428997" y="2299735"/>
                    <a:pt x="428997" y="2293201"/>
                    <a:pt x="433695" y="2288143"/>
                  </a:cubicBezTo>
                  <a:close/>
                  <a:moveTo>
                    <a:pt x="492805" y="2239718"/>
                  </a:moveTo>
                  <a:cubicBezTo>
                    <a:pt x="488791" y="2243661"/>
                    <a:pt x="485952" y="2238537"/>
                    <a:pt x="483795" y="2235080"/>
                  </a:cubicBezTo>
                  <a:cubicBezTo>
                    <a:pt x="458962" y="2213972"/>
                    <a:pt x="452170" y="2185435"/>
                    <a:pt x="450127" y="2155279"/>
                  </a:cubicBezTo>
                  <a:cubicBezTo>
                    <a:pt x="448949" y="2139077"/>
                    <a:pt x="447926" y="2123018"/>
                    <a:pt x="444037" y="2107140"/>
                  </a:cubicBezTo>
                  <a:cubicBezTo>
                    <a:pt x="443294" y="2103873"/>
                    <a:pt x="444263" y="2099720"/>
                    <a:pt x="438814" y="2099253"/>
                  </a:cubicBezTo>
                  <a:cubicBezTo>
                    <a:pt x="433292" y="2098824"/>
                    <a:pt x="432580" y="2103873"/>
                    <a:pt x="432281" y="2106330"/>
                  </a:cubicBezTo>
                  <a:cubicBezTo>
                    <a:pt x="431115" y="2112788"/>
                    <a:pt x="426749" y="2117046"/>
                    <a:pt x="423632" y="2122265"/>
                  </a:cubicBezTo>
                  <a:cubicBezTo>
                    <a:pt x="391262" y="2100596"/>
                    <a:pt x="375750" y="2069849"/>
                    <a:pt x="374398" y="2031625"/>
                  </a:cubicBezTo>
                  <a:cubicBezTo>
                    <a:pt x="373975" y="2016185"/>
                    <a:pt x="374181" y="2000879"/>
                    <a:pt x="373831" y="1985448"/>
                  </a:cubicBezTo>
                  <a:cubicBezTo>
                    <a:pt x="369113" y="1981962"/>
                    <a:pt x="371672" y="1977266"/>
                    <a:pt x="371672" y="1972951"/>
                  </a:cubicBezTo>
                  <a:cubicBezTo>
                    <a:pt x="371177" y="1972056"/>
                    <a:pt x="371013" y="1971056"/>
                    <a:pt x="371013" y="1970151"/>
                  </a:cubicBezTo>
                  <a:cubicBezTo>
                    <a:pt x="360268" y="1967265"/>
                    <a:pt x="353229" y="1972647"/>
                    <a:pt x="352527" y="1985820"/>
                  </a:cubicBezTo>
                  <a:cubicBezTo>
                    <a:pt x="351702" y="1997955"/>
                    <a:pt x="352651" y="2010242"/>
                    <a:pt x="352311" y="2022405"/>
                  </a:cubicBezTo>
                  <a:cubicBezTo>
                    <a:pt x="352094" y="2026568"/>
                    <a:pt x="355252" y="2033045"/>
                    <a:pt x="349843" y="2034578"/>
                  </a:cubicBezTo>
                  <a:cubicBezTo>
                    <a:pt x="344021" y="2036264"/>
                    <a:pt x="339337" y="2032016"/>
                    <a:pt x="337448" y="2025834"/>
                  </a:cubicBezTo>
                  <a:cubicBezTo>
                    <a:pt x="324691" y="2015528"/>
                    <a:pt x="319952" y="2000260"/>
                    <a:pt x="315474" y="1985915"/>
                  </a:cubicBezTo>
                  <a:cubicBezTo>
                    <a:pt x="309249" y="1966084"/>
                    <a:pt x="301848" y="1947453"/>
                    <a:pt x="286141" y="1932823"/>
                  </a:cubicBezTo>
                  <a:cubicBezTo>
                    <a:pt x="279947" y="1932461"/>
                    <a:pt x="274351" y="1927793"/>
                    <a:pt x="267654" y="1930403"/>
                  </a:cubicBezTo>
                  <a:cubicBezTo>
                    <a:pt x="267654" y="1931965"/>
                    <a:pt x="267654" y="1933556"/>
                    <a:pt x="267582" y="1935090"/>
                  </a:cubicBezTo>
                  <a:cubicBezTo>
                    <a:pt x="276386" y="1944986"/>
                    <a:pt x="278263" y="1958092"/>
                    <a:pt x="283663" y="1969627"/>
                  </a:cubicBezTo>
                  <a:lnTo>
                    <a:pt x="283539" y="1969627"/>
                  </a:lnTo>
                  <a:cubicBezTo>
                    <a:pt x="288864" y="1981029"/>
                    <a:pt x="294211" y="1992297"/>
                    <a:pt x="299464" y="2003536"/>
                  </a:cubicBezTo>
                  <a:lnTo>
                    <a:pt x="299423" y="2003479"/>
                  </a:lnTo>
                  <a:cubicBezTo>
                    <a:pt x="302757" y="2011213"/>
                    <a:pt x="306380" y="2018814"/>
                    <a:pt x="310437" y="2027568"/>
                  </a:cubicBezTo>
                  <a:cubicBezTo>
                    <a:pt x="293282" y="2030387"/>
                    <a:pt x="277883" y="2022872"/>
                    <a:pt x="262256" y="2025367"/>
                  </a:cubicBezTo>
                  <a:cubicBezTo>
                    <a:pt x="258168" y="2025958"/>
                    <a:pt x="253844" y="2024910"/>
                    <a:pt x="249778" y="2025691"/>
                  </a:cubicBezTo>
                  <a:cubicBezTo>
                    <a:pt x="246661" y="2026358"/>
                    <a:pt x="244060" y="2028749"/>
                    <a:pt x="241180" y="2030320"/>
                  </a:cubicBezTo>
                  <a:cubicBezTo>
                    <a:pt x="243037" y="2032445"/>
                    <a:pt x="244659" y="2035607"/>
                    <a:pt x="247219" y="2036883"/>
                  </a:cubicBezTo>
                  <a:cubicBezTo>
                    <a:pt x="257105" y="2041522"/>
                    <a:pt x="267221" y="2045541"/>
                    <a:pt x="277180" y="2049913"/>
                  </a:cubicBezTo>
                  <a:cubicBezTo>
                    <a:pt x="286903" y="2050228"/>
                    <a:pt x="296720" y="2049285"/>
                    <a:pt x="305731" y="2053685"/>
                  </a:cubicBezTo>
                  <a:cubicBezTo>
                    <a:pt x="330965" y="2055038"/>
                    <a:pt x="349833" y="2067125"/>
                    <a:pt x="364417" y="2086785"/>
                  </a:cubicBezTo>
                  <a:cubicBezTo>
                    <a:pt x="367823" y="2090833"/>
                    <a:pt x="371013" y="2094738"/>
                    <a:pt x="374294" y="2098824"/>
                  </a:cubicBezTo>
                  <a:cubicBezTo>
                    <a:pt x="383388" y="2110740"/>
                    <a:pt x="394453" y="2121608"/>
                    <a:pt x="399757" y="2136200"/>
                  </a:cubicBezTo>
                  <a:cubicBezTo>
                    <a:pt x="401616" y="2136486"/>
                    <a:pt x="402607" y="2137486"/>
                    <a:pt x="402917" y="2139287"/>
                  </a:cubicBezTo>
                  <a:cubicBezTo>
                    <a:pt x="408449" y="2145278"/>
                    <a:pt x="411246" y="2152507"/>
                    <a:pt x="414745" y="2160861"/>
                  </a:cubicBezTo>
                  <a:cubicBezTo>
                    <a:pt x="405898" y="2158508"/>
                    <a:pt x="397633" y="2159403"/>
                    <a:pt x="389973" y="2155422"/>
                  </a:cubicBezTo>
                  <a:cubicBezTo>
                    <a:pt x="386887" y="2155117"/>
                    <a:pt x="383583" y="2154746"/>
                    <a:pt x="380353" y="2154460"/>
                  </a:cubicBezTo>
                  <a:cubicBezTo>
                    <a:pt x="379187" y="2154146"/>
                    <a:pt x="377989" y="2154146"/>
                    <a:pt x="376865" y="2153936"/>
                  </a:cubicBezTo>
                  <a:lnTo>
                    <a:pt x="376628" y="2153003"/>
                  </a:lnTo>
                  <a:cubicBezTo>
                    <a:pt x="362312" y="2150097"/>
                    <a:pt x="348099" y="2152507"/>
                    <a:pt x="333866" y="2154288"/>
                  </a:cubicBezTo>
                  <a:cubicBezTo>
                    <a:pt x="326919" y="2158556"/>
                    <a:pt x="324514" y="2162470"/>
                    <a:pt x="334135" y="2166233"/>
                  </a:cubicBezTo>
                  <a:cubicBezTo>
                    <a:pt x="350999" y="2172777"/>
                    <a:pt x="369124" y="2172614"/>
                    <a:pt x="386341" y="2176339"/>
                  </a:cubicBezTo>
                  <a:cubicBezTo>
                    <a:pt x="388848" y="2176863"/>
                    <a:pt x="391645" y="2176167"/>
                    <a:pt x="393060" y="2178968"/>
                  </a:cubicBezTo>
                  <a:cubicBezTo>
                    <a:pt x="430670" y="2188093"/>
                    <a:pt x="453677" y="2211981"/>
                    <a:pt x="464772" y="2247662"/>
                  </a:cubicBezTo>
                  <a:cubicBezTo>
                    <a:pt x="465071" y="2249605"/>
                    <a:pt x="465422" y="2251615"/>
                    <a:pt x="465917" y="2253520"/>
                  </a:cubicBezTo>
                  <a:cubicBezTo>
                    <a:pt x="466486" y="2253558"/>
                    <a:pt x="466765" y="2254196"/>
                    <a:pt x="466869" y="2254720"/>
                  </a:cubicBezTo>
                  <a:lnTo>
                    <a:pt x="466981" y="2255834"/>
                  </a:lnTo>
                  <a:cubicBezTo>
                    <a:pt x="468839" y="2256863"/>
                    <a:pt x="468839" y="2258616"/>
                    <a:pt x="468044" y="2260368"/>
                  </a:cubicBezTo>
                  <a:cubicBezTo>
                    <a:pt x="468106" y="2261759"/>
                    <a:pt x="468332" y="2263045"/>
                    <a:pt x="468332" y="2264397"/>
                  </a:cubicBezTo>
                  <a:cubicBezTo>
                    <a:pt x="470645" y="2267312"/>
                    <a:pt x="470357" y="2268798"/>
                    <a:pt x="466486" y="2269017"/>
                  </a:cubicBezTo>
                  <a:cubicBezTo>
                    <a:pt x="448589" y="2270436"/>
                    <a:pt x="437451" y="2260197"/>
                    <a:pt x="427719" y="2247662"/>
                  </a:cubicBezTo>
                  <a:cubicBezTo>
                    <a:pt x="424332" y="2246481"/>
                    <a:pt x="424694" y="2243557"/>
                    <a:pt x="424147" y="2241118"/>
                  </a:cubicBezTo>
                  <a:cubicBezTo>
                    <a:pt x="418946" y="2235480"/>
                    <a:pt x="411771" y="2232651"/>
                    <a:pt x="405114" y="2229164"/>
                  </a:cubicBezTo>
                  <a:cubicBezTo>
                    <a:pt x="404102" y="2229307"/>
                    <a:pt x="403369" y="2229164"/>
                    <a:pt x="402607" y="2228583"/>
                  </a:cubicBezTo>
                  <a:cubicBezTo>
                    <a:pt x="394370" y="2230593"/>
                    <a:pt x="385988" y="2233479"/>
                    <a:pt x="377598" y="2234413"/>
                  </a:cubicBezTo>
                  <a:cubicBezTo>
                    <a:pt x="372230" y="2234813"/>
                    <a:pt x="363705" y="2240175"/>
                    <a:pt x="361579" y="2229003"/>
                  </a:cubicBezTo>
                  <a:cubicBezTo>
                    <a:pt x="345871" y="2198313"/>
                    <a:pt x="316351" y="2179939"/>
                    <a:pt x="292425" y="2156546"/>
                  </a:cubicBezTo>
                  <a:cubicBezTo>
                    <a:pt x="284293" y="2148488"/>
                    <a:pt x="283940" y="2143125"/>
                    <a:pt x="289391" y="2133505"/>
                  </a:cubicBezTo>
                  <a:cubicBezTo>
                    <a:pt x="301653" y="2112102"/>
                    <a:pt x="301075" y="2111693"/>
                    <a:pt x="278213" y="2102996"/>
                  </a:cubicBezTo>
                  <a:cubicBezTo>
                    <a:pt x="271638" y="2100577"/>
                    <a:pt x="264961" y="2098272"/>
                    <a:pt x="258333" y="2095881"/>
                  </a:cubicBezTo>
                  <a:cubicBezTo>
                    <a:pt x="248631" y="2092804"/>
                    <a:pt x="239125" y="2089690"/>
                    <a:pt x="229486" y="2086642"/>
                  </a:cubicBezTo>
                  <a:cubicBezTo>
                    <a:pt x="220433" y="2083794"/>
                    <a:pt x="224088" y="2075307"/>
                    <a:pt x="222148" y="2069573"/>
                  </a:cubicBezTo>
                  <a:cubicBezTo>
                    <a:pt x="219165" y="2060753"/>
                    <a:pt x="219165" y="2051037"/>
                    <a:pt x="217895" y="2041503"/>
                  </a:cubicBezTo>
                  <a:cubicBezTo>
                    <a:pt x="215614" y="2025339"/>
                    <a:pt x="213075" y="2009080"/>
                    <a:pt x="210803" y="1992763"/>
                  </a:cubicBezTo>
                  <a:cubicBezTo>
                    <a:pt x="210246" y="1988048"/>
                    <a:pt x="208780" y="1982143"/>
                    <a:pt x="217007" y="1982143"/>
                  </a:cubicBezTo>
                  <a:cubicBezTo>
                    <a:pt x="224944" y="1977647"/>
                    <a:pt x="233501" y="1976390"/>
                    <a:pt x="242387" y="1975742"/>
                  </a:cubicBezTo>
                  <a:cubicBezTo>
                    <a:pt x="253287" y="1968998"/>
                    <a:pt x="250695" y="1960464"/>
                    <a:pt x="245617" y="1951692"/>
                  </a:cubicBezTo>
                  <a:cubicBezTo>
                    <a:pt x="220929" y="1929784"/>
                    <a:pt x="195549" y="1908782"/>
                    <a:pt x="187467" y="1874320"/>
                  </a:cubicBezTo>
                  <a:cubicBezTo>
                    <a:pt x="185702" y="1866490"/>
                    <a:pt x="185548" y="1858194"/>
                    <a:pt x="183989" y="1850422"/>
                  </a:cubicBezTo>
                  <a:cubicBezTo>
                    <a:pt x="182606" y="1842954"/>
                    <a:pt x="185053" y="1830638"/>
                    <a:pt x="200203" y="1834001"/>
                  </a:cubicBezTo>
                  <a:cubicBezTo>
                    <a:pt x="205643" y="1835229"/>
                    <a:pt x="211536" y="1834467"/>
                    <a:pt x="217203" y="1834591"/>
                  </a:cubicBezTo>
                  <a:cubicBezTo>
                    <a:pt x="237134" y="1839973"/>
                    <a:pt x="258056" y="1833620"/>
                    <a:pt x="277749" y="1840354"/>
                  </a:cubicBezTo>
                  <a:cubicBezTo>
                    <a:pt x="285728" y="1840735"/>
                    <a:pt x="288255" y="1847698"/>
                    <a:pt x="292518" y="1852422"/>
                  </a:cubicBezTo>
                  <a:cubicBezTo>
                    <a:pt x="308878" y="1868043"/>
                    <a:pt x="311820" y="1890151"/>
                    <a:pt x="319952" y="1909591"/>
                  </a:cubicBezTo>
                  <a:cubicBezTo>
                    <a:pt x="331223" y="1936585"/>
                    <a:pt x="332586" y="1939176"/>
                    <a:pt x="361176" y="1938823"/>
                  </a:cubicBezTo>
                  <a:cubicBezTo>
                    <a:pt x="371385" y="1938633"/>
                    <a:pt x="378144" y="1940566"/>
                    <a:pt x="379807" y="1951358"/>
                  </a:cubicBezTo>
                  <a:cubicBezTo>
                    <a:pt x="380137" y="1952473"/>
                    <a:pt x="380549" y="1953444"/>
                    <a:pt x="380984" y="1954578"/>
                  </a:cubicBezTo>
                  <a:cubicBezTo>
                    <a:pt x="391728" y="1977009"/>
                    <a:pt x="402143" y="1999669"/>
                    <a:pt x="401925" y="2025339"/>
                  </a:cubicBezTo>
                  <a:cubicBezTo>
                    <a:pt x="402503" y="2026120"/>
                    <a:pt x="402668" y="2027120"/>
                    <a:pt x="402576" y="2028063"/>
                  </a:cubicBezTo>
                  <a:cubicBezTo>
                    <a:pt x="406312" y="2039093"/>
                    <a:pt x="410234" y="2050056"/>
                    <a:pt x="408170" y="2061963"/>
                  </a:cubicBezTo>
                  <a:cubicBezTo>
                    <a:pt x="408696" y="2062934"/>
                    <a:pt x="408903" y="2064115"/>
                    <a:pt x="409428" y="2065258"/>
                  </a:cubicBezTo>
                  <a:cubicBezTo>
                    <a:pt x="410833" y="2065277"/>
                    <a:pt x="412566" y="2065277"/>
                    <a:pt x="413971" y="2065354"/>
                  </a:cubicBezTo>
                  <a:cubicBezTo>
                    <a:pt x="446947" y="2065582"/>
                    <a:pt x="446947" y="2065582"/>
                    <a:pt x="453058" y="2099129"/>
                  </a:cubicBezTo>
                  <a:cubicBezTo>
                    <a:pt x="457877" y="2101053"/>
                    <a:pt x="455172" y="2105339"/>
                    <a:pt x="456103" y="2108416"/>
                  </a:cubicBezTo>
                  <a:cubicBezTo>
                    <a:pt x="458114" y="2111616"/>
                    <a:pt x="460190" y="2114579"/>
                    <a:pt x="462337" y="2117779"/>
                  </a:cubicBezTo>
                  <a:lnTo>
                    <a:pt x="462192" y="2117779"/>
                  </a:lnTo>
                  <a:cubicBezTo>
                    <a:pt x="466548" y="2123894"/>
                    <a:pt x="470748" y="2130114"/>
                    <a:pt x="474980" y="2136181"/>
                  </a:cubicBezTo>
                  <a:cubicBezTo>
                    <a:pt x="477881" y="2140487"/>
                    <a:pt x="480812" y="2144706"/>
                    <a:pt x="483680" y="2148907"/>
                  </a:cubicBezTo>
                  <a:cubicBezTo>
                    <a:pt x="484351" y="2149716"/>
                    <a:pt x="484590" y="2150545"/>
                    <a:pt x="484455" y="2151355"/>
                  </a:cubicBezTo>
                  <a:cubicBezTo>
                    <a:pt x="490700" y="2158251"/>
                    <a:pt x="484353" y="2162585"/>
                    <a:pt x="481256" y="2167471"/>
                  </a:cubicBezTo>
                  <a:lnTo>
                    <a:pt x="481514" y="2167280"/>
                  </a:lnTo>
                  <a:cubicBezTo>
                    <a:pt x="478572" y="2177539"/>
                    <a:pt x="477425" y="2187902"/>
                    <a:pt x="477312" y="2198408"/>
                  </a:cubicBezTo>
                  <a:cubicBezTo>
                    <a:pt x="477725" y="2199037"/>
                    <a:pt x="478077" y="2199808"/>
                    <a:pt x="478190" y="2200542"/>
                  </a:cubicBezTo>
                  <a:cubicBezTo>
                    <a:pt x="479252" y="2201704"/>
                    <a:pt x="480574" y="2203066"/>
                    <a:pt x="481793" y="2204333"/>
                  </a:cubicBezTo>
                  <a:cubicBezTo>
                    <a:pt x="487500" y="2208286"/>
                    <a:pt x="492744" y="2212677"/>
                    <a:pt x="495881" y="2219173"/>
                  </a:cubicBezTo>
                  <a:cubicBezTo>
                    <a:pt x="496324" y="2220354"/>
                    <a:pt x="496542" y="2221421"/>
                    <a:pt x="496914" y="2222535"/>
                  </a:cubicBezTo>
                  <a:cubicBezTo>
                    <a:pt x="504107" y="2230212"/>
                    <a:pt x="497243" y="2235613"/>
                    <a:pt x="492805" y="2239718"/>
                  </a:cubicBezTo>
                  <a:close/>
                  <a:moveTo>
                    <a:pt x="499453" y="2343693"/>
                  </a:moveTo>
                  <a:cubicBezTo>
                    <a:pt x="498709" y="2330530"/>
                    <a:pt x="503870" y="2317985"/>
                    <a:pt x="506678" y="2305126"/>
                  </a:cubicBezTo>
                  <a:cubicBezTo>
                    <a:pt x="508710" y="2294792"/>
                    <a:pt x="514386" y="2295496"/>
                    <a:pt x="521086" y="2299335"/>
                  </a:cubicBezTo>
                  <a:cubicBezTo>
                    <a:pt x="525535" y="2302021"/>
                    <a:pt x="529209" y="2305479"/>
                    <a:pt x="530521" y="2311003"/>
                  </a:cubicBezTo>
                  <a:cubicBezTo>
                    <a:pt x="534225" y="2327005"/>
                    <a:pt x="523222" y="2355418"/>
                    <a:pt x="510083" y="2366343"/>
                  </a:cubicBezTo>
                  <a:cubicBezTo>
                    <a:pt x="505254" y="2370230"/>
                    <a:pt x="504643" y="2368201"/>
                    <a:pt x="502549" y="2364638"/>
                  </a:cubicBezTo>
                  <a:cubicBezTo>
                    <a:pt x="498709" y="2358047"/>
                    <a:pt x="497356" y="2351275"/>
                    <a:pt x="499453" y="2343693"/>
                  </a:cubicBezTo>
                  <a:close/>
                  <a:moveTo>
                    <a:pt x="503487" y="2441343"/>
                  </a:moveTo>
                  <a:cubicBezTo>
                    <a:pt x="504540" y="2437171"/>
                    <a:pt x="504540" y="2427618"/>
                    <a:pt x="509959" y="2427389"/>
                  </a:cubicBezTo>
                  <a:cubicBezTo>
                    <a:pt x="516307" y="2427342"/>
                    <a:pt x="519290" y="2436019"/>
                    <a:pt x="518589" y="2442610"/>
                  </a:cubicBezTo>
                  <a:cubicBezTo>
                    <a:pt x="518041" y="2448201"/>
                    <a:pt x="516492" y="2456374"/>
                    <a:pt x="509608" y="2456145"/>
                  </a:cubicBezTo>
                  <a:cubicBezTo>
                    <a:pt x="504396" y="2455974"/>
                    <a:pt x="503107" y="2448620"/>
                    <a:pt x="503487" y="2441343"/>
                  </a:cubicBezTo>
                  <a:close/>
                  <a:moveTo>
                    <a:pt x="577151" y="2619604"/>
                  </a:moveTo>
                  <a:cubicBezTo>
                    <a:pt x="572023" y="2604926"/>
                    <a:pt x="578163" y="2592391"/>
                    <a:pt x="582457" y="2580065"/>
                  </a:cubicBezTo>
                  <a:cubicBezTo>
                    <a:pt x="586069" y="2569712"/>
                    <a:pt x="585100" y="2561406"/>
                    <a:pt x="577884" y="2553491"/>
                  </a:cubicBezTo>
                  <a:cubicBezTo>
                    <a:pt x="568678" y="2543489"/>
                    <a:pt x="567378" y="2531402"/>
                    <a:pt x="570329" y="2519401"/>
                  </a:cubicBezTo>
                  <a:cubicBezTo>
                    <a:pt x="579598" y="2479624"/>
                    <a:pt x="605773" y="2451964"/>
                    <a:pt x="638317" y="2429113"/>
                  </a:cubicBezTo>
                  <a:cubicBezTo>
                    <a:pt x="650382" y="2420484"/>
                    <a:pt x="661943" y="2411130"/>
                    <a:pt x="673398" y="2401853"/>
                  </a:cubicBezTo>
                  <a:cubicBezTo>
                    <a:pt x="677692" y="2398367"/>
                    <a:pt x="682812" y="2394052"/>
                    <a:pt x="675578" y="2388518"/>
                  </a:cubicBezTo>
                  <a:cubicBezTo>
                    <a:pt x="658856" y="2385908"/>
                    <a:pt x="647678" y="2397376"/>
                    <a:pt x="634396" y="2403891"/>
                  </a:cubicBezTo>
                  <a:cubicBezTo>
                    <a:pt x="633673" y="2404177"/>
                    <a:pt x="632919" y="2404348"/>
                    <a:pt x="632166" y="2404482"/>
                  </a:cubicBezTo>
                  <a:cubicBezTo>
                    <a:pt x="632133" y="2406453"/>
                    <a:pt x="630781" y="2407444"/>
                    <a:pt x="629048" y="2407949"/>
                  </a:cubicBezTo>
                  <a:cubicBezTo>
                    <a:pt x="628254" y="2411549"/>
                    <a:pt x="625178" y="2410654"/>
                    <a:pt x="622617" y="2410654"/>
                  </a:cubicBezTo>
                  <a:cubicBezTo>
                    <a:pt x="621513" y="2411806"/>
                    <a:pt x="620338" y="2412873"/>
                    <a:pt x="619305" y="2414016"/>
                  </a:cubicBezTo>
                  <a:cubicBezTo>
                    <a:pt x="614062" y="2418188"/>
                    <a:pt x="609088" y="2423284"/>
                    <a:pt x="601015" y="2424713"/>
                  </a:cubicBezTo>
                  <a:cubicBezTo>
                    <a:pt x="603058" y="2416655"/>
                    <a:pt x="604885" y="2408473"/>
                    <a:pt x="609602" y="2401472"/>
                  </a:cubicBezTo>
                  <a:cubicBezTo>
                    <a:pt x="623195" y="2370230"/>
                    <a:pt x="635695" y="2338502"/>
                    <a:pt x="656131" y="2310622"/>
                  </a:cubicBezTo>
                  <a:cubicBezTo>
                    <a:pt x="673553" y="2287315"/>
                    <a:pt x="695259" y="2270151"/>
                    <a:pt x="722632" y="2258997"/>
                  </a:cubicBezTo>
                  <a:cubicBezTo>
                    <a:pt x="735410" y="2253653"/>
                    <a:pt x="751099" y="2250481"/>
                    <a:pt x="756827" y="2234813"/>
                  </a:cubicBezTo>
                  <a:cubicBezTo>
                    <a:pt x="743358" y="2229307"/>
                    <a:pt x="730032" y="2231879"/>
                    <a:pt x="716626" y="2235222"/>
                  </a:cubicBezTo>
                  <a:cubicBezTo>
                    <a:pt x="716749" y="2235222"/>
                    <a:pt x="716749" y="2235118"/>
                    <a:pt x="716749" y="2235118"/>
                  </a:cubicBezTo>
                  <a:cubicBezTo>
                    <a:pt x="712475" y="2237851"/>
                    <a:pt x="708482" y="2240709"/>
                    <a:pt x="704250" y="2243442"/>
                  </a:cubicBezTo>
                  <a:cubicBezTo>
                    <a:pt x="696446" y="2248795"/>
                    <a:pt x="688344" y="2253996"/>
                    <a:pt x="680665" y="2259540"/>
                  </a:cubicBezTo>
                  <a:cubicBezTo>
                    <a:pt x="677403" y="2262007"/>
                    <a:pt x="673410" y="2265417"/>
                    <a:pt x="670498" y="2263607"/>
                  </a:cubicBezTo>
                  <a:cubicBezTo>
                    <a:pt x="667938" y="2261759"/>
                    <a:pt x="666164" y="2256073"/>
                    <a:pt x="666876" y="2252663"/>
                  </a:cubicBezTo>
                  <a:cubicBezTo>
                    <a:pt x="670643" y="2235660"/>
                    <a:pt x="676690" y="2219735"/>
                    <a:pt x="688169" y="2205533"/>
                  </a:cubicBezTo>
                  <a:cubicBezTo>
                    <a:pt x="706148" y="2182549"/>
                    <a:pt x="729961" y="2164842"/>
                    <a:pt x="747270" y="2141249"/>
                  </a:cubicBezTo>
                  <a:cubicBezTo>
                    <a:pt x="750046" y="2137648"/>
                    <a:pt x="751749" y="2134305"/>
                    <a:pt x="753048" y="2129971"/>
                  </a:cubicBezTo>
                  <a:cubicBezTo>
                    <a:pt x="757075" y="2117665"/>
                    <a:pt x="751108" y="2116293"/>
                    <a:pt x="741365" y="2117779"/>
                  </a:cubicBezTo>
                  <a:cubicBezTo>
                    <a:pt x="739683" y="2121837"/>
                    <a:pt x="736709" y="2124066"/>
                    <a:pt x="732252" y="2123894"/>
                  </a:cubicBezTo>
                  <a:cubicBezTo>
                    <a:pt x="730961" y="2125132"/>
                    <a:pt x="729961" y="2126323"/>
                    <a:pt x="728845" y="2127504"/>
                  </a:cubicBezTo>
                  <a:cubicBezTo>
                    <a:pt x="728122" y="2128238"/>
                    <a:pt x="727070" y="2129019"/>
                    <a:pt x="726471" y="2129857"/>
                  </a:cubicBezTo>
                  <a:cubicBezTo>
                    <a:pt x="725397" y="2132076"/>
                    <a:pt x="723994" y="2134029"/>
                    <a:pt x="721054" y="2134229"/>
                  </a:cubicBezTo>
                  <a:lnTo>
                    <a:pt x="720670" y="2134372"/>
                  </a:lnTo>
                  <a:cubicBezTo>
                    <a:pt x="713095" y="2143239"/>
                    <a:pt x="705406" y="2152107"/>
                    <a:pt x="697810" y="2160899"/>
                  </a:cubicBezTo>
                  <a:cubicBezTo>
                    <a:pt x="690666" y="2171433"/>
                    <a:pt x="685413" y="2183044"/>
                    <a:pt x="675979" y="2191931"/>
                  </a:cubicBezTo>
                  <a:cubicBezTo>
                    <a:pt x="674586" y="2193941"/>
                    <a:pt x="673318" y="2195751"/>
                    <a:pt x="671944" y="2197837"/>
                  </a:cubicBezTo>
                  <a:cubicBezTo>
                    <a:pt x="667733" y="2212810"/>
                    <a:pt x="656142" y="2223878"/>
                    <a:pt x="650537" y="2238346"/>
                  </a:cubicBezTo>
                  <a:cubicBezTo>
                    <a:pt x="649754" y="2240642"/>
                    <a:pt x="647008" y="2241852"/>
                    <a:pt x="646160" y="2240433"/>
                  </a:cubicBezTo>
                  <a:cubicBezTo>
                    <a:pt x="644736" y="2238089"/>
                    <a:pt x="644736" y="2234879"/>
                    <a:pt x="643982" y="2232022"/>
                  </a:cubicBezTo>
                  <a:cubicBezTo>
                    <a:pt x="637089" y="2221849"/>
                    <a:pt x="636592" y="2209524"/>
                    <a:pt x="632154" y="2198542"/>
                  </a:cubicBezTo>
                  <a:cubicBezTo>
                    <a:pt x="630926" y="2195398"/>
                    <a:pt x="632050" y="2190388"/>
                    <a:pt x="627210" y="2190626"/>
                  </a:cubicBezTo>
                  <a:cubicBezTo>
                    <a:pt x="625198" y="2190931"/>
                    <a:pt x="623608" y="2195036"/>
                    <a:pt x="621823" y="2197427"/>
                  </a:cubicBezTo>
                  <a:cubicBezTo>
                    <a:pt x="617704" y="2214115"/>
                    <a:pt x="620078" y="2230908"/>
                    <a:pt x="621916" y="2247614"/>
                  </a:cubicBezTo>
                  <a:cubicBezTo>
                    <a:pt x="622123" y="2249481"/>
                    <a:pt x="622442" y="2251291"/>
                    <a:pt x="622504" y="2253177"/>
                  </a:cubicBezTo>
                  <a:cubicBezTo>
                    <a:pt x="630244" y="2273989"/>
                    <a:pt x="631216" y="2295192"/>
                    <a:pt x="625994" y="2316594"/>
                  </a:cubicBezTo>
                  <a:cubicBezTo>
                    <a:pt x="623454" y="2327091"/>
                    <a:pt x="620916" y="2337778"/>
                    <a:pt x="613216" y="2346151"/>
                  </a:cubicBezTo>
                  <a:cubicBezTo>
                    <a:pt x="606413" y="2368572"/>
                    <a:pt x="595730" y="2389156"/>
                    <a:pt x="581662" y="2408111"/>
                  </a:cubicBezTo>
                  <a:cubicBezTo>
                    <a:pt x="581446" y="2408873"/>
                    <a:pt x="581363" y="2409701"/>
                    <a:pt x="581013" y="2410349"/>
                  </a:cubicBezTo>
                  <a:cubicBezTo>
                    <a:pt x="581734" y="2412521"/>
                    <a:pt x="580743" y="2413521"/>
                    <a:pt x="578948" y="2413997"/>
                  </a:cubicBezTo>
                  <a:cubicBezTo>
                    <a:pt x="578772" y="2417817"/>
                    <a:pt x="577905" y="2420941"/>
                    <a:pt x="573135" y="2420941"/>
                  </a:cubicBezTo>
                  <a:lnTo>
                    <a:pt x="573251" y="2421360"/>
                  </a:lnTo>
                  <a:cubicBezTo>
                    <a:pt x="573334" y="2423760"/>
                    <a:pt x="571827" y="2424941"/>
                    <a:pt x="569730" y="2424236"/>
                  </a:cubicBezTo>
                  <a:cubicBezTo>
                    <a:pt x="564952" y="2422189"/>
                    <a:pt x="566118" y="2418064"/>
                    <a:pt x="566531" y="2414283"/>
                  </a:cubicBezTo>
                  <a:cubicBezTo>
                    <a:pt x="562878" y="2409558"/>
                    <a:pt x="563259" y="2403872"/>
                    <a:pt x="562774" y="2398347"/>
                  </a:cubicBezTo>
                  <a:cubicBezTo>
                    <a:pt x="562093" y="2389784"/>
                    <a:pt x="555621" y="2383184"/>
                    <a:pt x="548458" y="2383574"/>
                  </a:cubicBezTo>
                  <a:cubicBezTo>
                    <a:pt x="541667" y="2384079"/>
                    <a:pt x="538921" y="2393271"/>
                    <a:pt x="538952" y="2399862"/>
                  </a:cubicBezTo>
                  <a:cubicBezTo>
                    <a:pt x="539107" y="2411787"/>
                    <a:pt x="545785" y="2422341"/>
                    <a:pt x="549304" y="2433542"/>
                  </a:cubicBezTo>
                  <a:cubicBezTo>
                    <a:pt x="550936" y="2438200"/>
                    <a:pt x="553990" y="2442601"/>
                    <a:pt x="553723" y="2447897"/>
                  </a:cubicBezTo>
                  <a:cubicBezTo>
                    <a:pt x="563084" y="2462203"/>
                    <a:pt x="561236" y="2478138"/>
                    <a:pt x="558212" y="2493350"/>
                  </a:cubicBezTo>
                  <a:cubicBezTo>
                    <a:pt x="556147" y="2505256"/>
                    <a:pt x="552587" y="2516924"/>
                    <a:pt x="553587" y="2529193"/>
                  </a:cubicBezTo>
                  <a:cubicBezTo>
                    <a:pt x="555239" y="2550624"/>
                    <a:pt x="549614" y="2571750"/>
                    <a:pt x="549820" y="2593201"/>
                  </a:cubicBezTo>
                  <a:cubicBezTo>
                    <a:pt x="551979" y="2600525"/>
                    <a:pt x="548025" y="2606621"/>
                    <a:pt x="541987" y="2607593"/>
                  </a:cubicBezTo>
                  <a:cubicBezTo>
                    <a:pt x="536898" y="2608183"/>
                    <a:pt x="536630" y="2600525"/>
                    <a:pt x="534762" y="2596068"/>
                  </a:cubicBezTo>
                  <a:cubicBezTo>
                    <a:pt x="523275" y="2569378"/>
                    <a:pt x="513211" y="2542299"/>
                    <a:pt x="513066" y="2512838"/>
                  </a:cubicBezTo>
                  <a:cubicBezTo>
                    <a:pt x="512921" y="2495445"/>
                    <a:pt x="516347" y="2478205"/>
                    <a:pt x="528166" y="2464194"/>
                  </a:cubicBezTo>
                  <a:cubicBezTo>
                    <a:pt x="538963" y="2451659"/>
                    <a:pt x="535741" y="2437552"/>
                    <a:pt x="530560" y="2425351"/>
                  </a:cubicBezTo>
                  <a:cubicBezTo>
                    <a:pt x="519918" y="2400643"/>
                    <a:pt x="522098" y="2379107"/>
                    <a:pt x="537900" y="2357200"/>
                  </a:cubicBezTo>
                  <a:cubicBezTo>
                    <a:pt x="549749" y="2341102"/>
                    <a:pt x="550120" y="2319795"/>
                    <a:pt x="559874" y="2302469"/>
                  </a:cubicBezTo>
                  <a:cubicBezTo>
                    <a:pt x="564653" y="2293792"/>
                    <a:pt x="570361" y="2285190"/>
                    <a:pt x="578462" y="2280133"/>
                  </a:cubicBezTo>
                  <a:cubicBezTo>
                    <a:pt x="586782" y="2274665"/>
                    <a:pt x="589609" y="2267503"/>
                    <a:pt x="591787" y="2259187"/>
                  </a:cubicBezTo>
                  <a:cubicBezTo>
                    <a:pt x="591972" y="2237699"/>
                    <a:pt x="587525" y="2215915"/>
                    <a:pt x="593872" y="2194570"/>
                  </a:cubicBezTo>
                  <a:cubicBezTo>
                    <a:pt x="594988" y="2182025"/>
                    <a:pt x="601355" y="2172119"/>
                    <a:pt x="609385" y="2162823"/>
                  </a:cubicBezTo>
                  <a:cubicBezTo>
                    <a:pt x="622123" y="2147935"/>
                    <a:pt x="634580" y="2132790"/>
                    <a:pt x="647017" y="2117779"/>
                  </a:cubicBezTo>
                  <a:cubicBezTo>
                    <a:pt x="652076" y="2110531"/>
                    <a:pt x="655552" y="2116293"/>
                    <a:pt x="659734" y="2118779"/>
                  </a:cubicBezTo>
                  <a:cubicBezTo>
                    <a:pt x="665853" y="2122246"/>
                    <a:pt x="671034" y="2128047"/>
                    <a:pt x="679004" y="2127409"/>
                  </a:cubicBezTo>
                  <a:cubicBezTo>
                    <a:pt x="681243" y="2127047"/>
                    <a:pt x="683236" y="2126799"/>
                    <a:pt x="685238" y="2126466"/>
                  </a:cubicBezTo>
                  <a:cubicBezTo>
                    <a:pt x="688179" y="2119417"/>
                    <a:pt x="691152" y="2112350"/>
                    <a:pt x="693856" y="2105339"/>
                  </a:cubicBezTo>
                  <a:cubicBezTo>
                    <a:pt x="694361" y="2102996"/>
                    <a:pt x="694806" y="2100748"/>
                    <a:pt x="695095" y="2098491"/>
                  </a:cubicBezTo>
                  <a:cubicBezTo>
                    <a:pt x="694598" y="2094414"/>
                    <a:pt x="692422" y="2090166"/>
                    <a:pt x="696776" y="2086880"/>
                  </a:cubicBezTo>
                  <a:cubicBezTo>
                    <a:pt x="697241" y="2084737"/>
                    <a:pt x="697810" y="2082537"/>
                    <a:pt x="698128" y="2080422"/>
                  </a:cubicBezTo>
                  <a:cubicBezTo>
                    <a:pt x="695951" y="2070687"/>
                    <a:pt x="700368" y="2062934"/>
                    <a:pt x="705395" y="2055419"/>
                  </a:cubicBezTo>
                  <a:cubicBezTo>
                    <a:pt x="705395" y="2055419"/>
                    <a:pt x="705343" y="2054447"/>
                    <a:pt x="705395" y="2054447"/>
                  </a:cubicBezTo>
                  <a:cubicBezTo>
                    <a:pt x="706954" y="2048123"/>
                    <a:pt x="710267" y="2043265"/>
                    <a:pt x="716078" y="2040303"/>
                  </a:cubicBezTo>
                  <a:cubicBezTo>
                    <a:pt x="717193" y="2037102"/>
                    <a:pt x="719773" y="2037188"/>
                    <a:pt x="722312" y="2037188"/>
                  </a:cubicBezTo>
                  <a:cubicBezTo>
                    <a:pt x="736946" y="2026872"/>
                    <a:pt x="753804" y="2032311"/>
                    <a:pt x="769791" y="2030073"/>
                  </a:cubicBezTo>
                  <a:cubicBezTo>
                    <a:pt x="775695" y="2035407"/>
                    <a:pt x="780411" y="2041789"/>
                    <a:pt x="782681" y="2049561"/>
                  </a:cubicBezTo>
                  <a:cubicBezTo>
                    <a:pt x="783621" y="2050628"/>
                    <a:pt x="784530" y="2051580"/>
                    <a:pt x="785592" y="2052599"/>
                  </a:cubicBezTo>
                  <a:cubicBezTo>
                    <a:pt x="800610" y="2073488"/>
                    <a:pt x="802241" y="2095071"/>
                    <a:pt x="788473" y="2117265"/>
                  </a:cubicBezTo>
                  <a:cubicBezTo>
                    <a:pt x="781464" y="2128876"/>
                    <a:pt x="774105" y="2140239"/>
                    <a:pt x="766921" y="2151869"/>
                  </a:cubicBezTo>
                  <a:cubicBezTo>
                    <a:pt x="766507" y="2153003"/>
                    <a:pt x="766137" y="2153936"/>
                    <a:pt x="765754" y="2154936"/>
                  </a:cubicBezTo>
                  <a:cubicBezTo>
                    <a:pt x="764991" y="2170814"/>
                    <a:pt x="768551" y="2182549"/>
                    <a:pt x="788132" y="2182806"/>
                  </a:cubicBezTo>
                  <a:cubicBezTo>
                    <a:pt x="793013" y="2182901"/>
                    <a:pt x="796967" y="2187712"/>
                    <a:pt x="794025" y="2192855"/>
                  </a:cubicBezTo>
                  <a:cubicBezTo>
                    <a:pt x="790733" y="2198551"/>
                    <a:pt x="791537" y="2205971"/>
                    <a:pt x="786263" y="2210581"/>
                  </a:cubicBezTo>
                  <a:lnTo>
                    <a:pt x="786758" y="2211296"/>
                  </a:lnTo>
                  <a:cubicBezTo>
                    <a:pt x="780969" y="2231708"/>
                    <a:pt x="775167" y="2252253"/>
                    <a:pt x="766921" y="2271932"/>
                  </a:cubicBezTo>
                  <a:cubicBezTo>
                    <a:pt x="766507" y="2273980"/>
                    <a:pt x="766199" y="2276075"/>
                    <a:pt x="765900" y="2278028"/>
                  </a:cubicBezTo>
                  <a:cubicBezTo>
                    <a:pt x="763247" y="2285495"/>
                    <a:pt x="759377" y="2292906"/>
                    <a:pt x="758529" y="2300669"/>
                  </a:cubicBezTo>
                  <a:cubicBezTo>
                    <a:pt x="754979" y="2324862"/>
                    <a:pt x="737246" y="2333539"/>
                    <a:pt x="716799" y="2339959"/>
                  </a:cubicBezTo>
                  <a:cubicBezTo>
                    <a:pt x="715571" y="2342522"/>
                    <a:pt x="713271" y="2342979"/>
                    <a:pt x="710712" y="2342979"/>
                  </a:cubicBezTo>
                  <a:cubicBezTo>
                    <a:pt x="709421" y="2345389"/>
                    <a:pt x="707284" y="2346036"/>
                    <a:pt x="704828" y="2345865"/>
                  </a:cubicBezTo>
                  <a:cubicBezTo>
                    <a:pt x="702298" y="2356818"/>
                    <a:pt x="706563" y="2366543"/>
                    <a:pt x="710247" y="2376440"/>
                  </a:cubicBezTo>
                  <a:cubicBezTo>
                    <a:pt x="712361" y="2381679"/>
                    <a:pt x="716739" y="2386994"/>
                    <a:pt x="710452" y="2392347"/>
                  </a:cubicBezTo>
                  <a:cubicBezTo>
                    <a:pt x="701699" y="2411616"/>
                    <a:pt x="689376" y="2428542"/>
                    <a:pt x="675163" y="2444144"/>
                  </a:cubicBezTo>
                  <a:cubicBezTo>
                    <a:pt x="665307" y="2465546"/>
                    <a:pt x="658619" y="2489759"/>
                    <a:pt x="629131" y="2493569"/>
                  </a:cubicBezTo>
                  <a:cubicBezTo>
                    <a:pt x="621265" y="2495064"/>
                    <a:pt x="612534" y="2495445"/>
                    <a:pt x="606001" y="2500189"/>
                  </a:cubicBezTo>
                  <a:cubicBezTo>
                    <a:pt x="592407" y="2510133"/>
                    <a:pt x="590270" y="2525640"/>
                    <a:pt x="601324" y="2539060"/>
                  </a:cubicBezTo>
                  <a:cubicBezTo>
                    <a:pt x="607558" y="2546642"/>
                    <a:pt x="607558" y="2552852"/>
                    <a:pt x="604121" y="2561244"/>
                  </a:cubicBezTo>
                  <a:cubicBezTo>
                    <a:pt x="595575" y="2580723"/>
                    <a:pt x="587731" y="2600268"/>
                    <a:pt x="577151" y="2619604"/>
                  </a:cubicBezTo>
                  <a:close/>
                  <a:moveTo>
                    <a:pt x="308970" y="2723617"/>
                  </a:moveTo>
                  <a:cubicBezTo>
                    <a:pt x="294315" y="2708262"/>
                    <a:pt x="274012" y="2699918"/>
                    <a:pt x="259293" y="2684869"/>
                  </a:cubicBezTo>
                  <a:cubicBezTo>
                    <a:pt x="240199" y="2665028"/>
                    <a:pt x="243906" y="2651389"/>
                    <a:pt x="270946" y="2642264"/>
                  </a:cubicBezTo>
                  <a:cubicBezTo>
                    <a:pt x="281123" y="2633377"/>
                    <a:pt x="294448" y="2630576"/>
                    <a:pt x="306793" y="2627376"/>
                  </a:cubicBezTo>
                  <a:cubicBezTo>
                    <a:pt x="325701" y="2622376"/>
                    <a:pt x="334310" y="2636977"/>
                    <a:pt x="343362" y="2649112"/>
                  </a:cubicBezTo>
                  <a:cubicBezTo>
                    <a:pt x="347717" y="2655037"/>
                    <a:pt x="350762" y="2662076"/>
                    <a:pt x="354437" y="2668410"/>
                  </a:cubicBezTo>
                  <a:lnTo>
                    <a:pt x="354880" y="2668715"/>
                  </a:lnTo>
                  <a:cubicBezTo>
                    <a:pt x="366161" y="2682450"/>
                    <a:pt x="379043" y="2683507"/>
                    <a:pt x="393235" y="2673172"/>
                  </a:cubicBezTo>
                  <a:cubicBezTo>
                    <a:pt x="405651" y="2659256"/>
                    <a:pt x="418572" y="2666352"/>
                    <a:pt x="431237" y="2672506"/>
                  </a:cubicBezTo>
                  <a:cubicBezTo>
                    <a:pt x="464049" y="2683631"/>
                    <a:pt x="472843" y="2694604"/>
                    <a:pt x="471760" y="2722340"/>
                  </a:cubicBezTo>
                  <a:cubicBezTo>
                    <a:pt x="472442" y="2725770"/>
                    <a:pt x="472442" y="2728998"/>
                    <a:pt x="474402" y="2732465"/>
                  </a:cubicBezTo>
                  <a:cubicBezTo>
                    <a:pt x="481204" y="2744648"/>
                    <a:pt x="485694" y="2745467"/>
                    <a:pt x="495128" y="2735113"/>
                  </a:cubicBezTo>
                  <a:cubicBezTo>
                    <a:pt x="497688" y="2732561"/>
                    <a:pt x="500628" y="2730560"/>
                    <a:pt x="503167" y="2728246"/>
                  </a:cubicBezTo>
                  <a:cubicBezTo>
                    <a:pt x="514698" y="2715816"/>
                    <a:pt x="521323" y="2719016"/>
                    <a:pt x="531066" y="2740895"/>
                  </a:cubicBezTo>
                  <a:cubicBezTo>
                    <a:pt x="532469" y="2742886"/>
                    <a:pt x="533677" y="2744953"/>
                    <a:pt x="535092" y="2747182"/>
                  </a:cubicBezTo>
                  <a:cubicBezTo>
                    <a:pt x="540985" y="2754621"/>
                    <a:pt x="545929" y="2762469"/>
                    <a:pt x="546920" y="2772099"/>
                  </a:cubicBezTo>
                  <a:cubicBezTo>
                    <a:pt x="547365" y="2772661"/>
                    <a:pt x="547726" y="2773556"/>
                    <a:pt x="547365" y="2774280"/>
                  </a:cubicBezTo>
                  <a:cubicBezTo>
                    <a:pt x="551699" y="2778947"/>
                    <a:pt x="553062" y="2784605"/>
                    <a:pt x="553412" y="2790863"/>
                  </a:cubicBezTo>
                  <a:cubicBezTo>
                    <a:pt x="553847" y="2791511"/>
                    <a:pt x="554073" y="2792425"/>
                    <a:pt x="554073" y="2793264"/>
                  </a:cubicBezTo>
                  <a:cubicBezTo>
                    <a:pt x="561257" y="2811180"/>
                    <a:pt x="561029" y="2828363"/>
                    <a:pt x="550956" y="2845194"/>
                  </a:cubicBezTo>
                  <a:cubicBezTo>
                    <a:pt x="548716" y="2848966"/>
                    <a:pt x="546910" y="2852195"/>
                    <a:pt x="541946" y="2851080"/>
                  </a:cubicBezTo>
                  <a:cubicBezTo>
                    <a:pt x="537188" y="2852500"/>
                    <a:pt x="532419" y="2853852"/>
                    <a:pt x="532120" y="2846337"/>
                  </a:cubicBezTo>
                  <a:cubicBezTo>
                    <a:pt x="531799" y="2842279"/>
                    <a:pt x="531242" y="2838422"/>
                    <a:pt x="529415" y="2834535"/>
                  </a:cubicBezTo>
                  <a:cubicBezTo>
                    <a:pt x="526825" y="2828773"/>
                    <a:pt x="532120" y="2818038"/>
                    <a:pt x="524708" y="2816895"/>
                  </a:cubicBezTo>
                  <a:cubicBezTo>
                    <a:pt x="517762" y="2815809"/>
                    <a:pt x="512613" y="2825544"/>
                    <a:pt x="507802" y="2831287"/>
                  </a:cubicBezTo>
                  <a:cubicBezTo>
                    <a:pt x="496975" y="2844889"/>
                    <a:pt x="489997" y="2846318"/>
                    <a:pt x="478107" y="2834335"/>
                  </a:cubicBezTo>
                  <a:cubicBezTo>
                    <a:pt x="454822" y="2810999"/>
                    <a:pt x="444377" y="2782024"/>
                    <a:pt x="440496" y="2749858"/>
                  </a:cubicBezTo>
                  <a:cubicBezTo>
                    <a:pt x="438639" y="2733647"/>
                    <a:pt x="436234" y="2717083"/>
                    <a:pt x="427903" y="2700785"/>
                  </a:cubicBezTo>
                  <a:cubicBezTo>
                    <a:pt x="425282" y="2704843"/>
                    <a:pt x="423353" y="2707615"/>
                    <a:pt x="421484" y="2710386"/>
                  </a:cubicBezTo>
                  <a:cubicBezTo>
                    <a:pt x="423424" y="2726931"/>
                    <a:pt x="420370" y="2742962"/>
                    <a:pt x="415745" y="2758774"/>
                  </a:cubicBezTo>
                  <a:cubicBezTo>
                    <a:pt x="393586" y="2747505"/>
                    <a:pt x="380003" y="2727027"/>
                    <a:pt x="362590" y="2710882"/>
                  </a:cubicBezTo>
                  <a:cubicBezTo>
                    <a:pt x="348852" y="2698156"/>
                    <a:pt x="336488" y="2683755"/>
                    <a:pt x="314833" y="2679059"/>
                  </a:cubicBezTo>
                  <a:cubicBezTo>
                    <a:pt x="319952" y="2694013"/>
                    <a:pt x="327281" y="2705443"/>
                    <a:pt x="334578" y="2717026"/>
                  </a:cubicBezTo>
                  <a:cubicBezTo>
                    <a:pt x="337448" y="2717197"/>
                    <a:pt x="338057" y="2719073"/>
                    <a:pt x="338583" y="2721407"/>
                  </a:cubicBezTo>
                  <a:cubicBezTo>
                    <a:pt x="348760" y="2728284"/>
                    <a:pt x="357657" y="2736780"/>
                    <a:pt x="365016" y="2746677"/>
                  </a:cubicBezTo>
                  <a:cubicBezTo>
                    <a:pt x="377494" y="2757488"/>
                    <a:pt x="390613" y="2767774"/>
                    <a:pt x="398943" y="2782691"/>
                  </a:cubicBezTo>
                  <a:cubicBezTo>
                    <a:pt x="379971" y="2788253"/>
                    <a:pt x="360279" y="2777090"/>
                    <a:pt x="343765" y="2790206"/>
                  </a:cubicBezTo>
                  <a:cubicBezTo>
                    <a:pt x="337252" y="2798074"/>
                    <a:pt x="343362" y="2801369"/>
                    <a:pt x="349409" y="2801941"/>
                  </a:cubicBezTo>
                  <a:cubicBezTo>
                    <a:pt x="359586" y="2802979"/>
                    <a:pt x="369248" y="2806884"/>
                    <a:pt x="379837" y="2805874"/>
                  </a:cubicBezTo>
                  <a:cubicBezTo>
                    <a:pt x="384399" y="2805570"/>
                    <a:pt x="390375" y="2803046"/>
                    <a:pt x="394122" y="2808742"/>
                  </a:cubicBezTo>
                  <a:cubicBezTo>
                    <a:pt x="408459" y="2808627"/>
                    <a:pt x="422104" y="2810685"/>
                    <a:pt x="434769" y="2817866"/>
                  </a:cubicBezTo>
                  <a:cubicBezTo>
                    <a:pt x="447216" y="2821467"/>
                    <a:pt x="455750" y="2829935"/>
                    <a:pt x="463358" y="2839527"/>
                  </a:cubicBezTo>
                  <a:cubicBezTo>
                    <a:pt x="466166" y="2840526"/>
                    <a:pt x="466083" y="2842993"/>
                    <a:pt x="466166" y="2845175"/>
                  </a:cubicBezTo>
                  <a:cubicBezTo>
                    <a:pt x="470170" y="2849471"/>
                    <a:pt x="471760" y="2850766"/>
                    <a:pt x="464659" y="2856414"/>
                  </a:cubicBezTo>
                  <a:cubicBezTo>
                    <a:pt x="451416" y="2866959"/>
                    <a:pt x="437297" y="2875274"/>
                    <a:pt x="422609" y="2882846"/>
                  </a:cubicBezTo>
                  <a:lnTo>
                    <a:pt x="422166" y="2883246"/>
                  </a:lnTo>
                  <a:cubicBezTo>
                    <a:pt x="422104" y="2884980"/>
                    <a:pt x="422083" y="2886609"/>
                    <a:pt x="421742" y="2888247"/>
                  </a:cubicBezTo>
                  <a:cubicBezTo>
                    <a:pt x="442685" y="2892133"/>
                    <a:pt x="461872" y="2879427"/>
                    <a:pt x="482844" y="2882456"/>
                  </a:cubicBezTo>
                  <a:cubicBezTo>
                    <a:pt x="489832" y="2883551"/>
                    <a:pt x="497243" y="2882599"/>
                    <a:pt x="505005" y="2882599"/>
                  </a:cubicBezTo>
                  <a:cubicBezTo>
                    <a:pt x="473400" y="2925585"/>
                    <a:pt x="430371" y="2928709"/>
                    <a:pt x="389755" y="2898724"/>
                  </a:cubicBezTo>
                  <a:cubicBezTo>
                    <a:pt x="386341" y="2896019"/>
                    <a:pt x="383904" y="2892914"/>
                    <a:pt x="384399" y="2888218"/>
                  </a:cubicBezTo>
                  <a:cubicBezTo>
                    <a:pt x="384905" y="2883675"/>
                    <a:pt x="384637" y="2878951"/>
                    <a:pt x="385608" y="2874521"/>
                  </a:cubicBezTo>
                  <a:cubicBezTo>
                    <a:pt x="391636" y="2845765"/>
                    <a:pt x="391758" y="2845765"/>
                    <a:pt x="362590" y="2836355"/>
                  </a:cubicBezTo>
                  <a:cubicBezTo>
                    <a:pt x="352795" y="2836574"/>
                    <a:pt x="343495" y="2836117"/>
                    <a:pt x="336932" y="2827535"/>
                  </a:cubicBezTo>
                  <a:cubicBezTo>
                    <a:pt x="316247" y="2817610"/>
                    <a:pt x="307237" y="2798760"/>
                    <a:pt x="300890" y="2778919"/>
                  </a:cubicBezTo>
                  <a:cubicBezTo>
                    <a:pt x="298969" y="2773395"/>
                    <a:pt x="305751" y="2765451"/>
                    <a:pt x="310808" y="2759335"/>
                  </a:cubicBezTo>
                  <a:cubicBezTo>
                    <a:pt x="322244" y="2745829"/>
                    <a:pt x="321005" y="2736390"/>
                    <a:pt x="308970" y="2723617"/>
                  </a:cubicBezTo>
                  <a:close/>
                  <a:moveTo>
                    <a:pt x="359204" y="3058230"/>
                  </a:moveTo>
                  <a:cubicBezTo>
                    <a:pt x="357233" y="3058411"/>
                    <a:pt x="355262" y="3058706"/>
                    <a:pt x="353177" y="3058944"/>
                  </a:cubicBezTo>
                  <a:cubicBezTo>
                    <a:pt x="340998" y="3066069"/>
                    <a:pt x="329954" y="3058820"/>
                    <a:pt x="318446" y="3056001"/>
                  </a:cubicBezTo>
                  <a:cubicBezTo>
                    <a:pt x="317538" y="3055811"/>
                    <a:pt x="316598" y="3055696"/>
                    <a:pt x="315803" y="3055353"/>
                  </a:cubicBezTo>
                  <a:cubicBezTo>
                    <a:pt x="310147" y="3056163"/>
                    <a:pt x="306122" y="3053458"/>
                    <a:pt x="302685" y="3049534"/>
                  </a:cubicBezTo>
                  <a:cubicBezTo>
                    <a:pt x="301611" y="3048753"/>
                    <a:pt x="300632" y="3047772"/>
                    <a:pt x="299476" y="3046867"/>
                  </a:cubicBezTo>
                  <a:cubicBezTo>
                    <a:pt x="293024" y="3046571"/>
                    <a:pt x="290589" y="3041494"/>
                    <a:pt x="287285" y="3037313"/>
                  </a:cubicBezTo>
                  <a:cubicBezTo>
                    <a:pt x="277192" y="3036484"/>
                    <a:pt x="274580" y="3030207"/>
                    <a:pt x="274837" y="3021444"/>
                  </a:cubicBezTo>
                  <a:cubicBezTo>
                    <a:pt x="274837" y="3008262"/>
                    <a:pt x="274363" y="2994841"/>
                    <a:pt x="274837" y="2981639"/>
                  </a:cubicBezTo>
                  <a:cubicBezTo>
                    <a:pt x="275116" y="2972200"/>
                    <a:pt x="273600" y="2966961"/>
                    <a:pt x="261751" y="2965895"/>
                  </a:cubicBezTo>
                  <a:cubicBezTo>
                    <a:pt x="244070" y="2964247"/>
                    <a:pt x="228442" y="2954541"/>
                    <a:pt x="216429" y="2943073"/>
                  </a:cubicBezTo>
                  <a:cubicBezTo>
                    <a:pt x="199842" y="2927185"/>
                    <a:pt x="205138" y="2907640"/>
                    <a:pt x="214416" y="2889047"/>
                  </a:cubicBezTo>
                  <a:cubicBezTo>
                    <a:pt x="215243" y="2886923"/>
                    <a:pt x="214881" y="2883932"/>
                    <a:pt x="217904" y="2882817"/>
                  </a:cubicBezTo>
                  <a:cubicBezTo>
                    <a:pt x="217904" y="2878951"/>
                    <a:pt x="220063" y="2875912"/>
                    <a:pt x="222539" y="2873092"/>
                  </a:cubicBezTo>
                  <a:lnTo>
                    <a:pt x="222797" y="2872035"/>
                  </a:lnTo>
                  <a:cubicBezTo>
                    <a:pt x="232417" y="2850433"/>
                    <a:pt x="242831" y="2848023"/>
                    <a:pt x="262401" y="2863567"/>
                  </a:cubicBezTo>
                  <a:cubicBezTo>
                    <a:pt x="267170" y="2867454"/>
                    <a:pt x="270884" y="2872388"/>
                    <a:pt x="274951" y="2876864"/>
                  </a:cubicBezTo>
                  <a:cubicBezTo>
                    <a:pt x="275654" y="2877750"/>
                    <a:pt x="276768" y="2878626"/>
                    <a:pt x="277770" y="2879331"/>
                  </a:cubicBezTo>
                  <a:cubicBezTo>
                    <a:pt x="284056" y="2884618"/>
                    <a:pt x="290567" y="2889904"/>
                    <a:pt x="296905" y="2895114"/>
                  </a:cubicBezTo>
                  <a:cubicBezTo>
                    <a:pt x="308754" y="2897400"/>
                    <a:pt x="316237" y="2893581"/>
                    <a:pt x="317971" y="2881303"/>
                  </a:cubicBezTo>
                  <a:cubicBezTo>
                    <a:pt x="318600" y="2878284"/>
                    <a:pt x="319685" y="2875464"/>
                    <a:pt x="320717" y="2872502"/>
                  </a:cubicBezTo>
                  <a:cubicBezTo>
                    <a:pt x="326599" y="2854566"/>
                    <a:pt x="339005" y="2849842"/>
                    <a:pt x="355685" y="2859805"/>
                  </a:cubicBezTo>
                  <a:cubicBezTo>
                    <a:pt x="358936" y="2861958"/>
                    <a:pt x="362848" y="2864044"/>
                    <a:pt x="360950" y="2870816"/>
                  </a:cubicBezTo>
                  <a:cubicBezTo>
                    <a:pt x="354633" y="2893228"/>
                    <a:pt x="360196" y="2905354"/>
                    <a:pt x="381323" y="2919413"/>
                  </a:cubicBezTo>
                  <a:cubicBezTo>
                    <a:pt x="398860" y="2925766"/>
                    <a:pt x="416138" y="2932357"/>
                    <a:pt x="433911" y="2938301"/>
                  </a:cubicBezTo>
                  <a:cubicBezTo>
                    <a:pt x="440713" y="2940606"/>
                    <a:pt x="440713" y="2943244"/>
                    <a:pt x="436377" y="2947759"/>
                  </a:cubicBezTo>
                  <a:cubicBezTo>
                    <a:pt x="435046" y="2949121"/>
                    <a:pt x="433065" y="2950426"/>
                    <a:pt x="432466" y="2952245"/>
                  </a:cubicBezTo>
                  <a:cubicBezTo>
                    <a:pt x="425954" y="2967657"/>
                    <a:pt x="418955" y="2962913"/>
                    <a:pt x="410802" y="2953522"/>
                  </a:cubicBezTo>
                  <a:cubicBezTo>
                    <a:pt x="404825" y="2946787"/>
                    <a:pt x="402535" y="2936596"/>
                    <a:pt x="391315" y="2935396"/>
                  </a:cubicBezTo>
                  <a:cubicBezTo>
                    <a:pt x="370743" y="2958313"/>
                    <a:pt x="366007" y="2959208"/>
                    <a:pt x="330366" y="2941301"/>
                  </a:cubicBezTo>
                  <a:cubicBezTo>
                    <a:pt x="310797" y="2931452"/>
                    <a:pt x="291796" y="2920298"/>
                    <a:pt x="272566" y="2909697"/>
                  </a:cubicBezTo>
                  <a:cubicBezTo>
                    <a:pt x="265466" y="2905639"/>
                    <a:pt x="255414" y="2899763"/>
                    <a:pt x="250707" y="2907325"/>
                  </a:cubicBezTo>
                  <a:cubicBezTo>
                    <a:pt x="245733" y="2915336"/>
                    <a:pt x="254082" y="2924461"/>
                    <a:pt x="259996" y="2931176"/>
                  </a:cubicBezTo>
                  <a:cubicBezTo>
                    <a:pt x="263763" y="2935481"/>
                    <a:pt x="269832" y="2938005"/>
                    <a:pt x="274837" y="2941225"/>
                  </a:cubicBezTo>
                  <a:cubicBezTo>
                    <a:pt x="288463" y="2946483"/>
                    <a:pt x="301848" y="2951445"/>
                    <a:pt x="315557" y="2956722"/>
                  </a:cubicBezTo>
                  <a:cubicBezTo>
                    <a:pt x="332605" y="2959903"/>
                    <a:pt x="349143" y="2964247"/>
                    <a:pt x="365450" y="2969781"/>
                  </a:cubicBezTo>
                  <a:cubicBezTo>
                    <a:pt x="367525" y="2969390"/>
                    <a:pt x="368484" y="2970428"/>
                    <a:pt x="368949" y="2972200"/>
                  </a:cubicBezTo>
                  <a:cubicBezTo>
                    <a:pt x="373975" y="2972067"/>
                    <a:pt x="378805" y="2972591"/>
                    <a:pt x="382521" y="2977248"/>
                  </a:cubicBezTo>
                  <a:cubicBezTo>
                    <a:pt x="378805" y="2978325"/>
                    <a:pt x="377299" y="2983697"/>
                    <a:pt x="371983" y="2983697"/>
                  </a:cubicBezTo>
                  <a:cubicBezTo>
                    <a:pt x="366988" y="2987307"/>
                    <a:pt x="361765" y="2990764"/>
                    <a:pt x="356780" y="2994012"/>
                  </a:cubicBezTo>
                  <a:cubicBezTo>
                    <a:pt x="353847" y="2997718"/>
                    <a:pt x="351939" y="3002385"/>
                    <a:pt x="346314" y="3002661"/>
                  </a:cubicBezTo>
                  <a:cubicBezTo>
                    <a:pt x="345694" y="3003280"/>
                    <a:pt x="344931" y="3003633"/>
                    <a:pt x="344198" y="3003633"/>
                  </a:cubicBezTo>
                  <a:cubicBezTo>
                    <a:pt x="342526" y="3006119"/>
                    <a:pt x="341514" y="3008976"/>
                    <a:pt x="339522" y="3011224"/>
                  </a:cubicBezTo>
                  <a:cubicBezTo>
                    <a:pt x="336920" y="3014443"/>
                    <a:pt x="333287" y="3017806"/>
                    <a:pt x="334960" y="3021978"/>
                  </a:cubicBezTo>
                  <a:cubicBezTo>
                    <a:pt x="337045" y="3027788"/>
                    <a:pt x="343227" y="3023616"/>
                    <a:pt x="347108" y="3025159"/>
                  </a:cubicBezTo>
                  <a:cubicBezTo>
                    <a:pt x="366161" y="3020159"/>
                    <a:pt x="377195" y="3001128"/>
                    <a:pt x="399531" y="2996175"/>
                  </a:cubicBezTo>
                  <a:cubicBezTo>
                    <a:pt x="396176" y="3003785"/>
                    <a:pt x="393750" y="3009729"/>
                    <a:pt x="391315" y="3015491"/>
                  </a:cubicBezTo>
                  <a:cubicBezTo>
                    <a:pt x="390788" y="3018073"/>
                    <a:pt x="391499" y="3021387"/>
                    <a:pt x="387661" y="3022273"/>
                  </a:cubicBezTo>
                  <a:cubicBezTo>
                    <a:pt x="387661" y="3022854"/>
                    <a:pt x="387599" y="3023435"/>
                    <a:pt x="387341" y="3024026"/>
                  </a:cubicBezTo>
                  <a:cubicBezTo>
                    <a:pt x="385483" y="3034446"/>
                    <a:pt x="380581" y="3043666"/>
                    <a:pt x="376473" y="3053268"/>
                  </a:cubicBezTo>
                  <a:cubicBezTo>
                    <a:pt x="372488" y="3062278"/>
                    <a:pt x="365336" y="3058059"/>
                    <a:pt x="359204" y="3058230"/>
                  </a:cubicBezTo>
                  <a:close/>
                  <a:moveTo>
                    <a:pt x="432734" y="3353819"/>
                  </a:moveTo>
                  <a:cubicBezTo>
                    <a:pt x="414218" y="3330826"/>
                    <a:pt x="439712" y="3310728"/>
                    <a:pt x="432942" y="3286754"/>
                  </a:cubicBezTo>
                  <a:cubicBezTo>
                    <a:pt x="421505" y="3307718"/>
                    <a:pt x="417418" y="3328216"/>
                    <a:pt x="405910" y="3345809"/>
                  </a:cubicBezTo>
                  <a:cubicBezTo>
                    <a:pt x="395669" y="3337494"/>
                    <a:pt x="397197" y="3327083"/>
                    <a:pt x="397662" y="3317081"/>
                  </a:cubicBezTo>
                  <a:cubicBezTo>
                    <a:pt x="397662" y="3315795"/>
                    <a:pt x="399779" y="3314491"/>
                    <a:pt x="399779" y="3313119"/>
                  </a:cubicBezTo>
                  <a:cubicBezTo>
                    <a:pt x="399459" y="3303394"/>
                    <a:pt x="405909" y="3289202"/>
                    <a:pt x="395227" y="3285506"/>
                  </a:cubicBezTo>
                  <a:cubicBezTo>
                    <a:pt x="387629" y="3282725"/>
                    <a:pt x="388776" y="3298584"/>
                    <a:pt x="383749" y="3304947"/>
                  </a:cubicBezTo>
                  <a:cubicBezTo>
                    <a:pt x="380600" y="3309204"/>
                    <a:pt x="381344" y="3315491"/>
                    <a:pt x="376648" y="3319663"/>
                  </a:cubicBezTo>
                  <a:cubicBezTo>
                    <a:pt x="368658" y="3302718"/>
                    <a:pt x="374006" y="3284963"/>
                    <a:pt x="371705" y="3266894"/>
                  </a:cubicBezTo>
                  <a:cubicBezTo>
                    <a:pt x="361445" y="3274571"/>
                    <a:pt x="366647" y="3286401"/>
                    <a:pt x="363746" y="3295584"/>
                  </a:cubicBezTo>
                  <a:cubicBezTo>
                    <a:pt x="361568" y="3302565"/>
                    <a:pt x="358420" y="3310776"/>
                    <a:pt x="359618" y="3319072"/>
                  </a:cubicBezTo>
                  <a:cubicBezTo>
                    <a:pt x="360123" y="3322606"/>
                    <a:pt x="357770" y="3326092"/>
                    <a:pt x="355294" y="3326197"/>
                  </a:cubicBezTo>
                  <a:cubicBezTo>
                    <a:pt x="352681" y="3326292"/>
                    <a:pt x="351319" y="3322596"/>
                    <a:pt x="350267" y="3319501"/>
                  </a:cubicBezTo>
                  <a:cubicBezTo>
                    <a:pt x="345746" y="3308042"/>
                    <a:pt x="351154" y="3297374"/>
                    <a:pt x="352145" y="3286382"/>
                  </a:cubicBezTo>
                  <a:cubicBezTo>
                    <a:pt x="353271" y="3273838"/>
                    <a:pt x="357264" y="3260998"/>
                    <a:pt x="345911" y="3248311"/>
                  </a:cubicBezTo>
                  <a:cubicBezTo>
                    <a:pt x="341143" y="3268085"/>
                    <a:pt x="342206" y="3286763"/>
                    <a:pt x="336095" y="3305670"/>
                  </a:cubicBezTo>
                  <a:cubicBezTo>
                    <a:pt x="325733" y="3267180"/>
                    <a:pt x="336962" y="3231766"/>
                    <a:pt x="346355" y="3196942"/>
                  </a:cubicBezTo>
                  <a:cubicBezTo>
                    <a:pt x="363756" y="3131563"/>
                    <a:pt x="391677" y="3069955"/>
                    <a:pt x="423466" y="3010110"/>
                  </a:cubicBezTo>
                  <a:cubicBezTo>
                    <a:pt x="445801" y="2967628"/>
                    <a:pt x="476580" y="2932567"/>
                    <a:pt x="515338" y="2902792"/>
                  </a:cubicBezTo>
                  <a:cubicBezTo>
                    <a:pt x="565344" y="2864368"/>
                    <a:pt x="605804" y="2816657"/>
                    <a:pt x="638626" y="2762679"/>
                  </a:cubicBezTo>
                  <a:cubicBezTo>
                    <a:pt x="662220" y="2723950"/>
                    <a:pt x="684111" y="2684059"/>
                    <a:pt x="710081" y="2646702"/>
                  </a:cubicBezTo>
                  <a:cubicBezTo>
                    <a:pt x="716491" y="2637339"/>
                    <a:pt x="721754" y="2638454"/>
                    <a:pt x="729288" y="2643569"/>
                  </a:cubicBezTo>
                  <a:cubicBezTo>
                    <a:pt x="745277" y="2654284"/>
                    <a:pt x="761337" y="2664314"/>
                    <a:pt x="780411" y="2669000"/>
                  </a:cubicBezTo>
                  <a:cubicBezTo>
                    <a:pt x="794025" y="2672229"/>
                    <a:pt x="806957" y="2667410"/>
                    <a:pt x="820190" y="2666371"/>
                  </a:cubicBezTo>
                  <a:cubicBezTo>
                    <a:pt x="824639" y="2666048"/>
                    <a:pt x="822946" y="2661771"/>
                    <a:pt x="823988" y="2659171"/>
                  </a:cubicBezTo>
                  <a:cubicBezTo>
                    <a:pt x="835414" y="2627738"/>
                    <a:pt x="819932" y="2601354"/>
                    <a:pt x="784519" y="2592562"/>
                  </a:cubicBezTo>
                  <a:cubicBezTo>
                    <a:pt x="740086" y="2581494"/>
                    <a:pt x="739755" y="2581447"/>
                    <a:pt x="754267" y="2537984"/>
                  </a:cubicBezTo>
                  <a:cubicBezTo>
                    <a:pt x="770698" y="2488692"/>
                    <a:pt x="789452" y="2440229"/>
                    <a:pt x="810777" y="2392613"/>
                  </a:cubicBezTo>
                  <a:cubicBezTo>
                    <a:pt x="812201" y="2389670"/>
                    <a:pt x="813894" y="2386641"/>
                    <a:pt x="817135" y="2384317"/>
                  </a:cubicBezTo>
                  <a:cubicBezTo>
                    <a:pt x="811850" y="2407187"/>
                    <a:pt x="806503" y="2430209"/>
                    <a:pt x="801209" y="2453154"/>
                  </a:cubicBezTo>
                  <a:cubicBezTo>
                    <a:pt x="802416" y="2453697"/>
                    <a:pt x="803552" y="2454297"/>
                    <a:pt x="804656" y="2454812"/>
                  </a:cubicBezTo>
                  <a:cubicBezTo>
                    <a:pt x="811892" y="2442391"/>
                    <a:pt x="819437" y="2430037"/>
                    <a:pt x="827374" y="2416435"/>
                  </a:cubicBezTo>
                  <a:cubicBezTo>
                    <a:pt x="837168" y="2435685"/>
                    <a:pt x="824782" y="2450030"/>
                    <a:pt x="819126" y="2464832"/>
                  </a:cubicBezTo>
                  <a:cubicBezTo>
                    <a:pt x="815534" y="2474128"/>
                    <a:pt x="812233" y="2483453"/>
                    <a:pt x="810765" y="2493302"/>
                  </a:cubicBezTo>
                  <a:cubicBezTo>
                    <a:pt x="810095" y="2497293"/>
                    <a:pt x="811644" y="2501275"/>
                    <a:pt x="815153" y="2502103"/>
                  </a:cubicBezTo>
                  <a:cubicBezTo>
                    <a:pt x="817681" y="2502722"/>
                    <a:pt x="819446" y="2498951"/>
                    <a:pt x="820624" y="2495922"/>
                  </a:cubicBezTo>
                  <a:cubicBezTo>
                    <a:pt x="822306" y="2491454"/>
                    <a:pt x="825330" y="2487359"/>
                    <a:pt x="829097" y="2480653"/>
                  </a:cubicBezTo>
                  <a:cubicBezTo>
                    <a:pt x="830625" y="2499989"/>
                    <a:pt x="825888" y="2516134"/>
                    <a:pt x="823978" y="2533584"/>
                  </a:cubicBezTo>
                  <a:cubicBezTo>
                    <a:pt x="834092" y="2533364"/>
                    <a:pt x="836312" y="2522087"/>
                    <a:pt x="845270" y="2519591"/>
                  </a:cubicBezTo>
                  <a:cubicBezTo>
                    <a:pt x="841823" y="2539441"/>
                    <a:pt x="836550" y="2558749"/>
                    <a:pt x="835663" y="2580894"/>
                  </a:cubicBezTo>
                  <a:cubicBezTo>
                    <a:pt x="842989" y="2574512"/>
                    <a:pt x="848936" y="2569397"/>
                    <a:pt x="854880" y="2564130"/>
                  </a:cubicBezTo>
                  <a:cubicBezTo>
                    <a:pt x="873046" y="2593667"/>
                    <a:pt x="841257" y="2614984"/>
                    <a:pt x="843164" y="2644378"/>
                  </a:cubicBezTo>
                  <a:cubicBezTo>
                    <a:pt x="851732" y="2636768"/>
                    <a:pt x="858389" y="2630796"/>
                    <a:pt x="867256" y="2622709"/>
                  </a:cubicBezTo>
                  <a:cubicBezTo>
                    <a:pt x="866770" y="2643207"/>
                    <a:pt x="858854" y="2659218"/>
                    <a:pt x="851670" y="2675335"/>
                  </a:cubicBezTo>
                  <a:cubicBezTo>
                    <a:pt x="828385" y="2728189"/>
                    <a:pt x="795656" y="2775499"/>
                    <a:pt x="761254" y="2821562"/>
                  </a:cubicBezTo>
                  <a:cubicBezTo>
                    <a:pt x="723964" y="2871654"/>
                    <a:pt x="685279" y="2920889"/>
                    <a:pt x="645944" y="2969524"/>
                  </a:cubicBezTo>
                  <a:cubicBezTo>
                    <a:pt x="611366" y="3012281"/>
                    <a:pt x="576347" y="3054458"/>
                    <a:pt x="545238" y="3099778"/>
                  </a:cubicBezTo>
                  <a:cubicBezTo>
                    <a:pt x="514305" y="3145126"/>
                    <a:pt x="483197" y="3190799"/>
                    <a:pt x="465752" y="3243215"/>
                  </a:cubicBezTo>
                  <a:cubicBezTo>
                    <a:pt x="454812" y="3275257"/>
                    <a:pt x="447205" y="3308214"/>
                    <a:pt x="438020" y="3340799"/>
                  </a:cubicBezTo>
                  <a:cubicBezTo>
                    <a:pt x="436998" y="3344599"/>
                    <a:pt x="435110" y="3348057"/>
                    <a:pt x="432734" y="3353819"/>
                  </a:cubicBezTo>
                  <a:close/>
                  <a:moveTo>
                    <a:pt x="764754" y="2614975"/>
                  </a:moveTo>
                  <a:cubicBezTo>
                    <a:pt x="765497" y="2607250"/>
                    <a:pt x="774084" y="2611669"/>
                    <a:pt x="779121" y="2611431"/>
                  </a:cubicBezTo>
                  <a:cubicBezTo>
                    <a:pt x="790185" y="2610831"/>
                    <a:pt x="795665" y="2619270"/>
                    <a:pt x="801197" y="2625671"/>
                  </a:cubicBezTo>
                  <a:cubicBezTo>
                    <a:pt x="801197" y="2634377"/>
                    <a:pt x="795449" y="2634891"/>
                    <a:pt x="790712" y="2634891"/>
                  </a:cubicBezTo>
                  <a:cubicBezTo>
                    <a:pt x="787687" y="2634891"/>
                    <a:pt x="784498" y="2631672"/>
                    <a:pt x="781299" y="2630319"/>
                  </a:cubicBezTo>
                  <a:cubicBezTo>
                    <a:pt x="774032" y="2626909"/>
                    <a:pt x="763886" y="2624623"/>
                    <a:pt x="764754" y="2614975"/>
                  </a:cubicBezTo>
                  <a:close/>
                  <a:moveTo>
                    <a:pt x="550956" y="3420761"/>
                  </a:moveTo>
                  <a:cubicBezTo>
                    <a:pt x="550523" y="3426590"/>
                    <a:pt x="550265" y="3433515"/>
                    <a:pt x="541100" y="3433515"/>
                  </a:cubicBezTo>
                  <a:cubicBezTo>
                    <a:pt x="531066" y="3433515"/>
                    <a:pt x="529219" y="3426857"/>
                    <a:pt x="528848" y="3419170"/>
                  </a:cubicBezTo>
                  <a:cubicBezTo>
                    <a:pt x="528703" y="3413436"/>
                    <a:pt x="528848" y="3407864"/>
                    <a:pt x="529355" y="3402178"/>
                  </a:cubicBezTo>
                  <a:cubicBezTo>
                    <a:pt x="529942" y="3393024"/>
                    <a:pt x="531004" y="3383947"/>
                    <a:pt x="531789" y="3373679"/>
                  </a:cubicBezTo>
                  <a:cubicBezTo>
                    <a:pt x="519434" y="3381242"/>
                    <a:pt x="520766" y="3394043"/>
                    <a:pt x="516132" y="3403959"/>
                  </a:cubicBezTo>
                  <a:cubicBezTo>
                    <a:pt x="504097" y="3396749"/>
                    <a:pt x="502456" y="3392691"/>
                    <a:pt x="505005" y="3378489"/>
                  </a:cubicBezTo>
                  <a:cubicBezTo>
                    <a:pt x="506811" y="3368516"/>
                    <a:pt x="507090" y="3358324"/>
                    <a:pt x="504531" y="3345923"/>
                  </a:cubicBezTo>
                  <a:cubicBezTo>
                    <a:pt x="496386" y="3358610"/>
                    <a:pt x="493269" y="3371460"/>
                    <a:pt x="480874" y="3384261"/>
                  </a:cubicBezTo>
                  <a:lnTo>
                    <a:pt x="480874" y="3334617"/>
                  </a:lnTo>
                  <a:cubicBezTo>
                    <a:pt x="479429" y="3334427"/>
                    <a:pt x="478138" y="3334169"/>
                    <a:pt x="476962" y="3334074"/>
                  </a:cubicBezTo>
                  <a:cubicBezTo>
                    <a:pt x="473990" y="3339599"/>
                    <a:pt x="470924" y="3345361"/>
                    <a:pt x="467838" y="3350905"/>
                  </a:cubicBezTo>
                  <a:cubicBezTo>
                    <a:pt x="466486" y="3353343"/>
                    <a:pt x="466765" y="3357629"/>
                    <a:pt x="462388" y="3357143"/>
                  </a:cubicBezTo>
                  <a:cubicBezTo>
                    <a:pt x="457868" y="3356734"/>
                    <a:pt x="457423" y="3352848"/>
                    <a:pt x="456711" y="3349238"/>
                  </a:cubicBezTo>
                  <a:cubicBezTo>
                    <a:pt x="454471" y="3337198"/>
                    <a:pt x="457856" y="3325778"/>
                    <a:pt x="460747" y="3314472"/>
                  </a:cubicBezTo>
                  <a:cubicBezTo>
                    <a:pt x="474836" y="3258360"/>
                    <a:pt x="502621" y="3208087"/>
                    <a:pt x="531386" y="3158195"/>
                  </a:cubicBezTo>
                  <a:cubicBezTo>
                    <a:pt x="544143" y="3136030"/>
                    <a:pt x="556808" y="3113370"/>
                    <a:pt x="571610" y="3092815"/>
                  </a:cubicBezTo>
                  <a:cubicBezTo>
                    <a:pt x="595566" y="3059868"/>
                    <a:pt x="617787" y="3025369"/>
                    <a:pt x="646243" y="2995489"/>
                  </a:cubicBezTo>
                  <a:cubicBezTo>
                    <a:pt x="665554" y="2975600"/>
                    <a:pt x="682791" y="2953627"/>
                    <a:pt x="700957" y="2932548"/>
                  </a:cubicBezTo>
                  <a:cubicBezTo>
                    <a:pt x="733553" y="2894933"/>
                    <a:pt x="762432" y="2854566"/>
                    <a:pt x="789184" y="2812561"/>
                  </a:cubicBezTo>
                  <a:cubicBezTo>
                    <a:pt x="815968" y="2770642"/>
                    <a:pt x="843082" y="2728903"/>
                    <a:pt x="869970" y="2687155"/>
                  </a:cubicBezTo>
                  <a:cubicBezTo>
                    <a:pt x="874407" y="2680497"/>
                    <a:pt x="877082" y="2668315"/>
                    <a:pt x="886929" y="2673525"/>
                  </a:cubicBezTo>
                  <a:cubicBezTo>
                    <a:pt x="898643" y="2679573"/>
                    <a:pt x="892274" y="2689965"/>
                    <a:pt x="886474" y="2698442"/>
                  </a:cubicBezTo>
                  <a:cubicBezTo>
                    <a:pt x="883275" y="2702871"/>
                    <a:pt x="878092" y="2706605"/>
                    <a:pt x="881624" y="2715825"/>
                  </a:cubicBezTo>
                  <a:cubicBezTo>
                    <a:pt x="893957" y="2705938"/>
                    <a:pt x="900904" y="2708348"/>
                    <a:pt x="904340" y="2723407"/>
                  </a:cubicBezTo>
                  <a:cubicBezTo>
                    <a:pt x="905609" y="2728265"/>
                    <a:pt x="908572" y="2733647"/>
                    <a:pt x="914073" y="2737485"/>
                  </a:cubicBezTo>
                  <a:cubicBezTo>
                    <a:pt x="920741" y="2742419"/>
                    <a:pt x="922382" y="2750068"/>
                    <a:pt x="917458" y="2758088"/>
                  </a:cubicBezTo>
                  <a:cubicBezTo>
                    <a:pt x="911111" y="2768603"/>
                    <a:pt x="905466" y="2779376"/>
                    <a:pt x="898829" y="2789663"/>
                  </a:cubicBezTo>
                  <a:cubicBezTo>
                    <a:pt x="896651" y="2793444"/>
                    <a:pt x="895444" y="2796207"/>
                    <a:pt x="899015" y="2799140"/>
                  </a:cubicBezTo>
                  <a:cubicBezTo>
                    <a:pt x="902399" y="2801988"/>
                    <a:pt x="904340" y="2798245"/>
                    <a:pt x="906631" y="2796645"/>
                  </a:cubicBezTo>
                  <a:cubicBezTo>
                    <a:pt x="909192" y="2794759"/>
                    <a:pt x="911369" y="2792435"/>
                    <a:pt x="914249" y="2791149"/>
                  </a:cubicBezTo>
                  <a:cubicBezTo>
                    <a:pt x="916302" y="2790139"/>
                    <a:pt x="919575" y="2789587"/>
                    <a:pt x="921546" y="2790482"/>
                  </a:cubicBezTo>
                  <a:cubicBezTo>
                    <a:pt x="925716" y="2791978"/>
                    <a:pt x="922877" y="2795388"/>
                    <a:pt x="922465" y="2798264"/>
                  </a:cubicBezTo>
                  <a:cubicBezTo>
                    <a:pt x="921020" y="2809456"/>
                    <a:pt x="910481" y="2816342"/>
                    <a:pt x="908396" y="2827277"/>
                  </a:cubicBezTo>
                  <a:cubicBezTo>
                    <a:pt x="912164" y="2830697"/>
                    <a:pt x="915106" y="2827106"/>
                    <a:pt x="918222" y="2826239"/>
                  </a:cubicBezTo>
                  <a:cubicBezTo>
                    <a:pt x="921886" y="2825287"/>
                    <a:pt x="924550" y="2818724"/>
                    <a:pt x="928708" y="2822867"/>
                  </a:cubicBezTo>
                  <a:cubicBezTo>
                    <a:pt x="932981" y="2826992"/>
                    <a:pt x="930804" y="2832868"/>
                    <a:pt x="928090" y="2837164"/>
                  </a:cubicBezTo>
                  <a:cubicBezTo>
                    <a:pt x="905186" y="2871768"/>
                    <a:pt x="878350" y="2903373"/>
                    <a:pt x="853507" y="2936453"/>
                  </a:cubicBezTo>
                  <a:cubicBezTo>
                    <a:pt x="825669" y="2973581"/>
                    <a:pt x="791599" y="3005052"/>
                    <a:pt x="762142" y="3040475"/>
                  </a:cubicBezTo>
                  <a:cubicBezTo>
                    <a:pt x="741953" y="3064364"/>
                    <a:pt x="725357" y="3090653"/>
                    <a:pt x="705343" y="3114504"/>
                  </a:cubicBezTo>
                  <a:cubicBezTo>
                    <a:pt x="683338" y="3141221"/>
                    <a:pt x="663438" y="3169282"/>
                    <a:pt x="646749" y="3199295"/>
                  </a:cubicBezTo>
                  <a:cubicBezTo>
                    <a:pt x="627892" y="3233233"/>
                    <a:pt x="599395" y="3255636"/>
                    <a:pt x="564581" y="3271428"/>
                  </a:cubicBezTo>
                  <a:cubicBezTo>
                    <a:pt x="556983" y="3274905"/>
                    <a:pt x="550223" y="3279381"/>
                    <a:pt x="543070" y="3283325"/>
                  </a:cubicBezTo>
                  <a:cubicBezTo>
                    <a:pt x="531645" y="3289554"/>
                    <a:pt x="529116" y="3297850"/>
                    <a:pt x="531758" y="3309985"/>
                  </a:cubicBezTo>
                  <a:cubicBezTo>
                    <a:pt x="538146" y="3338484"/>
                    <a:pt x="550037" y="3365535"/>
                    <a:pt x="552990" y="3395015"/>
                  </a:cubicBezTo>
                  <a:cubicBezTo>
                    <a:pt x="553836" y="3404025"/>
                    <a:pt x="551689" y="3412198"/>
                    <a:pt x="550956" y="3420761"/>
                  </a:cubicBezTo>
                  <a:close/>
                  <a:moveTo>
                    <a:pt x="645747" y="3483369"/>
                  </a:moveTo>
                  <a:cubicBezTo>
                    <a:pt x="637604" y="3492560"/>
                    <a:pt x="634095" y="3505619"/>
                    <a:pt x="628707" y="3517021"/>
                  </a:cubicBezTo>
                  <a:cubicBezTo>
                    <a:pt x="627190" y="3520088"/>
                    <a:pt x="627685" y="3525327"/>
                    <a:pt x="622473" y="3524060"/>
                  </a:cubicBezTo>
                  <a:cubicBezTo>
                    <a:pt x="617921" y="3522993"/>
                    <a:pt x="619511" y="3518278"/>
                    <a:pt x="619656" y="3514916"/>
                  </a:cubicBezTo>
                  <a:cubicBezTo>
                    <a:pt x="619656" y="3508115"/>
                    <a:pt x="622980" y="3502038"/>
                    <a:pt x="625961" y="3496047"/>
                  </a:cubicBezTo>
                  <a:cubicBezTo>
                    <a:pt x="628037" y="3491427"/>
                    <a:pt x="632815" y="3485598"/>
                    <a:pt x="627190" y="3482540"/>
                  </a:cubicBezTo>
                  <a:cubicBezTo>
                    <a:pt x="620532" y="3479006"/>
                    <a:pt x="619955" y="3487198"/>
                    <a:pt x="617612" y="3491370"/>
                  </a:cubicBezTo>
                  <a:cubicBezTo>
                    <a:pt x="614773" y="3496666"/>
                    <a:pt x="612110" y="3502095"/>
                    <a:pt x="609076" y="3508134"/>
                  </a:cubicBezTo>
                  <a:cubicBezTo>
                    <a:pt x="601047" y="3500619"/>
                    <a:pt x="604286" y="3491951"/>
                    <a:pt x="604286" y="3484331"/>
                  </a:cubicBezTo>
                  <a:cubicBezTo>
                    <a:pt x="604286" y="3476273"/>
                    <a:pt x="604874" y="3468310"/>
                    <a:pt x="603047" y="3459804"/>
                  </a:cubicBezTo>
                  <a:cubicBezTo>
                    <a:pt x="598527" y="3463738"/>
                    <a:pt x="596865" y="3468424"/>
                    <a:pt x="595379" y="3473244"/>
                  </a:cubicBezTo>
                  <a:cubicBezTo>
                    <a:pt x="594451" y="3476539"/>
                    <a:pt x="594955" y="3481302"/>
                    <a:pt x="589775" y="3480854"/>
                  </a:cubicBezTo>
                  <a:cubicBezTo>
                    <a:pt x="583489" y="3480349"/>
                    <a:pt x="585749" y="3474777"/>
                    <a:pt x="585420" y="3471034"/>
                  </a:cubicBezTo>
                  <a:cubicBezTo>
                    <a:pt x="584210" y="3459423"/>
                    <a:pt x="586915" y="3447450"/>
                    <a:pt x="583127" y="3435839"/>
                  </a:cubicBezTo>
                  <a:cubicBezTo>
                    <a:pt x="581971" y="3432515"/>
                    <a:pt x="581620" y="3427895"/>
                    <a:pt x="577234" y="3427771"/>
                  </a:cubicBezTo>
                  <a:cubicBezTo>
                    <a:pt x="572177" y="3427581"/>
                    <a:pt x="573675" y="3432820"/>
                    <a:pt x="572311" y="3435839"/>
                  </a:cubicBezTo>
                  <a:cubicBezTo>
                    <a:pt x="569689" y="3442545"/>
                    <a:pt x="571000" y="3451003"/>
                    <a:pt x="561927" y="3457899"/>
                  </a:cubicBezTo>
                  <a:cubicBezTo>
                    <a:pt x="556808" y="3431048"/>
                    <a:pt x="563754" y="3408950"/>
                    <a:pt x="575211" y="3387576"/>
                  </a:cubicBezTo>
                  <a:cubicBezTo>
                    <a:pt x="576605" y="3385223"/>
                    <a:pt x="578153" y="3383737"/>
                    <a:pt x="581197" y="3383233"/>
                  </a:cubicBezTo>
                  <a:cubicBezTo>
                    <a:pt x="605927" y="3379042"/>
                    <a:pt x="627520" y="3396082"/>
                    <a:pt x="629316" y="3421285"/>
                  </a:cubicBezTo>
                  <a:cubicBezTo>
                    <a:pt x="630504" y="3437277"/>
                    <a:pt x="640826" y="3449508"/>
                    <a:pt x="647245" y="3463309"/>
                  </a:cubicBezTo>
                  <a:cubicBezTo>
                    <a:pt x="650868" y="3470491"/>
                    <a:pt x="652901" y="3475492"/>
                    <a:pt x="645747" y="3483369"/>
                  </a:cubicBezTo>
                  <a:close/>
                  <a:moveTo>
                    <a:pt x="778451" y="3543100"/>
                  </a:moveTo>
                  <a:cubicBezTo>
                    <a:pt x="766622" y="3552701"/>
                    <a:pt x="751408" y="3554835"/>
                    <a:pt x="737723" y="3560169"/>
                  </a:cubicBezTo>
                  <a:cubicBezTo>
                    <a:pt x="716057" y="3568561"/>
                    <a:pt x="692813" y="3572675"/>
                    <a:pt x="669323" y="3572161"/>
                  </a:cubicBezTo>
                  <a:cubicBezTo>
                    <a:pt x="664821" y="3572161"/>
                    <a:pt x="658175" y="3573771"/>
                    <a:pt x="658052" y="3567398"/>
                  </a:cubicBezTo>
                  <a:cubicBezTo>
                    <a:pt x="657907" y="3560902"/>
                    <a:pt x="664759" y="3562293"/>
                    <a:pt x="668920" y="3561779"/>
                  </a:cubicBezTo>
                  <a:cubicBezTo>
                    <a:pt x="683556" y="3560064"/>
                    <a:pt x="697787" y="3556988"/>
                    <a:pt x="712361" y="3556921"/>
                  </a:cubicBezTo>
                  <a:cubicBezTo>
                    <a:pt x="720773" y="3556921"/>
                    <a:pt x="730466" y="3556035"/>
                    <a:pt x="733572" y="3543595"/>
                  </a:cubicBezTo>
                  <a:cubicBezTo>
                    <a:pt x="718090" y="3541728"/>
                    <a:pt x="704890" y="3548501"/>
                    <a:pt x="691586" y="3552320"/>
                  </a:cubicBezTo>
                  <a:cubicBezTo>
                    <a:pt x="679137" y="3555921"/>
                    <a:pt x="669249" y="3551158"/>
                    <a:pt x="658628" y="3547739"/>
                  </a:cubicBezTo>
                  <a:cubicBezTo>
                    <a:pt x="656223" y="3547082"/>
                    <a:pt x="654098" y="3543329"/>
                    <a:pt x="653571" y="3540614"/>
                  </a:cubicBezTo>
                  <a:cubicBezTo>
                    <a:pt x="652808" y="3537023"/>
                    <a:pt x="656780" y="3535747"/>
                    <a:pt x="659599" y="3534918"/>
                  </a:cubicBezTo>
                  <a:cubicBezTo>
                    <a:pt x="665162" y="3533499"/>
                    <a:pt x="670643" y="3531765"/>
                    <a:pt x="676412" y="3531203"/>
                  </a:cubicBezTo>
                  <a:cubicBezTo>
                    <a:pt x="683081" y="3530327"/>
                    <a:pt x="689800" y="3530813"/>
                    <a:pt x="696529" y="3530327"/>
                  </a:cubicBezTo>
                  <a:cubicBezTo>
                    <a:pt x="703743" y="3530041"/>
                    <a:pt x="715200" y="3531203"/>
                    <a:pt x="714859" y="3523498"/>
                  </a:cubicBezTo>
                  <a:cubicBezTo>
                    <a:pt x="714385" y="3515554"/>
                    <a:pt x="702918" y="3518802"/>
                    <a:pt x="696260" y="3518278"/>
                  </a:cubicBezTo>
                  <a:cubicBezTo>
                    <a:pt x="688901" y="3517449"/>
                    <a:pt x="681604" y="3518497"/>
                    <a:pt x="674339" y="3518278"/>
                  </a:cubicBezTo>
                  <a:cubicBezTo>
                    <a:pt x="669652" y="3518087"/>
                    <a:pt x="662860" y="3521221"/>
                    <a:pt x="661591" y="3513439"/>
                  </a:cubicBezTo>
                  <a:cubicBezTo>
                    <a:pt x="660445" y="3506000"/>
                    <a:pt x="667258" y="3507038"/>
                    <a:pt x="671811" y="3505095"/>
                  </a:cubicBezTo>
                  <a:cubicBezTo>
                    <a:pt x="680758" y="3500904"/>
                    <a:pt x="691864" y="3505095"/>
                    <a:pt x="700803" y="3496609"/>
                  </a:cubicBezTo>
                  <a:cubicBezTo>
                    <a:pt x="694589" y="3492494"/>
                    <a:pt x="688675" y="3491208"/>
                    <a:pt x="679840" y="3489379"/>
                  </a:cubicBezTo>
                  <a:cubicBezTo>
                    <a:pt x="701773" y="3482388"/>
                    <a:pt x="721754" y="3483721"/>
                    <a:pt x="741365" y="3484045"/>
                  </a:cubicBezTo>
                  <a:cubicBezTo>
                    <a:pt x="750520" y="3484245"/>
                    <a:pt x="756827" y="3491427"/>
                    <a:pt x="757508" y="3500247"/>
                  </a:cubicBezTo>
                  <a:cubicBezTo>
                    <a:pt x="758654" y="3515030"/>
                    <a:pt x="767168" y="3523831"/>
                    <a:pt x="779225" y="3530508"/>
                  </a:cubicBezTo>
                  <a:cubicBezTo>
                    <a:pt x="788111" y="3535423"/>
                    <a:pt x="783395" y="3539090"/>
                    <a:pt x="778451" y="3543100"/>
                  </a:cubicBezTo>
                  <a:close/>
                  <a:moveTo>
                    <a:pt x="958968" y="3555092"/>
                  </a:moveTo>
                  <a:lnTo>
                    <a:pt x="958968" y="3555159"/>
                  </a:lnTo>
                  <a:cubicBezTo>
                    <a:pt x="952767" y="3553168"/>
                    <a:pt x="947494" y="3550853"/>
                    <a:pt x="942787" y="3545348"/>
                  </a:cubicBezTo>
                  <a:cubicBezTo>
                    <a:pt x="933788" y="3535109"/>
                    <a:pt x="921050" y="3539490"/>
                    <a:pt x="909883" y="3540805"/>
                  </a:cubicBezTo>
                  <a:cubicBezTo>
                    <a:pt x="905630" y="3541462"/>
                    <a:pt x="900925" y="3542595"/>
                    <a:pt x="896435" y="3542938"/>
                  </a:cubicBezTo>
                  <a:cubicBezTo>
                    <a:pt x="893410" y="3546958"/>
                    <a:pt x="889178" y="3548406"/>
                    <a:pt x="883996" y="3548291"/>
                  </a:cubicBezTo>
                  <a:cubicBezTo>
                    <a:pt x="882913" y="3548691"/>
                    <a:pt x="881747" y="3549120"/>
                    <a:pt x="880766" y="3549339"/>
                  </a:cubicBezTo>
                  <a:cubicBezTo>
                    <a:pt x="858865" y="3562055"/>
                    <a:pt x="843505" y="3547339"/>
                    <a:pt x="827178" y="3537033"/>
                  </a:cubicBezTo>
                  <a:lnTo>
                    <a:pt x="826941" y="3536814"/>
                  </a:lnTo>
                  <a:cubicBezTo>
                    <a:pt x="824969" y="3534870"/>
                    <a:pt x="822946" y="3532766"/>
                    <a:pt x="821057" y="3530841"/>
                  </a:cubicBezTo>
                  <a:cubicBezTo>
                    <a:pt x="803398" y="3522212"/>
                    <a:pt x="788245" y="3511001"/>
                    <a:pt x="784003" y="3490998"/>
                  </a:cubicBezTo>
                  <a:cubicBezTo>
                    <a:pt x="780298" y="3473577"/>
                    <a:pt x="770956" y="3467272"/>
                    <a:pt x="752451" y="3468338"/>
                  </a:cubicBezTo>
                  <a:cubicBezTo>
                    <a:pt x="723850" y="3469977"/>
                    <a:pt x="694175" y="3470282"/>
                    <a:pt x="670055" y="3451031"/>
                  </a:cubicBezTo>
                  <a:cubicBezTo>
                    <a:pt x="657803" y="3441240"/>
                    <a:pt x="645542" y="3431619"/>
                    <a:pt x="653685" y="3411112"/>
                  </a:cubicBezTo>
                  <a:cubicBezTo>
                    <a:pt x="661013" y="3392481"/>
                    <a:pt x="652064" y="3381413"/>
                    <a:pt x="632681" y="3374489"/>
                  </a:cubicBezTo>
                  <a:cubicBezTo>
                    <a:pt x="613462" y="3367469"/>
                    <a:pt x="592706" y="3365669"/>
                    <a:pt x="575243" y="3353010"/>
                  </a:cubicBezTo>
                  <a:cubicBezTo>
                    <a:pt x="566458" y="3346619"/>
                    <a:pt x="559760" y="3340313"/>
                    <a:pt x="556622" y="3330188"/>
                  </a:cubicBezTo>
                  <a:cubicBezTo>
                    <a:pt x="552401" y="3317101"/>
                    <a:pt x="549739" y="3305156"/>
                    <a:pt x="567337" y="3298631"/>
                  </a:cubicBezTo>
                  <a:cubicBezTo>
                    <a:pt x="574613" y="3296050"/>
                    <a:pt x="580052" y="3288583"/>
                    <a:pt x="588123" y="3286735"/>
                  </a:cubicBezTo>
                  <a:cubicBezTo>
                    <a:pt x="596598" y="3281496"/>
                    <a:pt x="605134" y="3276133"/>
                    <a:pt x="613545" y="3270923"/>
                  </a:cubicBezTo>
                  <a:cubicBezTo>
                    <a:pt x="616630" y="3269028"/>
                    <a:pt x="619842" y="3267009"/>
                    <a:pt x="623001" y="3265046"/>
                  </a:cubicBezTo>
                  <a:lnTo>
                    <a:pt x="623001" y="3264922"/>
                  </a:lnTo>
                  <a:cubicBezTo>
                    <a:pt x="629285" y="3258150"/>
                    <a:pt x="637780" y="3257560"/>
                    <a:pt x="645655" y="3259741"/>
                  </a:cubicBezTo>
                  <a:cubicBezTo>
                    <a:pt x="672583" y="3267447"/>
                    <a:pt x="697097" y="3279381"/>
                    <a:pt x="714726" y="3301937"/>
                  </a:cubicBezTo>
                  <a:cubicBezTo>
                    <a:pt x="720082" y="3305747"/>
                    <a:pt x="725533" y="3309233"/>
                    <a:pt x="731528" y="3312214"/>
                  </a:cubicBezTo>
                  <a:cubicBezTo>
                    <a:pt x="740817" y="3317119"/>
                    <a:pt x="748136" y="3312976"/>
                    <a:pt x="751016" y="3306813"/>
                  </a:cubicBezTo>
                  <a:cubicBezTo>
                    <a:pt x="754276" y="3299755"/>
                    <a:pt x="759903" y="3295393"/>
                    <a:pt x="764227" y="3289821"/>
                  </a:cubicBezTo>
                  <a:cubicBezTo>
                    <a:pt x="777872" y="3285735"/>
                    <a:pt x="789710" y="3292821"/>
                    <a:pt x="802128" y="3295764"/>
                  </a:cubicBezTo>
                  <a:cubicBezTo>
                    <a:pt x="810085" y="3295698"/>
                    <a:pt x="817702" y="3297050"/>
                    <a:pt x="823998" y="3301956"/>
                  </a:cubicBezTo>
                  <a:lnTo>
                    <a:pt x="823998" y="3301765"/>
                  </a:lnTo>
                  <a:cubicBezTo>
                    <a:pt x="840008" y="3306766"/>
                    <a:pt x="848459" y="3319120"/>
                    <a:pt x="855520" y="3332721"/>
                  </a:cubicBezTo>
                  <a:cubicBezTo>
                    <a:pt x="861816" y="3344628"/>
                    <a:pt x="868731" y="3356144"/>
                    <a:pt x="880890" y="3363487"/>
                  </a:cubicBezTo>
                  <a:cubicBezTo>
                    <a:pt x="882830" y="3363773"/>
                    <a:pt x="884863" y="3363945"/>
                    <a:pt x="886835" y="3364154"/>
                  </a:cubicBezTo>
                  <a:cubicBezTo>
                    <a:pt x="898663" y="3367993"/>
                    <a:pt x="911286" y="3366830"/>
                    <a:pt x="923475" y="3369517"/>
                  </a:cubicBezTo>
                  <a:cubicBezTo>
                    <a:pt x="938783" y="3373117"/>
                    <a:pt x="947195" y="3382880"/>
                    <a:pt x="949104" y="3396110"/>
                  </a:cubicBezTo>
                  <a:cubicBezTo>
                    <a:pt x="952251" y="3418961"/>
                    <a:pt x="965111" y="3433277"/>
                    <a:pt x="984180" y="3443878"/>
                  </a:cubicBezTo>
                  <a:cubicBezTo>
                    <a:pt x="988971" y="3443450"/>
                    <a:pt x="991829" y="3445717"/>
                    <a:pt x="993629" y="3449793"/>
                  </a:cubicBezTo>
                  <a:cubicBezTo>
                    <a:pt x="1005726" y="3456080"/>
                    <a:pt x="1007478" y="3467957"/>
                    <a:pt x="1008859" y="3479264"/>
                  </a:cubicBezTo>
                  <a:cubicBezTo>
                    <a:pt x="1010145" y="3490160"/>
                    <a:pt x="1009050" y="3501238"/>
                    <a:pt x="1009050" y="3512753"/>
                  </a:cubicBezTo>
                  <a:cubicBezTo>
                    <a:pt x="1002992" y="3512753"/>
                    <a:pt x="999144" y="3510334"/>
                    <a:pt x="996220" y="3505686"/>
                  </a:cubicBezTo>
                  <a:cubicBezTo>
                    <a:pt x="980951" y="3491427"/>
                    <a:pt x="959377" y="3483502"/>
                    <a:pt x="950786" y="3462176"/>
                  </a:cubicBezTo>
                  <a:cubicBezTo>
                    <a:pt x="946142" y="3450917"/>
                    <a:pt x="943148" y="3439230"/>
                    <a:pt x="940042" y="3427657"/>
                  </a:cubicBezTo>
                  <a:cubicBezTo>
                    <a:pt x="938978" y="3422256"/>
                    <a:pt x="937637" y="3415046"/>
                    <a:pt x="931961" y="3414075"/>
                  </a:cubicBezTo>
                  <a:cubicBezTo>
                    <a:pt x="925045" y="3412608"/>
                    <a:pt x="927811" y="3421561"/>
                    <a:pt x="924540" y="3425123"/>
                  </a:cubicBezTo>
                  <a:cubicBezTo>
                    <a:pt x="921598" y="3428086"/>
                    <a:pt x="921216" y="3433210"/>
                    <a:pt x="919481" y="3438068"/>
                  </a:cubicBezTo>
                  <a:cubicBezTo>
                    <a:pt x="900810" y="3426171"/>
                    <a:pt x="881406" y="3417941"/>
                    <a:pt x="860349" y="3412589"/>
                  </a:cubicBezTo>
                  <a:cubicBezTo>
                    <a:pt x="829675" y="3404778"/>
                    <a:pt x="817610" y="3382623"/>
                    <a:pt x="814430" y="3353838"/>
                  </a:cubicBezTo>
                  <a:cubicBezTo>
                    <a:pt x="813677" y="3345637"/>
                    <a:pt x="811912" y="3338008"/>
                    <a:pt x="805782" y="3331683"/>
                  </a:cubicBezTo>
                  <a:cubicBezTo>
                    <a:pt x="801105" y="3327216"/>
                    <a:pt x="797958" y="3327740"/>
                    <a:pt x="794954" y="3333036"/>
                  </a:cubicBezTo>
                  <a:cubicBezTo>
                    <a:pt x="794108" y="3334102"/>
                    <a:pt x="793541" y="3335398"/>
                    <a:pt x="792818" y="3336608"/>
                  </a:cubicBezTo>
                  <a:cubicBezTo>
                    <a:pt x="792456" y="3338341"/>
                    <a:pt x="792168" y="3340208"/>
                    <a:pt x="791889" y="3341875"/>
                  </a:cubicBezTo>
                  <a:cubicBezTo>
                    <a:pt x="793260" y="3357143"/>
                    <a:pt x="794573" y="3372260"/>
                    <a:pt x="795863" y="3387881"/>
                  </a:cubicBezTo>
                  <a:cubicBezTo>
                    <a:pt x="789772" y="3387881"/>
                    <a:pt x="786005" y="3385766"/>
                    <a:pt x="783002" y="3382480"/>
                  </a:cubicBezTo>
                  <a:cubicBezTo>
                    <a:pt x="760181" y="3376222"/>
                    <a:pt x="743068" y="3360172"/>
                    <a:pt x="724293" y="3347447"/>
                  </a:cubicBezTo>
                  <a:cubicBezTo>
                    <a:pt x="706572" y="3335522"/>
                    <a:pt x="688913" y="3323530"/>
                    <a:pt x="668940" y="3315043"/>
                  </a:cubicBezTo>
                  <a:cubicBezTo>
                    <a:pt x="657412" y="3310204"/>
                    <a:pt x="645655" y="3307242"/>
                    <a:pt x="633279" y="3308614"/>
                  </a:cubicBezTo>
                  <a:cubicBezTo>
                    <a:pt x="632154" y="3316634"/>
                    <a:pt x="642568" y="3319596"/>
                    <a:pt x="641568" y="3327578"/>
                  </a:cubicBezTo>
                  <a:cubicBezTo>
                    <a:pt x="650113" y="3333722"/>
                    <a:pt x="658701" y="3339761"/>
                    <a:pt x="667268" y="3345933"/>
                  </a:cubicBezTo>
                  <a:cubicBezTo>
                    <a:pt x="669343" y="3345504"/>
                    <a:pt x="670230" y="3346590"/>
                    <a:pt x="670416" y="3348314"/>
                  </a:cubicBezTo>
                  <a:cubicBezTo>
                    <a:pt x="686042" y="3353581"/>
                    <a:pt x="700554" y="3361220"/>
                    <a:pt x="714405" y="3369869"/>
                  </a:cubicBezTo>
                  <a:cubicBezTo>
                    <a:pt x="724623" y="3372736"/>
                    <a:pt x="734988" y="3375251"/>
                    <a:pt x="743254" y="3382528"/>
                  </a:cubicBezTo>
                  <a:cubicBezTo>
                    <a:pt x="744049" y="3383356"/>
                    <a:pt x="744874" y="3384014"/>
                    <a:pt x="745844" y="3384852"/>
                  </a:cubicBezTo>
                  <a:cubicBezTo>
                    <a:pt x="753813" y="3387881"/>
                    <a:pt x="763268" y="3389281"/>
                    <a:pt x="764238" y="3400368"/>
                  </a:cubicBezTo>
                  <a:cubicBezTo>
                    <a:pt x="768180" y="3400968"/>
                    <a:pt x="771721" y="3402130"/>
                    <a:pt x="770482" y="3407016"/>
                  </a:cubicBezTo>
                  <a:cubicBezTo>
                    <a:pt x="769357" y="3411522"/>
                    <a:pt x="765580" y="3412389"/>
                    <a:pt x="761347" y="3413722"/>
                  </a:cubicBezTo>
                  <a:cubicBezTo>
                    <a:pt x="743924" y="3419332"/>
                    <a:pt x="726698" y="3424904"/>
                    <a:pt x="712382" y="3437039"/>
                  </a:cubicBezTo>
                  <a:cubicBezTo>
                    <a:pt x="708811" y="3439849"/>
                    <a:pt x="705395" y="3443450"/>
                    <a:pt x="706160" y="3446317"/>
                  </a:cubicBezTo>
                  <a:cubicBezTo>
                    <a:pt x="707293" y="3450365"/>
                    <a:pt x="712755" y="3450365"/>
                    <a:pt x="716967" y="3450365"/>
                  </a:cubicBezTo>
                  <a:cubicBezTo>
                    <a:pt x="743059" y="3450108"/>
                    <a:pt x="767168" y="3440287"/>
                    <a:pt x="791549" y="3433277"/>
                  </a:cubicBezTo>
                  <a:cubicBezTo>
                    <a:pt x="823234" y="3424076"/>
                    <a:pt x="852869" y="3423676"/>
                    <a:pt x="880612" y="3443450"/>
                  </a:cubicBezTo>
                  <a:cubicBezTo>
                    <a:pt x="896136" y="3448727"/>
                    <a:pt x="908211" y="3458928"/>
                    <a:pt x="918677" y="3470777"/>
                  </a:cubicBezTo>
                  <a:cubicBezTo>
                    <a:pt x="921999" y="3474349"/>
                    <a:pt x="926263" y="3479044"/>
                    <a:pt x="923621" y="3484340"/>
                  </a:cubicBezTo>
                  <a:cubicBezTo>
                    <a:pt x="920978" y="3489389"/>
                    <a:pt x="915147" y="3486617"/>
                    <a:pt x="910719" y="3487036"/>
                  </a:cubicBezTo>
                  <a:cubicBezTo>
                    <a:pt x="908201" y="3487388"/>
                    <a:pt x="905641" y="3486807"/>
                    <a:pt x="903081" y="3486684"/>
                  </a:cubicBezTo>
                  <a:cubicBezTo>
                    <a:pt x="890118" y="3490027"/>
                    <a:pt x="877380" y="3493561"/>
                    <a:pt x="864406" y="3496189"/>
                  </a:cubicBezTo>
                  <a:cubicBezTo>
                    <a:pt x="855283" y="3498228"/>
                    <a:pt x="851608" y="3504933"/>
                    <a:pt x="853311" y="3511601"/>
                  </a:cubicBezTo>
                  <a:cubicBezTo>
                    <a:pt x="855283" y="3518821"/>
                    <a:pt x="863612" y="3518926"/>
                    <a:pt x="870475" y="3517040"/>
                  </a:cubicBezTo>
                  <a:cubicBezTo>
                    <a:pt x="884492" y="3513230"/>
                    <a:pt x="898663" y="3511601"/>
                    <a:pt x="913207" y="3511191"/>
                  </a:cubicBezTo>
                  <a:cubicBezTo>
                    <a:pt x="931486" y="3505105"/>
                    <a:pt x="948784" y="3509410"/>
                    <a:pt x="965968" y="3515573"/>
                  </a:cubicBezTo>
                  <a:cubicBezTo>
                    <a:pt x="966759" y="3516335"/>
                    <a:pt x="967931" y="3517049"/>
                    <a:pt x="968559" y="3517783"/>
                  </a:cubicBezTo>
                  <a:cubicBezTo>
                    <a:pt x="973112" y="3517783"/>
                    <a:pt x="976160" y="3520011"/>
                    <a:pt x="978218" y="3523802"/>
                  </a:cubicBezTo>
                  <a:cubicBezTo>
                    <a:pt x="993324" y="3530461"/>
                    <a:pt x="1001592" y="3544595"/>
                    <a:pt x="1013393" y="3554968"/>
                  </a:cubicBezTo>
                  <a:cubicBezTo>
                    <a:pt x="1020375" y="3560778"/>
                    <a:pt x="1027452" y="3566398"/>
                    <a:pt x="1029653" y="3576028"/>
                  </a:cubicBezTo>
                  <a:cubicBezTo>
                    <a:pt x="1030300" y="3579028"/>
                    <a:pt x="1032158" y="3581953"/>
                    <a:pt x="1029538" y="3584391"/>
                  </a:cubicBezTo>
                  <a:cubicBezTo>
                    <a:pt x="1027043" y="3586496"/>
                    <a:pt x="1024042" y="3585505"/>
                    <a:pt x="1021147" y="3583819"/>
                  </a:cubicBezTo>
                  <a:cubicBezTo>
                    <a:pt x="1011136" y="3578066"/>
                    <a:pt x="1000839" y="3572609"/>
                    <a:pt x="990752" y="3566998"/>
                  </a:cubicBezTo>
                  <a:cubicBezTo>
                    <a:pt x="980142" y="3562931"/>
                    <a:pt x="969445" y="3559102"/>
                    <a:pt x="958968" y="3555092"/>
                  </a:cubicBezTo>
                  <a:close/>
                  <a:moveTo>
                    <a:pt x="902317" y="3801875"/>
                  </a:moveTo>
                  <a:cubicBezTo>
                    <a:pt x="892429" y="3801361"/>
                    <a:pt x="883780" y="3796760"/>
                    <a:pt x="874831" y="3792817"/>
                  </a:cubicBezTo>
                  <a:cubicBezTo>
                    <a:pt x="869154" y="3790103"/>
                    <a:pt x="864448" y="3786588"/>
                    <a:pt x="865005" y="3779092"/>
                  </a:cubicBezTo>
                  <a:cubicBezTo>
                    <a:pt x="865242" y="3776863"/>
                    <a:pt x="863209" y="3774453"/>
                    <a:pt x="862683" y="3771872"/>
                  </a:cubicBezTo>
                  <a:cubicBezTo>
                    <a:pt x="860093" y="3760889"/>
                    <a:pt x="858596" y="3749345"/>
                    <a:pt x="850701" y="3740287"/>
                  </a:cubicBezTo>
                  <a:cubicBezTo>
                    <a:pt x="840875" y="3728752"/>
                    <a:pt x="828592" y="3739458"/>
                    <a:pt x="817681" y="3737134"/>
                  </a:cubicBezTo>
                  <a:cubicBezTo>
                    <a:pt x="813594" y="3736267"/>
                    <a:pt x="809353" y="3736924"/>
                    <a:pt x="805142" y="3736810"/>
                  </a:cubicBezTo>
                  <a:cubicBezTo>
                    <a:pt x="777541" y="3728838"/>
                    <a:pt x="782662" y="3734467"/>
                    <a:pt x="784324" y="3702987"/>
                  </a:cubicBezTo>
                  <a:cubicBezTo>
                    <a:pt x="785128" y="3684261"/>
                    <a:pt x="786573" y="3665477"/>
                    <a:pt x="786418" y="3646665"/>
                  </a:cubicBezTo>
                  <a:cubicBezTo>
                    <a:pt x="786418" y="3638550"/>
                    <a:pt x="788452" y="3635302"/>
                    <a:pt x="797927" y="3635207"/>
                  </a:cubicBezTo>
                  <a:cubicBezTo>
                    <a:pt x="817579" y="3634740"/>
                    <a:pt x="831130" y="3643341"/>
                    <a:pt x="841245" y="3658895"/>
                  </a:cubicBezTo>
                  <a:cubicBezTo>
                    <a:pt x="845095" y="3661382"/>
                    <a:pt x="849069" y="3663658"/>
                    <a:pt x="853023" y="3666011"/>
                  </a:cubicBezTo>
                  <a:cubicBezTo>
                    <a:pt x="876833" y="3672907"/>
                    <a:pt x="876968" y="3672850"/>
                    <a:pt x="890396" y="3647513"/>
                  </a:cubicBezTo>
                  <a:cubicBezTo>
                    <a:pt x="890097" y="3645475"/>
                    <a:pt x="891242" y="3644427"/>
                    <a:pt x="893059" y="3643932"/>
                  </a:cubicBezTo>
                  <a:cubicBezTo>
                    <a:pt x="893059" y="3643113"/>
                    <a:pt x="893235" y="3642350"/>
                    <a:pt x="893751" y="3641636"/>
                  </a:cubicBezTo>
                  <a:cubicBezTo>
                    <a:pt x="902854" y="3624996"/>
                    <a:pt x="912288" y="3638645"/>
                    <a:pt x="921556" y="3641227"/>
                  </a:cubicBezTo>
                  <a:cubicBezTo>
                    <a:pt x="923704" y="3641379"/>
                    <a:pt x="925892" y="3641541"/>
                    <a:pt x="928152" y="3641703"/>
                  </a:cubicBezTo>
                  <a:cubicBezTo>
                    <a:pt x="956053" y="3645075"/>
                    <a:pt x="985466" y="3645570"/>
                    <a:pt x="1001544" y="3674840"/>
                  </a:cubicBezTo>
                  <a:cubicBezTo>
                    <a:pt x="1006097" y="3682946"/>
                    <a:pt x="1012231" y="3689852"/>
                    <a:pt x="1019623" y="3695614"/>
                  </a:cubicBezTo>
                  <a:lnTo>
                    <a:pt x="1020328" y="3695414"/>
                  </a:lnTo>
                  <a:cubicBezTo>
                    <a:pt x="1021118" y="3695281"/>
                    <a:pt x="1021690" y="3695729"/>
                    <a:pt x="1021852" y="3696624"/>
                  </a:cubicBezTo>
                  <a:cubicBezTo>
                    <a:pt x="1027719" y="3698758"/>
                    <a:pt x="1032472" y="3699072"/>
                    <a:pt x="1036911" y="3692843"/>
                  </a:cubicBezTo>
                  <a:cubicBezTo>
                    <a:pt x="1042711" y="3685328"/>
                    <a:pt x="1049750" y="3678479"/>
                    <a:pt x="1056904" y="3670630"/>
                  </a:cubicBezTo>
                  <a:cubicBezTo>
                    <a:pt x="1061733" y="3677288"/>
                    <a:pt x="1065238" y="3682070"/>
                    <a:pt x="1068705" y="3686728"/>
                  </a:cubicBezTo>
                  <a:cubicBezTo>
                    <a:pt x="1073830" y="3689442"/>
                    <a:pt x="1076297" y="3693500"/>
                    <a:pt x="1075315" y="3699434"/>
                  </a:cubicBezTo>
                  <a:cubicBezTo>
                    <a:pt x="1091413" y="3725056"/>
                    <a:pt x="1117683" y="3736381"/>
                    <a:pt x="1144581" y="3746792"/>
                  </a:cubicBezTo>
                  <a:cubicBezTo>
                    <a:pt x="1153268" y="3749869"/>
                    <a:pt x="1165508" y="3750459"/>
                    <a:pt x="1157792" y="3764994"/>
                  </a:cubicBezTo>
                  <a:lnTo>
                    <a:pt x="1158088" y="3765166"/>
                  </a:lnTo>
                  <a:cubicBezTo>
                    <a:pt x="1154373" y="3779768"/>
                    <a:pt x="1157792" y="3791950"/>
                    <a:pt x="1169889" y="3801542"/>
                  </a:cubicBezTo>
                  <a:cubicBezTo>
                    <a:pt x="1205379" y="3816982"/>
                    <a:pt x="1243651" y="3819249"/>
                    <a:pt x="1280874" y="3826221"/>
                  </a:cubicBezTo>
                  <a:cubicBezTo>
                    <a:pt x="1282675" y="3826669"/>
                    <a:pt x="1284284" y="3827974"/>
                    <a:pt x="1286056" y="3829012"/>
                  </a:cubicBezTo>
                  <a:cubicBezTo>
                    <a:pt x="1291561" y="3828231"/>
                    <a:pt x="1295572" y="3831441"/>
                    <a:pt x="1301325" y="3833898"/>
                  </a:cubicBezTo>
                  <a:cubicBezTo>
                    <a:pt x="1293228" y="3836318"/>
                    <a:pt x="1286666" y="3840023"/>
                    <a:pt x="1279398" y="3837908"/>
                  </a:cubicBezTo>
                  <a:lnTo>
                    <a:pt x="1273007" y="3837908"/>
                  </a:lnTo>
                  <a:cubicBezTo>
                    <a:pt x="1256681" y="3839566"/>
                    <a:pt x="1240946" y="3838032"/>
                    <a:pt x="1225639" y="3832546"/>
                  </a:cubicBezTo>
                  <a:cubicBezTo>
                    <a:pt x="1198531" y="3829202"/>
                    <a:pt x="1172270" y="3823192"/>
                    <a:pt x="1148077" y="3810629"/>
                  </a:cubicBezTo>
                  <a:cubicBezTo>
                    <a:pt x="1130922" y="3801875"/>
                    <a:pt x="1126465" y="3784502"/>
                    <a:pt x="1119169" y="3769024"/>
                  </a:cubicBezTo>
                  <a:cubicBezTo>
                    <a:pt x="1112634" y="3755108"/>
                    <a:pt x="1107215" y="3739629"/>
                    <a:pt x="1087212" y="3740011"/>
                  </a:cubicBezTo>
                  <a:cubicBezTo>
                    <a:pt x="1088088" y="3751288"/>
                    <a:pt x="1086126" y="3763185"/>
                    <a:pt x="1094861" y="3772595"/>
                  </a:cubicBezTo>
                  <a:cubicBezTo>
                    <a:pt x="1096375" y="3774196"/>
                    <a:pt x="1099004" y="3776939"/>
                    <a:pt x="1095689" y="3778853"/>
                  </a:cubicBezTo>
                  <a:cubicBezTo>
                    <a:pt x="1094327" y="3779882"/>
                    <a:pt x="1091260" y="3780282"/>
                    <a:pt x="1090012" y="3779568"/>
                  </a:cubicBezTo>
                  <a:cubicBezTo>
                    <a:pt x="1080497" y="3773100"/>
                    <a:pt x="1068200" y="3772205"/>
                    <a:pt x="1059190" y="3764690"/>
                  </a:cubicBezTo>
                  <a:cubicBezTo>
                    <a:pt x="1048322" y="3758098"/>
                    <a:pt x="1037044" y="3751526"/>
                    <a:pt x="1025585" y="3747049"/>
                  </a:cubicBezTo>
                  <a:cubicBezTo>
                    <a:pt x="1001411" y="3737334"/>
                    <a:pt x="986885" y="3719979"/>
                    <a:pt x="974398" y="3699215"/>
                  </a:cubicBezTo>
                  <a:cubicBezTo>
                    <a:pt x="964930" y="3683851"/>
                    <a:pt x="953834" y="3669944"/>
                    <a:pt x="934345" y="3665887"/>
                  </a:cubicBezTo>
                  <a:cubicBezTo>
                    <a:pt x="932972" y="3670792"/>
                    <a:pt x="937792" y="3673878"/>
                    <a:pt x="938020" y="3678308"/>
                  </a:cubicBezTo>
                  <a:cubicBezTo>
                    <a:pt x="938732" y="3679298"/>
                    <a:pt x="939608" y="3680136"/>
                    <a:pt x="940352" y="3681155"/>
                  </a:cubicBezTo>
                  <a:cubicBezTo>
                    <a:pt x="944119" y="3684403"/>
                    <a:pt x="946297" y="3688566"/>
                    <a:pt x="946699" y="3693547"/>
                  </a:cubicBezTo>
                  <a:cubicBezTo>
                    <a:pt x="949062" y="3693957"/>
                    <a:pt x="949941" y="3695167"/>
                    <a:pt x="949300" y="3697320"/>
                  </a:cubicBezTo>
                  <a:cubicBezTo>
                    <a:pt x="949744" y="3697977"/>
                    <a:pt x="949920" y="3698672"/>
                    <a:pt x="949920" y="3699215"/>
                  </a:cubicBezTo>
                  <a:cubicBezTo>
                    <a:pt x="957215" y="3703406"/>
                    <a:pt x="958139" y="3711083"/>
                    <a:pt x="961482" y="3718112"/>
                  </a:cubicBezTo>
                  <a:cubicBezTo>
                    <a:pt x="955005" y="3717798"/>
                    <a:pt x="948650" y="3720827"/>
                    <a:pt x="943416" y="3715731"/>
                  </a:cubicBezTo>
                  <a:cubicBezTo>
                    <a:pt x="929102" y="3716160"/>
                    <a:pt x="915993" y="3709740"/>
                    <a:pt x="902091" y="3708216"/>
                  </a:cubicBezTo>
                  <a:cubicBezTo>
                    <a:pt x="883811" y="3702987"/>
                    <a:pt x="865222" y="3702053"/>
                    <a:pt x="846406" y="3703406"/>
                  </a:cubicBezTo>
                  <a:cubicBezTo>
                    <a:pt x="843692" y="3708216"/>
                    <a:pt x="835279" y="3705111"/>
                    <a:pt x="834072" y="3711969"/>
                  </a:cubicBezTo>
                  <a:cubicBezTo>
                    <a:pt x="836518" y="3712321"/>
                    <a:pt x="838852" y="3712626"/>
                    <a:pt x="839956" y="3715188"/>
                  </a:cubicBezTo>
                  <a:lnTo>
                    <a:pt x="840121" y="3715398"/>
                  </a:lnTo>
                  <a:cubicBezTo>
                    <a:pt x="849152" y="3715188"/>
                    <a:pt x="857481" y="3717560"/>
                    <a:pt x="865460" y="3721446"/>
                  </a:cubicBezTo>
                  <a:cubicBezTo>
                    <a:pt x="893698" y="3727733"/>
                    <a:pt x="921629" y="3733914"/>
                    <a:pt x="949806" y="3740391"/>
                  </a:cubicBezTo>
                  <a:cubicBezTo>
                    <a:pt x="953948" y="3741220"/>
                    <a:pt x="955072" y="3745630"/>
                    <a:pt x="955167" y="3748583"/>
                  </a:cubicBezTo>
                  <a:cubicBezTo>
                    <a:pt x="955548" y="3754155"/>
                    <a:pt x="949950" y="3751440"/>
                    <a:pt x="947031" y="3752622"/>
                  </a:cubicBezTo>
                  <a:cubicBezTo>
                    <a:pt x="937585" y="3760603"/>
                    <a:pt x="924437" y="3759984"/>
                    <a:pt x="914516" y="3766871"/>
                  </a:cubicBezTo>
                  <a:cubicBezTo>
                    <a:pt x="911597" y="3768738"/>
                    <a:pt x="905991" y="3766175"/>
                    <a:pt x="906631" y="3771767"/>
                  </a:cubicBezTo>
                  <a:cubicBezTo>
                    <a:pt x="907095" y="3775520"/>
                    <a:pt x="911244" y="3776729"/>
                    <a:pt x="914516" y="3778225"/>
                  </a:cubicBezTo>
                  <a:cubicBezTo>
                    <a:pt x="922764" y="3782302"/>
                    <a:pt x="931816" y="3778672"/>
                    <a:pt x="940207" y="3780587"/>
                  </a:cubicBezTo>
                  <a:cubicBezTo>
                    <a:pt x="964940" y="3774948"/>
                    <a:pt x="989676" y="3769024"/>
                    <a:pt x="1015536" y="3770471"/>
                  </a:cubicBezTo>
                  <a:cubicBezTo>
                    <a:pt x="1022547" y="3770710"/>
                    <a:pt x="1026700" y="3774691"/>
                    <a:pt x="1031824" y="3777348"/>
                  </a:cubicBezTo>
                  <a:cubicBezTo>
                    <a:pt x="1048131" y="3777339"/>
                    <a:pt x="1059380" y="3785597"/>
                    <a:pt x="1068534" y="3797675"/>
                  </a:cubicBezTo>
                  <a:cubicBezTo>
                    <a:pt x="1074744" y="3801552"/>
                    <a:pt x="1069438" y="3804371"/>
                    <a:pt x="1066800" y="3804266"/>
                  </a:cubicBezTo>
                  <a:cubicBezTo>
                    <a:pt x="1059199" y="3804028"/>
                    <a:pt x="1053246" y="3811257"/>
                    <a:pt x="1045188" y="3808400"/>
                  </a:cubicBezTo>
                  <a:cubicBezTo>
                    <a:pt x="1041711" y="3807095"/>
                    <a:pt x="1039120" y="3810076"/>
                    <a:pt x="1038625" y="3812896"/>
                  </a:cubicBezTo>
                  <a:cubicBezTo>
                    <a:pt x="1037415" y="3817258"/>
                    <a:pt x="1041178" y="3820249"/>
                    <a:pt x="1044626" y="3819801"/>
                  </a:cubicBezTo>
                  <a:cubicBezTo>
                    <a:pt x="1059885" y="3817849"/>
                    <a:pt x="1073325" y="3825564"/>
                    <a:pt x="1088012" y="3827317"/>
                  </a:cubicBezTo>
                  <a:cubicBezTo>
                    <a:pt x="1102700" y="3829041"/>
                    <a:pt x="1117530" y="3832270"/>
                    <a:pt x="1132523" y="3833689"/>
                  </a:cubicBezTo>
                  <a:cubicBezTo>
                    <a:pt x="1151201" y="3837223"/>
                    <a:pt x="1170384" y="3838261"/>
                    <a:pt x="1188511" y="3844214"/>
                  </a:cubicBezTo>
                  <a:cubicBezTo>
                    <a:pt x="1191759" y="3844662"/>
                    <a:pt x="1194854" y="3844919"/>
                    <a:pt x="1197940" y="3845138"/>
                  </a:cubicBezTo>
                  <a:cubicBezTo>
                    <a:pt x="1206332" y="3846109"/>
                    <a:pt x="1215057" y="3846633"/>
                    <a:pt x="1222943" y="3850586"/>
                  </a:cubicBezTo>
                  <a:lnTo>
                    <a:pt x="1222753" y="3850539"/>
                  </a:lnTo>
                  <a:cubicBezTo>
                    <a:pt x="1234554" y="3851224"/>
                    <a:pt x="1245356" y="3854720"/>
                    <a:pt x="1259567" y="3859483"/>
                  </a:cubicBezTo>
                  <a:cubicBezTo>
                    <a:pt x="1244184" y="3864426"/>
                    <a:pt x="1232992" y="3870379"/>
                    <a:pt x="1219800" y="3868941"/>
                  </a:cubicBezTo>
                  <a:cubicBezTo>
                    <a:pt x="1194549" y="3875341"/>
                    <a:pt x="1170242" y="3872865"/>
                    <a:pt x="1146200" y="3862921"/>
                  </a:cubicBezTo>
                  <a:cubicBezTo>
                    <a:pt x="1132151" y="3857111"/>
                    <a:pt x="1117121" y="3858216"/>
                    <a:pt x="1104052" y="3864902"/>
                  </a:cubicBezTo>
                  <a:cubicBezTo>
                    <a:pt x="1089870" y="3872113"/>
                    <a:pt x="1077182" y="3869808"/>
                    <a:pt x="1064295" y="3863626"/>
                  </a:cubicBezTo>
                  <a:cubicBezTo>
                    <a:pt x="1048998" y="3856130"/>
                    <a:pt x="1032681" y="3853415"/>
                    <a:pt x="1015889" y="3850691"/>
                  </a:cubicBezTo>
                  <a:cubicBezTo>
                    <a:pt x="1004430" y="3848805"/>
                    <a:pt x="989543" y="3846624"/>
                    <a:pt x="993658" y="3827688"/>
                  </a:cubicBezTo>
                  <a:cubicBezTo>
                    <a:pt x="995143" y="3820716"/>
                    <a:pt x="990314" y="3816077"/>
                    <a:pt x="983809" y="3814182"/>
                  </a:cubicBezTo>
                  <a:cubicBezTo>
                    <a:pt x="971541" y="3810629"/>
                    <a:pt x="958968" y="3807905"/>
                    <a:pt x="946287" y="3807381"/>
                  </a:cubicBezTo>
                  <a:cubicBezTo>
                    <a:pt x="931341" y="3808400"/>
                    <a:pt x="916147" y="3809486"/>
                    <a:pt x="902317" y="3801875"/>
                  </a:cubicBezTo>
                  <a:close/>
                  <a:moveTo>
                    <a:pt x="1184520" y="3902593"/>
                  </a:moveTo>
                  <a:cubicBezTo>
                    <a:pt x="1185082" y="3907812"/>
                    <a:pt x="1180929" y="3910708"/>
                    <a:pt x="1176738" y="3913051"/>
                  </a:cubicBezTo>
                  <a:cubicBezTo>
                    <a:pt x="1156440" y="3924386"/>
                    <a:pt x="1133818" y="3927977"/>
                    <a:pt x="1111358" y="3931349"/>
                  </a:cubicBezTo>
                  <a:cubicBezTo>
                    <a:pt x="1099385" y="3933168"/>
                    <a:pt x="1086688" y="3932291"/>
                    <a:pt x="1074449" y="3935006"/>
                  </a:cubicBezTo>
                  <a:cubicBezTo>
                    <a:pt x="1064143" y="3936063"/>
                    <a:pt x="1061352" y="3930872"/>
                    <a:pt x="1062476" y="3921919"/>
                  </a:cubicBezTo>
                  <a:cubicBezTo>
                    <a:pt x="1065562" y="3896049"/>
                    <a:pt x="1079716" y="3886257"/>
                    <a:pt x="1115454" y="3884086"/>
                  </a:cubicBezTo>
                  <a:cubicBezTo>
                    <a:pt x="1136180" y="3882924"/>
                    <a:pt x="1155926" y="3886972"/>
                    <a:pt x="1175242" y="3893277"/>
                  </a:cubicBezTo>
                  <a:cubicBezTo>
                    <a:pt x="1180024" y="3894792"/>
                    <a:pt x="1183938" y="3897859"/>
                    <a:pt x="1184520" y="3902593"/>
                  </a:cubicBezTo>
                  <a:close/>
                  <a:moveTo>
                    <a:pt x="971740" y="3923576"/>
                  </a:moveTo>
                  <a:cubicBezTo>
                    <a:pt x="970712" y="3911965"/>
                    <a:pt x="978379" y="3900907"/>
                    <a:pt x="974008" y="3888258"/>
                  </a:cubicBezTo>
                  <a:cubicBezTo>
                    <a:pt x="963387" y="3891048"/>
                    <a:pt x="958968" y="3899040"/>
                    <a:pt x="956377" y="3908422"/>
                  </a:cubicBezTo>
                  <a:cubicBezTo>
                    <a:pt x="955567" y="3911337"/>
                    <a:pt x="956967" y="3915109"/>
                    <a:pt x="955386" y="3917337"/>
                  </a:cubicBezTo>
                  <a:cubicBezTo>
                    <a:pt x="952872" y="3921271"/>
                    <a:pt x="953081" y="3928929"/>
                    <a:pt x="946112" y="3927729"/>
                  </a:cubicBezTo>
                  <a:cubicBezTo>
                    <a:pt x="939670" y="3926634"/>
                    <a:pt x="940610" y="3920214"/>
                    <a:pt x="940527" y="3915109"/>
                  </a:cubicBezTo>
                  <a:cubicBezTo>
                    <a:pt x="940227" y="3904945"/>
                    <a:pt x="945761" y="3895535"/>
                    <a:pt x="943778" y="3885153"/>
                  </a:cubicBezTo>
                  <a:cubicBezTo>
                    <a:pt x="943015" y="3881400"/>
                    <a:pt x="945492" y="3876685"/>
                    <a:pt x="939278" y="3874227"/>
                  </a:cubicBezTo>
                  <a:cubicBezTo>
                    <a:pt x="931332" y="3882733"/>
                    <a:pt x="929565" y="3895268"/>
                    <a:pt x="922764" y="3906669"/>
                  </a:cubicBezTo>
                  <a:cubicBezTo>
                    <a:pt x="914806" y="3880504"/>
                    <a:pt x="916675" y="3857654"/>
                    <a:pt x="934355" y="3836870"/>
                  </a:cubicBezTo>
                  <a:cubicBezTo>
                    <a:pt x="939898" y="3830469"/>
                    <a:pt x="946989" y="3828307"/>
                    <a:pt x="954224" y="3826717"/>
                  </a:cubicBezTo>
                  <a:cubicBezTo>
                    <a:pt x="960853" y="3825031"/>
                    <a:pt x="967902" y="3825954"/>
                    <a:pt x="969636" y="3834775"/>
                  </a:cubicBezTo>
                  <a:cubicBezTo>
                    <a:pt x="969997" y="3836127"/>
                    <a:pt x="971207" y="3837432"/>
                    <a:pt x="971731" y="3838718"/>
                  </a:cubicBezTo>
                  <a:cubicBezTo>
                    <a:pt x="982266" y="3862445"/>
                    <a:pt x="998839" y="3876266"/>
                    <a:pt x="1026700" y="3872770"/>
                  </a:cubicBezTo>
                  <a:cubicBezTo>
                    <a:pt x="1033501" y="3871732"/>
                    <a:pt x="1039120" y="3877142"/>
                    <a:pt x="1046255" y="3875666"/>
                  </a:cubicBezTo>
                  <a:cubicBezTo>
                    <a:pt x="1054846" y="3874037"/>
                    <a:pt x="1054275" y="3880504"/>
                    <a:pt x="1053256" y="3885505"/>
                  </a:cubicBezTo>
                  <a:cubicBezTo>
                    <a:pt x="1049084" y="3903383"/>
                    <a:pt x="1044016" y="3921042"/>
                    <a:pt x="1032720" y="3936025"/>
                  </a:cubicBezTo>
                  <a:cubicBezTo>
                    <a:pt x="1031796" y="3932387"/>
                    <a:pt x="1031596" y="3928177"/>
                    <a:pt x="1029757" y="3924919"/>
                  </a:cubicBezTo>
                  <a:cubicBezTo>
                    <a:pt x="1027595" y="3921319"/>
                    <a:pt x="1030224" y="3913051"/>
                    <a:pt x="1022766" y="3914289"/>
                  </a:cubicBezTo>
                  <a:cubicBezTo>
                    <a:pt x="1016937" y="3915213"/>
                    <a:pt x="1010317" y="3918861"/>
                    <a:pt x="1010117" y="3925805"/>
                  </a:cubicBezTo>
                  <a:cubicBezTo>
                    <a:pt x="1009526" y="3932130"/>
                    <a:pt x="1007174" y="3936416"/>
                    <a:pt x="1001639" y="3939626"/>
                  </a:cubicBezTo>
                  <a:cubicBezTo>
                    <a:pt x="991343" y="3929548"/>
                    <a:pt x="1008412" y="3912289"/>
                    <a:pt x="991934" y="3904107"/>
                  </a:cubicBezTo>
                  <a:cubicBezTo>
                    <a:pt x="984818" y="3908974"/>
                    <a:pt x="986018" y="3917985"/>
                    <a:pt x="982723" y="3925043"/>
                  </a:cubicBezTo>
                  <a:cubicBezTo>
                    <a:pt x="981265" y="3928034"/>
                    <a:pt x="981151" y="3934168"/>
                    <a:pt x="975570" y="3932816"/>
                  </a:cubicBezTo>
                  <a:cubicBezTo>
                    <a:pt x="971674" y="3931758"/>
                    <a:pt x="972303" y="3927205"/>
                    <a:pt x="971740" y="3923576"/>
                  </a:cubicBezTo>
                  <a:close/>
                  <a:moveTo>
                    <a:pt x="1100509" y="4081968"/>
                  </a:moveTo>
                  <a:cubicBezTo>
                    <a:pt x="1112187" y="4074738"/>
                    <a:pt x="1125103" y="4077100"/>
                    <a:pt x="1135542" y="4068175"/>
                  </a:cubicBezTo>
                  <a:cubicBezTo>
                    <a:pt x="1121226" y="4063613"/>
                    <a:pt x="1108100" y="4066423"/>
                    <a:pt x="1095308" y="4068175"/>
                  </a:cubicBezTo>
                  <a:cubicBezTo>
                    <a:pt x="1092117" y="4068528"/>
                    <a:pt x="1090041" y="4069566"/>
                    <a:pt x="1087060" y="4067861"/>
                  </a:cubicBezTo>
                  <a:cubicBezTo>
                    <a:pt x="1083716" y="4066089"/>
                    <a:pt x="1077163" y="4067480"/>
                    <a:pt x="1076887" y="4062908"/>
                  </a:cubicBezTo>
                  <a:cubicBezTo>
                    <a:pt x="1076316" y="4056907"/>
                    <a:pt x="1083231" y="4058260"/>
                    <a:pt x="1087060" y="4056907"/>
                  </a:cubicBezTo>
                  <a:cubicBezTo>
                    <a:pt x="1093661" y="4054564"/>
                    <a:pt x="1100280" y="4052240"/>
                    <a:pt x="1108853" y="4049068"/>
                  </a:cubicBezTo>
                  <a:cubicBezTo>
                    <a:pt x="1094661" y="4041439"/>
                    <a:pt x="1079459" y="4042686"/>
                    <a:pt x="1065333" y="4036905"/>
                  </a:cubicBezTo>
                  <a:cubicBezTo>
                    <a:pt x="1071572" y="4030437"/>
                    <a:pt x="1080849" y="4033257"/>
                    <a:pt x="1087907" y="4027084"/>
                  </a:cubicBezTo>
                  <a:cubicBezTo>
                    <a:pt x="1072763" y="4022093"/>
                    <a:pt x="1057723" y="4020665"/>
                    <a:pt x="1041035" y="4020427"/>
                  </a:cubicBezTo>
                  <a:cubicBezTo>
                    <a:pt x="1046397" y="4012626"/>
                    <a:pt x="1054570" y="4012035"/>
                    <a:pt x="1060552" y="4008177"/>
                  </a:cubicBezTo>
                  <a:cubicBezTo>
                    <a:pt x="1062819" y="4006891"/>
                    <a:pt x="1065886" y="4005358"/>
                    <a:pt x="1064933" y="4002576"/>
                  </a:cubicBezTo>
                  <a:cubicBezTo>
                    <a:pt x="1064171" y="4000738"/>
                    <a:pt x="1061752" y="3998995"/>
                    <a:pt x="1058599" y="3998995"/>
                  </a:cubicBezTo>
                  <a:cubicBezTo>
                    <a:pt x="1046083" y="3999186"/>
                    <a:pt x="1033529" y="3998833"/>
                    <a:pt x="1020975" y="3999186"/>
                  </a:cubicBezTo>
                  <a:cubicBezTo>
                    <a:pt x="1011422" y="3999405"/>
                    <a:pt x="1004049" y="3996604"/>
                    <a:pt x="997353" y="3987737"/>
                  </a:cubicBezTo>
                  <a:cubicBezTo>
                    <a:pt x="1012727" y="3984994"/>
                    <a:pt x="1027309" y="3982412"/>
                    <a:pt x="1046121" y="3979069"/>
                  </a:cubicBezTo>
                  <a:cubicBezTo>
                    <a:pt x="1021290" y="3971582"/>
                    <a:pt x="998934" y="3971716"/>
                    <a:pt x="976008" y="3966877"/>
                  </a:cubicBezTo>
                  <a:cubicBezTo>
                    <a:pt x="1004716" y="3959419"/>
                    <a:pt x="1033120" y="3956933"/>
                    <a:pt x="1061018" y="3952856"/>
                  </a:cubicBezTo>
                  <a:cubicBezTo>
                    <a:pt x="1095956" y="3948055"/>
                    <a:pt x="1130941" y="3943388"/>
                    <a:pt x="1166003" y="3939226"/>
                  </a:cubicBezTo>
                  <a:cubicBezTo>
                    <a:pt x="1270949" y="3926443"/>
                    <a:pt x="1366247" y="3881523"/>
                    <a:pt x="1466564" y="3853025"/>
                  </a:cubicBezTo>
                  <a:cubicBezTo>
                    <a:pt x="1472860" y="3851224"/>
                    <a:pt x="1479042" y="3849357"/>
                    <a:pt x="1485338" y="3847433"/>
                  </a:cubicBezTo>
                  <a:cubicBezTo>
                    <a:pt x="1487376" y="3880333"/>
                    <a:pt x="1491167" y="3912365"/>
                    <a:pt x="1489662" y="3944598"/>
                  </a:cubicBezTo>
                  <a:cubicBezTo>
                    <a:pt x="1489348" y="3949703"/>
                    <a:pt x="1489015" y="3954913"/>
                    <a:pt x="1489729" y="3960085"/>
                  </a:cubicBezTo>
                  <a:cubicBezTo>
                    <a:pt x="1492949" y="3985365"/>
                    <a:pt x="1491910" y="3986956"/>
                    <a:pt x="1468126" y="3995518"/>
                  </a:cubicBezTo>
                  <a:cubicBezTo>
                    <a:pt x="1399661" y="4019712"/>
                    <a:pt x="1329300" y="4037562"/>
                    <a:pt x="1258615" y="4054259"/>
                  </a:cubicBezTo>
                  <a:cubicBezTo>
                    <a:pt x="1218619" y="4063613"/>
                    <a:pt x="1178176" y="4071842"/>
                    <a:pt x="1137742" y="4078462"/>
                  </a:cubicBezTo>
                  <a:cubicBezTo>
                    <a:pt x="1126474" y="4080348"/>
                    <a:pt x="1114663" y="4083225"/>
                    <a:pt x="1100509" y="4081968"/>
                  </a:cubicBezTo>
                  <a:close/>
                  <a:moveTo>
                    <a:pt x="1182100" y="4165949"/>
                  </a:moveTo>
                  <a:cubicBezTo>
                    <a:pt x="1178166" y="4165502"/>
                    <a:pt x="1173109" y="4166940"/>
                    <a:pt x="1172375" y="4160977"/>
                  </a:cubicBezTo>
                  <a:cubicBezTo>
                    <a:pt x="1171804" y="4156215"/>
                    <a:pt x="1175766" y="4155005"/>
                    <a:pt x="1179138" y="4153653"/>
                  </a:cubicBezTo>
                  <a:cubicBezTo>
                    <a:pt x="1183062" y="4151986"/>
                    <a:pt x="1186882" y="4150538"/>
                    <a:pt x="1188463" y="4145871"/>
                  </a:cubicBezTo>
                  <a:cubicBezTo>
                    <a:pt x="1176538" y="4138460"/>
                    <a:pt x="1160859" y="4142413"/>
                    <a:pt x="1149315" y="4133003"/>
                  </a:cubicBezTo>
                  <a:cubicBezTo>
                    <a:pt x="1154621" y="4128278"/>
                    <a:pt x="1161107" y="4128526"/>
                    <a:pt x="1167041" y="4127449"/>
                  </a:cubicBezTo>
                  <a:cubicBezTo>
                    <a:pt x="1169575" y="4126916"/>
                    <a:pt x="1172280" y="4125458"/>
                    <a:pt x="1172375" y="4122477"/>
                  </a:cubicBezTo>
                  <a:cubicBezTo>
                    <a:pt x="1172489" y="4119677"/>
                    <a:pt x="1170642" y="4117972"/>
                    <a:pt x="1167860" y="4117115"/>
                  </a:cubicBezTo>
                  <a:cubicBezTo>
                    <a:pt x="1160869" y="4114752"/>
                    <a:pt x="1153792" y="4113048"/>
                    <a:pt x="1146239" y="4113962"/>
                  </a:cubicBezTo>
                  <a:cubicBezTo>
                    <a:pt x="1141505" y="4114467"/>
                    <a:pt x="1136914" y="4114934"/>
                    <a:pt x="1132561" y="4112686"/>
                  </a:cubicBezTo>
                  <a:cubicBezTo>
                    <a:pt x="1128960" y="4110933"/>
                    <a:pt x="1123683" y="4110171"/>
                    <a:pt x="1124417" y="4104866"/>
                  </a:cubicBezTo>
                  <a:cubicBezTo>
                    <a:pt x="1124750" y="4100598"/>
                    <a:pt x="1129379" y="4099865"/>
                    <a:pt x="1132875" y="4099408"/>
                  </a:cubicBezTo>
                  <a:cubicBezTo>
                    <a:pt x="1158726" y="4094293"/>
                    <a:pt x="1184653" y="4088930"/>
                    <a:pt x="1210694" y="4084453"/>
                  </a:cubicBezTo>
                  <a:cubicBezTo>
                    <a:pt x="1259196" y="4076224"/>
                    <a:pt x="1308192" y="4069433"/>
                    <a:pt x="1354865" y="4053231"/>
                  </a:cubicBezTo>
                  <a:cubicBezTo>
                    <a:pt x="1393660" y="4039867"/>
                    <a:pt x="1433274" y="4029075"/>
                    <a:pt x="1472565" y="4017178"/>
                  </a:cubicBezTo>
                  <a:cubicBezTo>
                    <a:pt x="1482643" y="4014273"/>
                    <a:pt x="1488681" y="4018388"/>
                    <a:pt x="1490577" y="4028437"/>
                  </a:cubicBezTo>
                  <a:cubicBezTo>
                    <a:pt x="1495901" y="4057269"/>
                    <a:pt x="1498749" y="4086463"/>
                    <a:pt x="1490815" y="4115362"/>
                  </a:cubicBezTo>
                  <a:cubicBezTo>
                    <a:pt x="1488338" y="4124773"/>
                    <a:pt x="1483090" y="4132193"/>
                    <a:pt x="1472556" y="4136079"/>
                  </a:cubicBezTo>
                  <a:cubicBezTo>
                    <a:pt x="1426731" y="4152462"/>
                    <a:pt x="1379020" y="4159129"/>
                    <a:pt x="1331176" y="4166159"/>
                  </a:cubicBezTo>
                  <a:cubicBezTo>
                    <a:pt x="1290114" y="4172131"/>
                    <a:pt x="1248642" y="4176475"/>
                    <a:pt x="1207122" y="4178494"/>
                  </a:cubicBezTo>
                  <a:cubicBezTo>
                    <a:pt x="1203131" y="4178722"/>
                    <a:pt x="1198931" y="4178132"/>
                    <a:pt x="1193816" y="4177799"/>
                  </a:cubicBezTo>
                  <a:cubicBezTo>
                    <a:pt x="1196111" y="4171541"/>
                    <a:pt x="1201465" y="4172379"/>
                    <a:pt x="1204941" y="4168978"/>
                  </a:cubicBezTo>
                  <a:cubicBezTo>
                    <a:pt x="1197435" y="4164416"/>
                    <a:pt x="1189473" y="4166845"/>
                    <a:pt x="1182100" y="4165949"/>
                  </a:cubicBezTo>
                  <a:close/>
                  <a:moveTo>
                    <a:pt x="1778689" y="4196601"/>
                  </a:moveTo>
                  <a:cubicBezTo>
                    <a:pt x="1728035" y="4215489"/>
                    <a:pt x="1676419" y="4230777"/>
                    <a:pt x="1622917" y="4241254"/>
                  </a:cubicBezTo>
                  <a:cubicBezTo>
                    <a:pt x="1597847" y="4246045"/>
                    <a:pt x="1572559" y="4251570"/>
                    <a:pt x="1547451" y="4257971"/>
                  </a:cubicBezTo>
                  <a:cubicBezTo>
                    <a:pt x="1513637" y="4266457"/>
                    <a:pt x="1478718" y="4269391"/>
                    <a:pt x="1444209" y="4273449"/>
                  </a:cubicBezTo>
                  <a:cubicBezTo>
                    <a:pt x="1397479" y="4279068"/>
                    <a:pt x="1350683" y="4279640"/>
                    <a:pt x="1303944" y="4279450"/>
                  </a:cubicBezTo>
                  <a:cubicBezTo>
                    <a:pt x="1296172" y="4279450"/>
                    <a:pt x="1288142" y="4278802"/>
                    <a:pt x="1283370" y="4267572"/>
                  </a:cubicBezTo>
                  <a:cubicBezTo>
                    <a:pt x="1279198" y="4257704"/>
                    <a:pt x="1263358" y="4259466"/>
                    <a:pt x="1251118" y="4256027"/>
                  </a:cubicBezTo>
                  <a:cubicBezTo>
                    <a:pt x="1257653" y="4248341"/>
                    <a:pt x="1271807" y="4255266"/>
                    <a:pt x="1271245" y="4245407"/>
                  </a:cubicBezTo>
                  <a:cubicBezTo>
                    <a:pt x="1270311" y="4235168"/>
                    <a:pt x="1257976" y="4241854"/>
                    <a:pt x="1251357" y="4239225"/>
                  </a:cubicBezTo>
                  <a:cubicBezTo>
                    <a:pt x="1243174" y="4235825"/>
                    <a:pt x="1235012" y="4232624"/>
                    <a:pt x="1224810" y="4232682"/>
                  </a:cubicBezTo>
                  <a:cubicBezTo>
                    <a:pt x="1233202" y="4225090"/>
                    <a:pt x="1244794" y="4229977"/>
                    <a:pt x="1252471" y="4222680"/>
                  </a:cubicBezTo>
                  <a:cubicBezTo>
                    <a:pt x="1238193" y="4215260"/>
                    <a:pt x="1222334" y="4216489"/>
                    <a:pt x="1206732" y="4211174"/>
                  </a:cubicBezTo>
                  <a:cubicBezTo>
                    <a:pt x="1230487" y="4204916"/>
                    <a:pt x="1254090" y="4197839"/>
                    <a:pt x="1277912" y="4192648"/>
                  </a:cubicBezTo>
                  <a:cubicBezTo>
                    <a:pt x="1322727" y="4183018"/>
                    <a:pt x="1367904" y="4174131"/>
                    <a:pt x="1413282" y="4165502"/>
                  </a:cubicBezTo>
                  <a:cubicBezTo>
                    <a:pt x="1459678" y="4156700"/>
                    <a:pt x="1506922" y="4156539"/>
                    <a:pt x="1554128" y="4157968"/>
                  </a:cubicBezTo>
                  <a:cubicBezTo>
                    <a:pt x="1609601" y="4159949"/>
                    <a:pt x="1664932" y="4165311"/>
                    <a:pt x="1719967" y="4172302"/>
                  </a:cubicBezTo>
                  <a:cubicBezTo>
                    <a:pt x="1739256" y="4174608"/>
                    <a:pt x="1759515" y="4176055"/>
                    <a:pt x="1778089" y="4182523"/>
                  </a:cubicBezTo>
                  <a:cubicBezTo>
                    <a:pt x="1782023" y="4183799"/>
                    <a:pt x="1787119" y="4183818"/>
                    <a:pt x="1787271" y="4189305"/>
                  </a:cubicBezTo>
                  <a:cubicBezTo>
                    <a:pt x="1787424" y="4194544"/>
                    <a:pt x="1782547" y="4195077"/>
                    <a:pt x="1778689" y="4196601"/>
                  </a:cubicBezTo>
                  <a:close/>
                  <a:moveTo>
                    <a:pt x="1811188" y="4087320"/>
                  </a:moveTo>
                  <a:cubicBezTo>
                    <a:pt x="1815370" y="4089959"/>
                    <a:pt x="1820123" y="4089264"/>
                    <a:pt x="1824438" y="4091159"/>
                  </a:cubicBezTo>
                  <a:cubicBezTo>
                    <a:pt x="1829210" y="4093159"/>
                    <a:pt x="1835153" y="4096160"/>
                    <a:pt x="1833039" y="4101589"/>
                  </a:cubicBezTo>
                  <a:cubicBezTo>
                    <a:pt x="1831362" y="4105885"/>
                    <a:pt x="1824161" y="4105580"/>
                    <a:pt x="1820247" y="4103532"/>
                  </a:cubicBezTo>
                  <a:cubicBezTo>
                    <a:pt x="1812303" y="4099408"/>
                    <a:pt x="1804273" y="4096522"/>
                    <a:pt x="1795082" y="4097045"/>
                  </a:cubicBezTo>
                  <a:cubicBezTo>
                    <a:pt x="1790157" y="4097379"/>
                    <a:pt x="1783613" y="4095007"/>
                    <a:pt x="1782318" y="4102094"/>
                  </a:cubicBezTo>
                  <a:cubicBezTo>
                    <a:pt x="1780908" y="4108819"/>
                    <a:pt x="1787433" y="4110276"/>
                    <a:pt x="1791938" y="4112333"/>
                  </a:cubicBezTo>
                  <a:cubicBezTo>
                    <a:pt x="1800797" y="4116191"/>
                    <a:pt x="1809779" y="4119868"/>
                    <a:pt x="1820151" y="4124344"/>
                  </a:cubicBezTo>
                  <a:cubicBezTo>
                    <a:pt x="1811188" y="4132031"/>
                    <a:pt x="1802330" y="4128859"/>
                    <a:pt x="1794377" y="4127164"/>
                  </a:cubicBezTo>
                  <a:cubicBezTo>
                    <a:pt x="1789633" y="4126240"/>
                    <a:pt x="1785252" y="4124163"/>
                    <a:pt x="1780566" y="4126173"/>
                  </a:cubicBezTo>
                  <a:cubicBezTo>
                    <a:pt x="1777365" y="4127430"/>
                    <a:pt x="1772784" y="4127745"/>
                    <a:pt x="1772336" y="4132031"/>
                  </a:cubicBezTo>
                  <a:cubicBezTo>
                    <a:pt x="1772050" y="4135755"/>
                    <a:pt x="1774422" y="4138565"/>
                    <a:pt x="1778118" y="4140403"/>
                  </a:cubicBezTo>
                  <a:cubicBezTo>
                    <a:pt x="1785480" y="4144070"/>
                    <a:pt x="1792548" y="4148461"/>
                    <a:pt x="1799939" y="4151967"/>
                  </a:cubicBezTo>
                  <a:cubicBezTo>
                    <a:pt x="1803425" y="4153548"/>
                    <a:pt x="1807921" y="4154129"/>
                    <a:pt x="1807426" y="4158415"/>
                  </a:cubicBezTo>
                  <a:cubicBezTo>
                    <a:pt x="1806854" y="4164530"/>
                    <a:pt x="1800797" y="4162635"/>
                    <a:pt x="1797625" y="4162511"/>
                  </a:cubicBezTo>
                  <a:cubicBezTo>
                    <a:pt x="1766478" y="4160282"/>
                    <a:pt x="1735474" y="4156986"/>
                    <a:pt x="1704451" y="4155167"/>
                  </a:cubicBezTo>
                  <a:cubicBezTo>
                    <a:pt x="1663303" y="4152776"/>
                    <a:pt x="1622993" y="4142937"/>
                    <a:pt x="1582055" y="4140499"/>
                  </a:cubicBezTo>
                  <a:cubicBezTo>
                    <a:pt x="1571511" y="4139975"/>
                    <a:pt x="1563357" y="4131745"/>
                    <a:pt x="1548193" y="4135660"/>
                  </a:cubicBezTo>
                  <a:cubicBezTo>
                    <a:pt x="1564634" y="4119563"/>
                    <a:pt x="1582322" y="4116048"/>
                    <a:pt x="1598305" y="4110028"/>
                  </a:cubicBezTo>
                  <a:cubicBezTo>
                    <a:pt x="1639291" y="4094741"/>
                    <a:pt x="1681677" y="4083368"/>
                    <a:pt x="1724454" y="4073719"/>
                  </a:cubicBezTo>
                  <a:cubicBezTo>
                    <a:pt x="1751943" y="4067928"/>
                    <a:pt x="1779708" y="4064022"/>
                    <a:pt x="1807931" y="4065308"/>
                  </a:cubicBezTo>
                  <a:cubicBezTo>
                    <a:pt x="1817827" y="4065803"/>
                    <a:pt x="1826781" y="4067842"/>
                    <a:pt x="1835191" y="4075452"/>
                  </a:cubicBezTo>
                  <a:cubicBezTo>
                    <a:pt x="1828048" y="4081253"/>
                    <a:pt x="1822847" y="4075662"/>
                    <a:pt x="1817065" y="4073624"/>
                  </a:cubicBezTo>
                  <a:cubicBezTo>
                    <a:pt x="1812446" y="4072128"/>
                    <a:pt x="1805750" y="4069785"/>
                    <a:pt x="1803444" y="4075567"/>
                  </a:cubicBezTo>
                  <a:cubicBezTo>
                    <a:pt x="1801320" y="4080739"/>
                    <a:pt x="1806407" y="4084339"/>
                    <a:pt x="1811188" y="4087320"/>
                  </a:cubicBezTo>
                  <a:close/>
                  <a:moveTo>
                    <a:pt x="2889257" y="4034038"/>
                  </a:moveTo>
                  <a:cubicBezTo>
                    <a:pt x="2832011" y="4024894"/>
                    <a:pt x="2774242" y="4024894"/>
                    <a:pt x="2717159" y="4018055"/>
                  </a:cubicBezTo>
                  <a:cubicBezTo>
                    <a:pt x="2685431" y="4014264"/>
                    <a:pt x="2653465" y="4014911"/>
                    <a:pt x="2621833" y="4013940"/>
                  </a:cubicBezTo>
                  <a:cubicBezTo>
                    <a:pt x="2527354" y="4011397"/>
                    <a:pt x="2432933" y="4007872"/>
                    <a:pt x="2338407" y="4010444"/>
                  </a:cubicBezTo>
                  <a:cubicBezTo>
                    <a:pt x="2239871" y="4013245"/>
                    <a:pt x="2141468" y="4016502"/>
                    <a:pt x="2042970" y="4020188"/>
                  </a:cubicBezTo>
                  <a:cubicBezTo>
                    <a:pt x="1983505" y="4022608"/>
                    <a:pt x="1924126" y="4025484"/>
                    <a:pt x="1864938" y="4029837"/>
                  </a:cubicBezTo>
                  <a:cubicBezTo>
                    <a:pt x="1819104" y="4032971"/>
                    <a:pt x="1773212" y="4037362"/>
                    <a:pt x="1728569" y="4049020"/>
                  </a:cubicBezTo>
                  <a:cubicBezTo>
                    <a:pt x="1696660" y="4057269"/>
                    <a:pt x="1665875" y="4069994"/>
                    <a:pt x="1633795" y="4077205"/>
                  </a:cubicBezTo>
                  <a:cubicBezTo>
                    <a:pt x="1606839" y="4083225"/>
                    <a:pt x="1580217" y="4090968"/>
                    <a:pt x="1553280" y="4097379"/>
                  </a:cubicBezTo>
                  <a:cubicBezTo>
                    <a:pt x="1549127" y="4098465"/>
                    <a:pt x="1543279" y="4101398"/>
                    <a:pt x="1540564" y="4095836"/>
                  </a:cubicBezTo>
                  <a:cubicBezTo>
                    <a:pt x="1538507" y="4090968"/>
                    <a:pt x="1543688" y="4087968"/>
                    <a:pt x="1546955" y="4084806"/>
                  </a:cubicBezTo>
                  <a:cubicBezTo>
                    <a:pt x="1552261" y="4079977"/>
                    <a:pt x="1557576" y="4075110"/>
                    <a:pt x="1562843" y="4070566"/>
                  </a:cubicBezTo>
                  <a:cubicBezTo>
                    <a:pt x="1561690" y="4065841"/>
                    <a:pt x="1557747" y="4067032"/>
                    <a:pt x="1555128" y="4066489"/>
                  </a:cubicBezTo>
                  <a:cubicBezTo>
                    <a:pt x="1551908" y="4066089"/>
                    <a:pt x="1548308" y="4066423"/>
                    <a:pt x="1547965" y="4062317"/>
                  </a:cubicBezTo>
                  <a:cubicBezTo>
                    <a:pt x="1547451" y="4058565"/>
                    <a:pt x="1548889" y="4056107"/>
                    <a:pt x="1552356" y="4053431"/>
                  </a:cubicBezTo>
                  <a:cubicBezTo>
                    <a:pt x="1560928" y="4046973"/>
                    <a:pt x="1574502" y="4038514"/>
                    <a:pt x="1549594" y="4036447"/>
                  </a:cubicBezTo>
                  <a:cubicBezTo>
                    <a:pt x="1545269" y="4036028"/>
                    <a:pt x="1545127" y="4032733"/>
                    <a:pt x="1547965" y="4029942"/>
                  </a:cubicBezTo>
                  <a:cubicBezTo>
                    <a:pt x="1550337" y="4027380"/>
                    <a:pt x="1553204" y="4025027"/>
                    <a:pt x="1556366" y="4023255"/>
                  </a:cubicBezTo>
                  <a:cubicBezTo>
                    <a:pt x="1559786" y="4021208"/>
                    <a:pt x="1562481" y="4018321"/>
                    <a:pt x="1561290" y="4014664"/>
                  </a:cubicBezTo>
                  <a:cubicBezTo>
                    <a:pt x="1559319" y="4009025"/>
                    <a:pt x="1554328" y="4011654"/>
                    <a:pt x="1550518" y="4012235"/>
                  </a:cubicBezTo>
                  <a:cubicBezTo>
                    <a:pt x="1546422" y="4013130"/>
                    <a:pt x="1542545" y="4015283"/>
                    <a:pt x="1537859" y="4012092"/>
                  </a:cubicBezTo>
                  <a:cubicBezTo>
                    <a:pt x="1540916" y="4003272"/>
                    <a:pt x="1550232" y="4000757"/>
                    <a:pt x="1555699" y="3994499"/>
                  </a:cubicBezTo>
                  <a:cubicBezTo>
                    <a:pt x="1558109" y="3991670"/>
                    <a:pt x="1563757" y="3990251"/>
                    <a:pt x="1560700" y="3985012"/>
                  </a:cubicBezTo>
                  <a:cubicBezTo>
                    <a:pt x="1558157" y="3980374"/>
                    <a:pt x="1553832" y="3980945"/>
                    <a:pt x="1549698" y="3982031"/>
                  </a:cubicBezTo>
                  <a:cubicBezTo>
                    <a:pt x="1544860" y="3983079"/>
                    <a:pt x="1538040" y="3986718"/>
                    <a:pt x="1535887" y="3981136"/>
                  </a:cubicBezTo>
                  <a:cubicBezTo>
                    <a:pt x="1533535" y="3974897"/>
                    <a:pt x="1541574" y="3971601"/>
                    <a:pt x="1545746" y="3968877"/>
                  </a:cubicBezTo>
                  <a:cubicBezTo>
                    <a:pt x="1565815" y="3955933"/>
                    <a:pt x="1588780" y="3949722"/>
                    <a:pt x="1611106" y="3942112"/>
                  </a:cubicBezTo>
                  <a:cubicBezTo>
                    <a:pt x="1634890" y="3934168"/>
                    <a:pt x="1658960" y="3928358"/>
                    <a:pt x="1683182" y="3922833"/>
                  </a:cubicBezTo>
                  <a:cubicBezTo>
                    <a:pt x="1733379" y="3911584"/>
                    <a:pt x="1784090" y="3903783"/>
                    <a:pt x="1834982" y="3896602"/>
                  </a:cubicBezTo>
                  <a:cubicBezTo>
                    <a:pt x="1917821" y="3884610"/>
                    <a:pt x="2001288" y="3877561"/>
                    <a:pt x="2084489" y="3869503"/>
                  </a:cubicBezTo>
                  <a:cubicBezTo>
                    <a:pt x="2109807" y="3866969"/>
                    <a:pt x="2135477" y="3867379"/>
                    <a:pt x="2160918" y="3865550"/>
                  </a:cubicBezTo>
                  <a:cubicBezTo>
                    <a:pt x="2229822" y="3860311"/>
                    <a:pt x="2299030" y="3859025"/>
                    <a:pt x="2367953" y="3854872"/>
                  </a:cubicBezTo>
                  <a:cubicBezTo>
                    <a:pt x="2435819" y="3850681"/>
                    <a:pt x="2503389" y="3857034"/>
                    <a:pt x="2571093" y="3856901"/>
                  </a:cubicBezTo>
                  <a:cubicBezTo>
                    <a:pt x="2621861" y="3856901"/>
                    <a:pt x="2672944" y="3861778"/>
                    <a:pt x="2723274" y="3868912"/>
                  </a:cubicBezTo>
                  <a:cubicBezTo>
                    <a:pt x="2772042" y="3875828"/>
                    <a:pt x="2821153" y="3879914"/>
                    <a:pt x="2869626" y="3890229"/>
                  </a:cubicBezTo>
                  <a:cubicBezTo>
                    <a:pt x="2908659" y="3898564"/>
                    <a:pt x="2947768" y="3907260"/>
                    <a:pt x="2985945" y="3917747"/>
                  </a:cubicBezTo>
                  <a:cubicBezTo>
                    <a:pt x="3040009" y="3932463"/>
                    <a:pt x="3093711" y="3947684"/>
                    <a:pt x="3145165" y="3970325"/>
                  </a:cubicBezTo>
                  <a:cubicBezTo>
                    <a:pt x="3166453" y="3979678"/>
                    <a:pt x="3186475" y="3990680"/>
                    <a:pt x="3206610" y="4001605"/>
                  </a:cubicBezTo>
                  <a:cubicBezTo>
                    <a:pt x="3210782" y="4003891"/>
                    <a:pt x="3216059" y="4004882"/>
                    <a:pt x="3215116" y="4010949"/>
                  </a:cubicBezTo>
                  <a:cubicBezTo>
                    <a:pt x="3213811" y="4018055"/>
                    <a:pt x="3207725" y="4014911"/>
                    <a:pt x="3203524" y="4015540"/>
                  </a:cubicBezTo>
                  <a:cubicBezTo>
                    <a:pt x="3198628" y="4016359"/>
                    <a:pt x="3193456" y="4013959"/>
                    <a:pt x="3186541" y="4017655"/>
                  </a:cubicBezTo>
                  <a:cubicBezTo>
                    <a:pt x="3191970" y="4021646"/>
                    <a:pt x="3195752" y="4025189"/>
                    <a:pt x="3200143" y="4027370"/>
                  </a:cubicBezTo>
                  <a:cubicBezTo>
                    <a:pt x="3205096" y="4029932"/>
                    <a:pt x="3210449" y="4032323"/>
                    <a:pt x="3210373" y="4037667"/>
                  </a:cubicBezTo>
                  <a:cubicBezTo>
                    <a:pt x="3210192" y="4043182"/>
                    <a:pt x="3203696" y="4042991"/>
                    <a:pt x="3199171" y="4043829"/>
                  </a:cubicBezTo>
                  <a:cubicBezTo>
                    <a:pt x="3191818" y="4045277"/>
                    <a:pt x="3195095" y="4048830"/>
                    <a:pt x="3196752" y="4052716"/>
                  </a:cubicBezTo>
                  <a:cubicBezTo>
                    <a:pt x="3199686" y="4059184"/>
                    <a:pt x="3208973" y="4061136"/>
                    <a:pt x="3209430" y="4069547"/>
                  </a:cubicBezTo>
                  <a:cubicBezTo>
                    <a:pt x="3200086" y="4072699"/>
                    <a:pt x="3191628" y="4063365"/>
                    <a:pt x="3181179" y="4068175"/>
                  </a:cubicBezTo>
                  <a:cubicBezTo>
                    <a:pt x="3187694" y="4083530"/>
                    <a:pt x="3205582" y="4087302"/>
                    <a:pt x="3214850" y="4100903"/>
                  </a:cubicBezTo>
                  <a:cubicBezTo>
                    <a:pt x="3196657" y="4105085"/>
                    <a:pt x="3180093" y="4098912"/>
                    <a:pt x="3164500" y="4094369"/>
                  </a:cubicBezTo>
                  <a:cubicBezTo>
                    <a:pt x="3107522" y="4077815"/>
                    <a:pt x="3051039" y="4059308"/>
                    <a:pt x="2992365" y="4049440"/>
                  </a:cubicBezTo>
                  <a:cubicBezTo>
                    <a:pt x="2958008" y="4043772"/>
                    <a:pt x="2923375" y="4039486"/>
                    <a:pt x="2889257" y="4034038"/>
                  </a:cubicBezTo>
                  <a:close/>
                  <a:moveTo>
                    <a:pt x="1540574" y="4039934"/>
                  </a:moveTo>
                  <a:cubicBezTo>
                    <a:pt x="1541059" y="4039553"/>
                    <a:pt x="1541307" y="4039229"/>
                    <a:pt x="1541583" y="4039229"/>
                  </a:cubicBezTo>
                  <a:cubicBezTo>
                    <a:pt x="1541812" y="4039229"/>
                    <a:pt x="1542202" y="4039695"/>
                    <a:pt x="1542431" y="4039934"/>
                  </a:cubicBezTo>
                  <a:cubicBezTo>
                    <a:pt x="1542202" y="4040172"/>
                    <a:pt x="1541812" y="4040524"/>
                    <a:pt x="1541583" y="4040524"/>
                  </a:cubicBezTo>
                  <a:cubicBezTo>
                    <a:pt x="1541307" y="4040524"/>
                    <a:pt x="1541050" y="4040181"/>
                    <a:pt x="1540574" y="4039934"/>
                  </a:cubicBezTo>
                  <a:close/>
                  <a:moveTo>
                    <a:pt x="2966990" y="4176636"/>
                  </a:moveTo>
                  <a:cubicBezTo>
                    <a:pt x="2964456" y="4170817"/>
                    <a:pt x="2970324" y="4169721"/>
                    <a:pt x="2973248" y="4167873"/>
                  </a:cubicBezTo>
                  <a:cubicBezTo>
                    <a:pt x="2984669" y="4161168"/>
                    <a:pt x="2999784" y="4162635"/>
                    <a:pt x="3010472" y="4151176"/>
                  </a:cubicBezTo>
                  <a:cubicBezTo>
                    <a:pt x="2999813" y="4144661"/>
                    <a:pt x="2990050" y="4148147"/>
                    <a:pt x="2980230" y="4150233"/>
                  </a:cubicBezTo>
                  <a:cubicBezTo>
                    <a:pt x="2974743" y="4151319"/>
                    <a:pt x="2966971" y="4157063"/>
                    <a:pt x="2964123" y="4148938"/>
                  </a:cubicBezTo>
                  <a:cubicBezTo>
                    <a:pt x="2961351" y="4141841"/>
                    <a:pt x="2970848" y="4140299"/>
                    <a:pt x="2975400" y="4136527"/>
                  </a:cubicBezTo>
                  <a:cubicBezTo>
                    <a:pt x="2981963" y="4131278"/>
                    <a:pt x="2993574" y="4134231"/>
                    <a:pt x="2997032" y="4123401"/>
                  </a:cubicBezTo>
                  <a:cubicBezTo>
                    <a:pt x="2983106" y="4115610"/>
                    <a:pt x="2967247" y="4128468"/>
                    <a:pt x="2953674" y="4119391"/>
                  </a:cubicBezTo>
                  <a:cubicBezTo>
                    <a:pt x="2965609" y="4107351"/>
                    <a:pt x="2981058" y="4101398"/>
                    <a:pt x="2994622" y="4091216"/>
                  </a:cubicBezTo>
                  <a:cubicBezTo>
                    <a:pt x="2986231" y="4090521"/>
                    <a:pt x="2977696" y="4090073"/>
                    <a:pt x="2964666" y="4089149"/>
                  </a:cubicBezTo>
                  <a:cubicBezTo>
                    <a:pt x="2984144" y="4077919"/>
                    <a:pt x="3000232" y="4076634"/>
                    <a:pt x="3018196" y="4080120"/>
                  </a:cubicBezTo>
                  <a:cubicBezTo>
                    <a:pt x="3037713" y="4083749"/>
                    <a:pt x="3055553" y="4092226"/>
                    <a:pt x="3074270" y="4097703"/>
                  </a:cubicBezTo>
                  <a:cubicBezTo>
                    <a:pt x="3102550" y="4105694"/>
                    <a:pt x="3131353" y="4111219"/>
                    <a:pt x="3159262" y="4120649"/>
                  </a:cubicBezTo>
                  <a:cubicBezTo>
                    <a:pt x="3172235" y="4125030"/>
                    <a:pt x="3184027" y="4130821"/>
                    <a:pt x="3194457" y="4139279"/>
                  </a:cubicBezTo>
                  <a:cubicBezTo>
                    <a:pt x="3201610" y="4144947"/>
                    <a:pt x="3202372" y="4150443"/>
                    <a:pt x="3191637" y="4152719"/>
                  </a:cubicBezTo>
                  <a:cubicBezTo>
                    <a:pt x="3182893" y="4154481"/>
                    <a:pt x="3174359" y="4156377"/>
                    <a:pt x="3165615" y="4157082"/>
                  </a:cubicBezTo>
                  <a:cubicBezTo>
                    <a:pt x="3102331" y="4162654"/>
                    <a:pt x="3040009" y="4175008"/>
                    <a:pt x="2976534" y="4179160"/>
                  </a:cubicBezTo>
                  <a:cubicBezTo>
                    <a:pt x="2972933" y="4179503"/>
                    <a:pt x="2968962" y="4180884"/>
                    <a:pt x="2966990" y="4176636"/>
                  </a:cubicBezTo>
                  <a:close/>
                  <a:moveTo>
                    <a:pt x="3523688" y="4275135"/>
                  </a:moveTo>
                  <a:cubicBezTo>
                    <a:pt x="3509991" y="4283098"/>
                    <a:pt x="3494656" y="4280088"/>
                    <a:pt x="3477768" y="4282393"/>
                  </a:cubicBezTo>
                  <a:cubicBezTo>
                    <a:pt x="3485541" y="4290279"/>
                    <a:pt x="3495313" y="4290117"/>
                    <a:pt x="3503143" y="4296223"/>
                  </a:cubicBezTo>
                  <a:cubicBezTo>
                    <a:pt x="3485131" y="4302605"/>
                    <a:pt x="3467710" y="4306843"/>
                    <a:pt x="3449974" y="4308224"/>
                  </a:cubicBezTo>
                  <a:cubicBezTo>
                    <a:pt x="3411350" y="4311758"/>
                    <a:pt x="3372364" y="4309320"/>
                    <a:pt x="3334627" y="4303700"/>
                  </a:cubicBezTo>
                  <a:cubicBezTo>
                    <a:pt x="3285858" y="4296328"/>
                    <a:pt x="3236624" y="4288479"/>
                    <a:pt x="3188389" y="4277268"/>
                  </a:cubicBezTo>
                  <a:cubicBezTo>
                    <a:pt x="3156109" y="4269391"/>
                    <a:pt x="3123914" y="4261790"/>
                    <a:pt x="3091882" y="4253208"/>
                  </a:cubicBezTo>
                  <a:cubicBezTo>
                    <a:pt x="3056478" y="4243626"/>
                    <a:pt x="3021254" y="4233577"/>
                    <a:pt x="2987345" y="4219518"/>
                  </a:cubicBezTo>
                  <a:cubicBezTo>
                    <a:pt x="2982906" y="4217718"/>
                    <a:pt x="2978096" y="4216727"/>
                    <a:pt x="2977696" y="4211489"/>
                  </a:cubicBezTo>
                  <a:cubicBezTo>
                    <a:pt x="2977344" y="4205964"/>
                    <a:pt x="2982373" y="4204259"/>
                    <a:pt x="2986545" y="4201840"/>
                  </a:cubicBezTo>
                  <a:cubicBezTo>
                    <a:pt x="3010843" y="4187847"/>
                    <a:pt x="3038170" y="4184837"/>
                    <a:pt x="3065583" y="4182018"/>
                  </a:cubicBezTo>
                  <a:cubicBezTo>
                    <a:pt x="3115856" y="4176808"/>
                    <a:pt x="3165644" y="4179513"/>
                    <a:pt x="3215373" y="4184819"/>
                  </a:cubicBezTo>
                  <a:cubicBezTo>
                    <a:pt x="3248854" y="4188590"/>
                    <a:pt x="3281525" y="4196410"/>
                    <a:pt x="3314300" y="4204307"/>
                  </a:cubicBezTo>
                  <a:cubicBezTo>
                    <a:pt x="3339360" y="4210441"/>
                    <a:pt x="3364878" y="4214136"/>
                    <a:pt x="3390119" y="4219518"/>
                  </a:cubicBezTo>
                  <a:cubicBezTo>
                    <a:pt x="3423666" y="4226614"/>
                    <a:pt x="3457223" y="4233691"/>
                    <a:pt x="3490455" y="4242035"/>
                  </a:cubicBezTo>
                  <a:cubicBezTo>
                    <a:pt x="3499371" y="4244216"/>
                    <a:pt x="3509505" y="4240807"/>
                    <a:pt x="3517383" y="4247512"/>
                  </a:cubicBezTo>
                  <a:cubicBezTo>
                    <a:pt x="3512763" y="4256218"/>
                    <a:pt x="3500961" y="4250427"/>
                    <a:pt x="3496151" y="4258637"/>
                  </a:cubicBezTo>
                  <a:cubicBezTo>
                    <a:pt x="3504181" y="4265105"/>
                    <a:pt x="3514792" y="4260037"/>
                    <a:pt x="3523069" y="4264495"/>
                  </a:cubicBezTo>
                  <a:cubicBezTo>
                    <a:pt x="3525736" y="4266057"/>
                    <a:pt x="3529965" y="4266191"/>
                    <a:pt x="3530051" y="4269915"/>
                  </a:cubicBezTo>
                  <a:cubicBezTo>
                    <a:pt x="3530194" y="4273496"/>
                    <a:pt x="3526269" y="4273753"/>
                    <a:pt x="3523688" y="4275135"/>
                  </a:cubicBezTo>
                  <a:close/>
                  <a:moveTo>
                    <a:pt x="3583076" y="4145918"/>
                  </a:moveTo>
                  <a:cubicBezTo>
                    <a:pt x="3586639" y="4156710"/>
                    <a:pt x="3597935" y="4155186"/>
                    <a:pt x="3602755" y="4162654"/>
                  </a:cubicBezTo>
                  <a:cubicBezTo>
                    <a:pt x="3589782" y="4171884"/>
                    <a:pt x="3573799" y="4166845"/>
                    <a:pt x="3559083" y="4172302"/>
                  </a:cubicBezTo>
                  <a:cubicBezTo>
                    <a:pt x="3566713" y="4177732"/>
                    <a:pt x="3576657" y="4177560"/>
                    <a:pt x="3582400" y="4186428"/>
                  </a:cubicBezTo>
                  <a:cubicBezTo>
                    <a:pt x="3568846" y="4192019"/>
                    <a:pt x="3555006" y="4186142"/>
                    <a:pt x="3541614" y="4190267"/>
                  </a:cubicBezTo>
                  <a:cubicBezTo>
                    <a:pt x="3546529" y="4201154"/>
                    <a:pt x="3559245" y="4197115"/>
                    <a:pt x="3567303" y="4203783"/>
                  </a:cubicBezTo>
                  <a:cubicBezTo>
                    <a:pt x="3558445" y="4210450"/>
                    <a:pt x="3550310" y="4207031"/>
                    <a:pt x="3542157" y="4204488"/>
                  </a:cubicBezTo>
                  <a:cubicBezTo>
                    <a:pt x="3536899" y="4202973"/>
                    <a:pt x="3529679" y="4199420"/>
                    <a:pt x="3527879" y="4207031"/>
                  </a:cubicBezTo>
                  <a:cubicBezTo>
                    <a:pt x="3526765" y="4212336"/>
                    <a:pt x="3534013" y="4212555"/>
                    <a:pt x="3538604" y="4212555"/>
                  </a:cubicBezTo>
                  <a:cubicBezTo>
                    <a:pt x="3546529" y="4212555"/>
                    <a:pt x="3550310" y="4220966"/>
                    <a:pt x="3560521" y="4219528"/>
                  </a:cubicBezTo>
                  <a:cubicBezTo>
                    <a:pt x="3552759" y="4228671"/>
                    <a:pt x="3544224" y="4226509"/>
                    <a:pt x="3537280" y="4226157"/>
                  </a:cubicBezTo>
                  <a:cubicBezTo>
                    <a:pt x="3499990" y="4224262"/>
                    <a:pt x="3463233" y="4217927"/>
                    <a:pt x="3426295" y="4210679"/>
                  </a:cubicBezTo>
                  <a:cubicBezTo>
                    <a:pt x="3378146" y="4201297"/>
                    <a:pt x="3331588" y="4187542"/>
                    <a:pt x="3284115" y="4176265"/>
                  </a:cubicBezTo>
                  <a:cubicBezTo>
                    <a:pt x="3276791" y="4174551"/>
                    <a:pt x="3270228" y="4170198"/>
                    <a:pt x="3262103" y="4170483"/>
                  </a:cubicBezTo>
                  <a:cubicBezTo>
                    <a:pt x="3255721" y="4170712"/>
                    <a:pt x="3254940" y="4165902"/>
                    <a:pt x="3254940" y="4160977"/>
                  </a:cubicBezTo>
                  <a:cubicBezTo>
                    <a:pt x="3254569" y="4121077"/>
                    <a:pt x="3254254" y="4081091"/>
                    <a:pt x="3258169" y="4041219"/>
                  </a:cubicBezTo>
                  <a:cubicBezTo>
                    <a:pt x="3259141" y="4031761"/>
                    <a:pt x="3264046" y="4030790"/>
                    <a:pt x="3272171" y="4033495"/>
                  </a:cubicBezTo>
                  <a:cubicBezTo>
                    <a:pt x="3324844" y="4050887"/>
                    <a:pt x="3376832" y="4069356"/>
                    <a:pt x="3430038" y="4084453"/>
                  </a:cubicBezTo>
                  <a:cubicBezTo>
                    <a:pt x="3460271" y="4093083"/>
                    <a:pt x="3492217" y="4095722"/>
                    <a:pt x="3523564" y="4101018"/>
                  </a:cubicBezTo>
                  <a:cubicBezTo>
                    <a:pt x="3564360" y="4107952"/>
                    <a:pt x="3605613" y="4111600"/>
                    <a:pt x="3646465" y="4121106"/>
                  </a:cubicBezTo>
                  <a:cubicBezTo>
                    <a:pt x="3633473" y="4149528"/>
                    <a:pt x="3608156" y="4146394"/>
                    <a:pt x="3583076" y="4145918"/>
                  </a:cubicBezTo>
                  <a:close/>
                  <a:moveTo>
                    <a:pt x="3788788" y="4000281"/>
                  </a:moveTo>
                  <a:cubicBezTo>
                    <a:pt x="3774481" y="4012130"/>
                    <a:pt x="3759603" y="4004805"/>
                    <a:pt x="3745363" y="4001319"/>
                  </a:cubicBezTo>
                  <a:cubicBezTo>
                    <a:pt x="3735934" y="3999138"/>
                    <a:pt x="3727552" y="3999138"/>
                    <a:pt x="3719008" y="4006301"/>
                  </a:cubicBezTo>
                  <a:cubicBezTo>
                    <a:pt x="3729200" y="4013111"/>
                    <a:pt x="3738610" y="4019322"/>
                    <a:pt x="3748011" y="4025694"/>
                  </a:cubicBezTo>
                  <a:cubicBezTo>
                    <a:pt x="3734610" y="4023798"/>
                    <a:pt x="3721837" y="4024456"/>
                    <a:pt x="3706978" y="4025027"/>
                  </a:cubicBezTo>
                  <a:cubicBezTo>
                    <a:pt x="3715388" y="4030285"/>
                    <a:pt x="3721837" y="4034181"/>
                    <a:pt x="3730485" y="4039562"/>
                  </a:cubicBezTo>
                  <a:cubicBezTo>
                    <a:pt x="3713493" y="4039562"/>
                    <a:pt x="3699091" y="4039562"/>
                    <a:pt x="3684870" y="4039705"/>
                  </a:cubicBezTo>
                  <a:cubicBezTo>
                    <a:pt x="3684727" y="4040534"/>
                    <a:pt x="3684585" y="4041458"/>
                    <a:pt x="3684546" y="4042334"/>
                  </a:cubicBezTo>
                  <a:cubicBezTo>
                    <a:pt x="3691699" y="4046077"/>
                    <a:pt x="3699062" y="4049783"/>
                    <a:pt x="3706292" y="4053640"/>
                  </a:cubicBezTo>
                  <a:cubicBezTo>
                    <a:pt x="3706082" y="4054354"/>
                    <a:pt x="3706082" y="4055174"/>
                    <a:pt x="3706035" y="4055993"/>
                  </a:cubicBezTo>
                  <a:lnTo>
                    <a:pt x="3660982" y="4055993"/>
                  </a:lnTo>
                  <a:cubicBezTo>
                    <a:pt x="3670602" y="4066461"/>
                    <a:pt x="3683089" y="4064965"/>
                    <a:pt x="3690042" y="4072728"/>
                  </a:cubicBezTo>
                  <a:cubicBezTo>
                    <a:pt x="3677479" y="4079710"/>
                    <a:pt x="3663506" y="4076329"/>
                    <a:pt x="3646323" y="4077729"/>
                  </a:cubicBezTo>
                  <a:cubicBezTo>
                    <a:pt x="3657057" y="4084473"/>
                    <a:pt x="3665306" y="4089769"/>
                    <a:pt x="3675250" y="4096169"/>
                  </a:cubicBezTo>
                  <a:cubicBezTo>
                    <a:pt x="3662534" y="4100998"/>
                    <a:pt x="3650304" y="4100932"/>
                    <a:pt x="3639969" y="4100532"/>
                  </a:cubicBezTo>
                  <a:cubicBezTo>
                    <a:pt x="3573513" y="4097960"/>
                    <a:pt x="3508401" y="4085682"/>
                    <a:pt x="3444497" y="4067975"/>
                  </a:cubicBezTo>
                  <a:cubicBezTo>
                    <a:pt x="3387671" y="4052497"/>
                    <a:pt x="3330912" y="4036362"/>
                    <a:pt x="3279305" y="4007034"/>
                  </a:cubicBezTo>
                  <a:cubicBezTo>
                    <a:pt x="3262293" y="3997062"/>
                    <a:pt x="3257788" y="3986489"/>
                    <a:pt x="3262293" y="3960905"/>
                  </a:cubicBezTo>
                  <a:cubicBezTo>
                    <a:pt x="3266418" y="3939435"/>
                    <a:pt x="3267056" y="3917528"/>
                    <a:pt x="3268094" y="3895820"/>
                  </a:cubicBezTo>
                  <a:cubicBezTo>
                    <a:pt x="3268666" y="3886095"/>
                    <a:pt x="3268828" y="3876809"/>
                    <a:pt x="3272666" y="3869084"/>
                  </a:cubicBezTo>
                  <a:cubicBezTo>
                    <a:pt x="3302117" y="3872275"/>
                    <a:pt x="3324749" y="3890172"/>
                    <a:pt x="3349581" y="3902831"/>
                  </a:cubicBezTo>
                  <a:cubicBezTo>
                    <a:pt x="3390091" y="3923309"/>
                    <a:pt x="3434258" y="3931653"/>
                    <a:pt x="3478073" y="3941664"/>
                  </a:cubicBezTo>
                  <a:cubicBezTo>
                    <a:pt x="3512334" y="3949608"/>
                    <a:pt x="3546758" y="3955961"/>
                    <a:pt x="3581495" y="3961314"/>
                  </a:cubicBezTo>
                  <a:cubicBezTo>
                    <a:pt x="3611794" y="3965953"/>
                    <a:pt x="3642055" y="3971049"/>
                    <a:pt x="3672345" y="3975297"/>
                  </a:cubicBezTo>
                  <a:cubicBezTo>
                    <a:pt x="3710740" y="3980774"/>
                    <a:pt x="3749374" y="3985727"/>
                    <a:pt x="3787892" y="3990699"/>
                  </a:cubicBezTo>
                  <a:cubicBezTo>
                    <a:pt x="3790693" y="3991137"/>
                    <a:pt x="3793560" y="3992223"/>
                    <a:pt x="3794036" y="3994499"/>
                  </a:cubicBezTo>
                  <a:cubicBezTo>
                    <a:pt x="3794912" y="3997833"/>
                    <a:pt x="3791074" y="3998405"/>
                    <a:pt x="3788788" y="4000281"/>
                  </a:cubicBezTo>
                  <a:close/>
                  <a:moveTo>
                    <a:pt x="3579247" y="3927101"/>
                  </a:moveTo>
                  <a:cubicBezTo>
                    <a:pt x="3580095" y="3920776"/>
                    <a:pt x="3585448" y="3918814"/>
                    <a:pt x="3590401" y="3915756"/>
                  </a:cubicBezTo>
                  <a:cubicBezTo>
                    <a:pt x="3616709" y="3899449"/>
                    <a:pt x="3643579" y="3900392"/>
                    <a:pt x="3671478" y="3911794"/>
                  </a:cubicBezTo>
                  <a:cubicBezTo>
                    <a:pt x="3677060" y="3914213"/>
                    <a:pt x="3683518" y="3914994"/>
                    <a:pt x="3689614" y="3915947"/>
                  </a:cubicBezTo>
                  <a:cubicBezTo>
                    <a:pt x="3708092" y="3918595"/>
                    <a:pt x="3718303" y="3933577"/>
                    <a:pt x="3713712" y="3951285"/>
                  </a:cubicBezTo>
                  <a:cubicBezTo>
                    <a:pt x="3711083" y="3961505"/>
                    <a:pt x="3703891" y="3961695"/>
                    <a:pt x="3695291" y="3960581"/>
                  </a:cubicBezTo>
                  <a:cubicBezTo>
                    <a:pt x="3660115" y="3953770"/>
                    <a:pt x="3623224" y="3954199"/>
                    <a:pt x="3589782" y="3938397"/>
                  </a:cubicBezTo>
                  <a:cubicBezTo>
                    <a:pt x="3584696" y="3935978"/>
                    <a:pt x="3578342" y="3934520"/>
                    <a:pt x="3579247" y="3927101"/>
                  </a:cubicBezTo>
                  <a:close/>
                  <a:moveTo>
                    <a:pt x="3842242" y="3957285"/>
                  </a:moveTo>
                  <a:cubicBezTo>
                    <a:pt x="3839861" y="3966886"/>
                    <a:pt x="3830288" y="3968449"/>
                    <a:pt x="3821964" y="3968877"/>
                  </a:cubicBezTo>
                  <a:cubicBezTo>
                    <a:pt x="3808410" y="3969639"/>
                    <a:pt x="3794912" y="3969115"/>
                    <a:pt x="3781349" y="3969115"/>
                  </a:cubicBezTo>
                  <a:cubicBezTo>
                    <a:pt x="3774481" y="3969115"/>
                    <a:pt x="3767728" y="3969258"/>
                    <a:pt x="3760861" y="3969258"/>
                  </a:cubicBezTo>
                  <a:cubicBezTo>
                    <a:pt x="3752726" y="3969115"/>
                    <a:pt x="3743259" y="3971239"/>
                    <a:pt x="3736143" y="3968449"/>
                  </a:cubicBezTo>
                  <a:cubicBezTo>
                    <a:pt x="3727285" y="3964819"/>
                    <a:pt x="3731905" y="3953466"/>
                    <a:pt x="3731457" y="3946646"/>
                  </a:cubicBezTo>
                  <a:cubicBezTo>
                    <a:pt x="3729885" y="3927653"/>
                    <a:pt x="3718684" y="3909355"/>
                    <a:pt x="3727380" y="3889629"/>
                  </a:cubicBezTo>
                  <a:cubicBezTo>
                    <a:pt x="3730933" y="3881714"/>
                    <a:pt x="3735524" y="3877875"/>
                    <a:pt x="3743963" y="3879704"/>
                  </a:cubicBezTo>
                  <a:cubicBezTo>
                    <a:pt x="3770671" y="3885952"/>
                    <a:pt x="3797942" y="3881904"/>
                    <a:pt x="3824811" y="3882514"/>
                  </a:cubicBezTo>
                  <a:cubicBezTo>
                    <a:pt x="3833384" y="3882752"/>
                    <a:pt x="3836803" y="3885505"/>
                    <a:pt x="3839499" y="3893496"/>
                  </a:cubicBezTo>
                  <a:cubicBezTo>
                    <a:pt x="3847005" y="3914689"/>
                    <a:pt x="3847586" y="3935854"/>
                    <a:pt x="3842242" y="3957285"/>
                  </a:cubicBezTo>
                  <a:close/>
                  <a:moveTo>
                    <a:pt x="3832460" y="3669554"/>
                  </a:moveTo>
                  <a:cubicBezTo>
                    <a:pt x="3838556" y="3667525"/>
                    <a:pt x="3844919" y="3663372"/>
                    <a:pt x="3850472" y="3664020"/>
                  </a:cubicBezTo>
                  <a:cubicBezTo>
                    <a:pt x="3855492" y="3664792"/>
                    <a:pt x="3860064" y="3656143"/>
                    <a:pt x="3863616" y="3663248"/>
                  </a:cubicBezTo>
                  <a:cubicBezTo>
                    <a:pt x="3866055" y="3668182"/>
                    <a:pt x="3861654" y="3672478"/>
                    <a:pt x="3858187" y="3676002"/>
                  </a:cubicBezTo>
                  <a:lnTo>
                    <a:pt x="3858187" y="3676145"/>
                  </a:lnTo>
                  <a:cubicBezTo>
                    <a:pt x="3856958" y="3682213"/>
                    <a:pt x="3855806" y="3688213"/>
                    <a:pt x="3854710" y="3694281"/>
                  </a:cubicBezTo>
                  <a:cubicBezTo>
                    <a:pt x="3878018" y="3698272"/>
                    <a:pt x="3896506" y="3686366"/>
                    <a:pt x="3915670" y="3676622"/>
                  </a:cubicBezTo>
                  <a:cubicBezTo>
                    <a:pt x="3920204" y="3674202"/>
                    <a:pt x="3924395" y="3671592"/>
                    <a:pt x="3928872" y="3669211"/>
                  </a:cubicBezTo>
                  <a:cubicBezTo>
                    <a:pt x="3951646" y="3657829"/>
                    <a:pt x="3954799" y="3658895"/>
                    <a:pt x="3963486" y="3682213"/>
                  </a:cubicBezTo>
                  <a:cubicBezTo>
                    <a:pt x="3965696" y="3703768"/>
                    <a:pt x="3965572" y="3725009"/>
                    <a:pt x="3959057" y="3746192"/>
                  </a:cubicBezTo>
                  <a:cubicBezTo>
                    <a:pt x="3955409" y="3757546"/>
                    <a:pt x="3949599" y="3765699"/>
                    <a:pt x="3939111" y="3771033"/>
                  </a:cubicBezTo>
                  <a:cubicBezTo>
                    <a:pt x="3929539" y="3777244"/>
                    <a:pt x="3922005" y="3787302"/>
                    <a:pt x="3908736" y="3787035"/>
                  </a:cubicBezTo>
                  <a:cubicBezTo>
                    <a:pt x="3904441" y="3792826"/>
                    <a:pt x="3898326" y="3790045"/>
                    <a:pt x="3893001" y="3789979"/>
                  </a:cubicBezTo>
                  <a:cubicBezTo>
                    <a:pt x="3880228" y="3789721"/>
                    <a:pt x="3867579" y="3791474"/>
                    <a:pt x="3855025" y="3793417"/>
                  </a:cubicBezTo>
                  <a:cubicBezTo>
                    <a:pt x="3843643" y="3799532"/>
                    <a:pt x="3853358" y="3805476"/>
                    <a:pt x="3855120" y="3811600"/>
                  </a:cubicBezTo>
                  <a:cubicBezTo>
                    <a:pt x="3861911" y="3815715"/>
                    <a:pt x="3870627" y="3812381"/>
                    <a:pt x="3877247" y="3817706"/>
                  </a:cubicBezTo>
                  <a:cubicBezTo>
                    <a:pt x="3878142" y="3818611"/>
                    <a:pt x="3879047" y="3819849"/>
                    <a:pt x="3879942" y="3820840"/>
                  </a:cubicBezTo>
                  <a:cubicBezTo>
                    <a:pt x="3882152" y="3821287"/>
                    <a:pt x="3883095" y="3822497"/>
                    <a:pt x="3882533" y="3824754"/>
                  </a:cubicBezTo>
                  <a:cubicBezTo>
                    <a:pt x="3882676" y="3826221"/>
                    <a:pt x="3882676" y="3827688"/>
                    <a:pt x="3882885" y="3829212"/>
                  </a:cubicBezTo>
                  <a:cubicBezTo>
                    <a:pt x="3885181" y="3830841"/>
                    <a:pt x="3887029" y="3832146"/>
                    <a:pt x="3882476" y="3833736"/>
                  </a:cubicBezTo>
                  <a:cubicBezTo>
                    <a:pt x="3869017" y="3838737"/>
                    <a:pt x="3855806" y="3843976"/>
                    <a:pt x="3842414" y="3849186"/>
                  </a:cubicBezTo>
                  <a:cubicBezTo>
                    <a:pt x="3805685" y="3871265"/>
                    <a:pt x="3767823" y="3868931"/>
                    <a:pt x="3729200" y="3854549"/>
                  </a:cubicBezTo>
                  <a:cubicBezTo>
                    <a:pt x="3714064" y="3858082"/>
                    <a:pt x="3715102" y="3873560"/>
                    <a:pt x="3707644" y="3882924"/>
                  </a:cubicBezTo>
                  <a:cubicBezTo>
                    <a:pt x="3699320" y="3894658"/>
                    <a:pt x="3688309" y="3897573"/>
                    <a:pt x="3674488" y="3892925"/>
                  </a:cubicBezTo>
                  <a:cubicBezTo>
                    <a:pt x="3653647" y="3885952"/>
                    <a:pt x="3633568" y="3875628"/>
                    <a:pt x="3610470" y="3879933"/>
                  </a:cubicBezTo>
                  <a:cubicBezTo>
                    <a:pt x="3586334" y="3889934"/>
                    <a:pt x="3562179" y="3888276"/>
                    <a:pt x="3537995" y="3880333"/>
                  </a:cubicBezTo>
                  <a:cubicBezTo>
                    <a:pt x="3535528" y="3879933"/>
                    <a:pt x="3532689" y="3880047"/>
                    <a:pt x="3531432" y="3877142"/>
                  </a:cubicBezTo>
                  <a:cubicBezTo>
                    <a:pt x="3529508" y="3876789"/>
                    <a:pt x="3527451" y="3876447"/>
                    <a:pt x="3525603" y="3875970"/>
                  </a:cubicBezTo>
                  <a:cubicBezTo>
                    <a:pt x="3521307" y="3872656"/>
                    <a:pt x="3509801" y="3872208"/>
                    <a:pt x="3515506" y="3864197"/>
                  </a:cubicBezTo>
                  <a:cubicBezTo>
                    <a:pt x="3520774" y="3856901"/>
                    <a:pt x="3529508" y="3849624"/>
                    <a:pt x="3541195" y="3855882"/>
                  </a:cubicBezTo>
                  <a:cubicBezTo>
                    <a:pt x="3549510" y="3856377"/>
                    <a:pt x="3556169" y="3861235"/>
                    <a:pt x="3563303" y="3865026"/>
                  </a:cubicBezTo>
                  <a:cubicBezTo>
                    <a:pt x="3573247" y="3863311"/>
                    <a:pt x="3576657" y="3852843"/>
                    <a:pt x="3584972" y="3848786"/>
                  </a:cubicBezTo>
                  <a:cubicBezTo>
                    <a:pt x="3607775" y="3835556"/>
                    <a:pt x="3632845" y="3835794"/>
                    <a:pt x="3658057" y="3837318"/>
                  </a:cubicBezTo>
                  <a:cubicBezTo>
                    <a:pt x="3663896" y="3837575"/>
                    <a:pt x="3670326" y="3842147"/>
                    <a:pt x="3673259" y="3848786"/>
                  </a:cubicBezTo>
                  <a:cubicBezTo>
                    <a:pt x="3676345" y="3850777"/>
                    <a:pt x="3679422" y="3852863"/>
                    <a:pt x="3682460" y="3854910"/>
                  </a:cubicBezTo>
                  <a:lnTo>
                    <a:pt x="3682460" y="3854872"/>
                  </a:lnTo>
                  <a:cubicBezTo>
                    <a:pt x="3684585" y="3855168"/>
                    <a:pt x="3686651" y="3855330"/>
                    <a:pt x="3688528" y="3855549"/>
                  </a:cubicBezTo>
                  <a:cubicBezTo>
                    <a:pt x="3695814" y="3848595"/>
                    <a:pt x="3690300" y="3842004"/>
                    <a:pt x="3688280" y="3835137"/>
                  </a:cubicBezTo>
                  <a:cubicBezTo>
                    <a:pt x="3686251" y="3828831"/>
                    <a:pt x="3678860" y="3820820"/>
                    <a:pt x="3692071" y="3817811"/>
                  </a:cubicBezTo>
                  <a:cubicBezTo>
                    <a:pt x="3711997" y="3810391"/>
                    <a:pt x="3731743" y="3809533"/>
                    <a:pt x="3751498" y="3817668"/>
                  </a:cubicBezTo>
                  <a:cubicBezTo>
                    <a:pt x="3764976" y="3820373"/>
                    <a:pt x="3778491" y="3823183"/>
                    <a:pt x="3791988" y="3825821"/>
                  </a:cubicBezTo>
                  <a:cubicBezTo>
                    <a:pt x="3803028" y="3827955"/>
                    <a:pt x="3813600" y="3829012"/>
                    <a:pt x="3824354" y="3818582"/>
                  </a:cubicBezTo>
                  <a:cubicBezTo>
                    <a:pt x="3809524" y="3811981"/>
                    <a:pt x="3796065" y="3805123"/>
                    <a:pt x="3781663" y="3799580"/>
                  </a:cubicBezTo>
                  <a:cubicBezTo>
                    <a:pt x="3763775" y="3792817"/>
                    <a:pt x="3762966" y="3791045"/>
                    <a:pt x="3777586" y="3778577"/>
                  </a:cubicBezTo>
                  <a:cubicBezTo>
                    <a:pt x="3793722" y="3764966"/>
                    <a:pt x="3811962" y="3754993"/>
                    <a:pt x="3832650" y="3750040"/>
                  </a:cubicBezTo>
                  <a:cubicBezTo>
                    <a:pt x="3855520" y="3742801"/>
                    <a:pt x="3878456" y="3735505"/>
                    <a:pt x="3901145" y="3728152"/>
                  </a:cubicBezTo>
                  <a:cubicBezTo>
                    <a:pt x="3903288" y="3724027"/>
                    <a:pt x="3913051" y="3724980"/>
                    <a:pt x="3910232" y="3718198"/>
                  </a:cubicBezTo>
                  <a:cubicBezTo>
                    <a:pt x="3908289" y="3713655"/>
                    <a:pt x="3901650" y="3715836"/>
                    <a:pt x="3897354" y="3716141"/>
                  </a:cubicBezTo>
                  <a:cubicBezTo>
                    <a:pt x="3861416" y="3719103"/>
                    <a:pt x="3825469" y="3722427"/>
                    <a:pt x="3789721" y="3725685"/>
                  </a:cubicBezTo>
                  <a:cubicBezTo>
                    <a:pt x="3787635" y="3730647"/>
                    <a:pt x="3786683" y="3736315"/>
                    <a:pt x="3780977" y="3739039"/>
                  </a:cubicBezTo>
                  <a:cubicBezTo>
                    <a:pt x="3780977" y="3739039"/>
                    <a:pt x="3780854" y="3739201"/>
                    <a:pt x="3780854" y="3739115"/>
                  </a:cubicBezTo>
                  <a:cubicBezTo>
                    <a:pt x="3777586" y="3744211"/>
                    <a:pt x="3776301" y="3750678"/>
                    <a:pt x="3770167" y="3753755"/>
                  </a:cubicBezTo>
                  <a:cubicBezTo>
                    <a:pt x="3761232" y="3764518"/>
                    <a:pt x="3751336" y="3774234"/>
                    <a:pt x="3738772" y="3780996"/>
                  </a:cubicBezTo>
                  <a:cubicBezTo>
                    <a:pt x="3735534" y="3782940"/>
                    <a:pt x="3732219" y="3784854"/>
                    <a:pt x="3729209" y="3786826"/>
                  </a:cubicBezTo>
                  <a:cubicBezTo>
                    <a:pt x="3728142" y="3787293"/>
                    <a:pt x="3727285" y="3787483"/>
                    <a:pt x="3726409" y="3787416"/>
                  </a:cubicBezTo>
                  <a:cubicBezTo>
                    <a:pt x="3714083" y="3795475"/>
                    <a:pt x="3700606" y="3799761"/>
                    <a:pt x="3685870" y="3799408"/>
                  </a:cubicBezTo>
                  <a:cubicBezTo>
                    <a:pt x="3676841" y="3799227"/>
                    <a:pt x="3681003" y="3796065"/>
                    <a:pt x="3684775" y="3793360"/>
                  </a:cubicBezTo>
                  <a:cubicBezTo>
                    <a:pt x="3690176" y="3782606"/>
                    <a:pt x="3695814" y="3772052"/>
                    <a:pt x="3702472" y="3759041"/>
                  </a:cubicBezTo>
                  <a:cubicBezTo>
                    <a:pt x="3685508" y="3764166"/>
                    <a:pt x="3673526" y="3773100"/>
                    <a:pt x="3662553" y="3783101"/>
                  </a:cubicBezTo>
                  <a:cubicBezTo>
                    <a:pt x="3658076" y="3787035"/>
                    <a:pt x="3655467" y="3793512"/>
                    <a:pt x="3648151" y="3793512"/>
                  </a:cubicBezTo>
                  <a:cubicBezTo>
                    <a:pt x="3639160" y="3811686"/>
                    <a:pt x="3621110" y="3813829"/>
                    <a:pt x="3604212" y="3818306"/>
                  </a:cubicBezTo>
                  <a:lnTo>
                    <a:pt x="3604098" y="3818468"/>
                  </a:lnTo>
                  <a:cubicBezTo>
                    <a:pt x="3598155" y="3824593"/>
                    <a:pt x="3590735" y="3819135"/>
                    <a:pt x="3583696" y="3822306"/>
                  </a:cubicBezTo>
                  <a:cubicBezTo>
                    <a:pt x="3584010" y="3814991"/>
                    <a:pt x="3587296" y="3810314"/>
                    <a:pt x="3590563" y="3805647"/>
                  </a:cubicBezTo>
                  <a:cubicBezTo>
                    <a:pt x="3592611" y="3794836"/>
                    <a:pt x="3595907" y="3784102"/>
                    <a:pt x="3596707" y="3773262"/>
                  </a:cubicBezTo>
                  <a:cubicBezTo>
                    <a:pt x="3597269" y="3764966"/>
                    <a:pt x="3599526" y="3762737"/>
                    <a:pt x="3607270" y="3765518"/>
                  </a:cubicBezTo>
                  <a:cubicBezTo>
                    <a:pt x="3632578" y="3774234"/>
                    <a:pt x="3651114" y="3763518"/>
                    <a:pt x="3667011" y="3745316"/>
                  </a:cubicBezTo>
                  <a:cubicBezTo>
                    <a:pt x="3684965" y="3724999"/>
                    <a:pt x="3707597" y="3721799"/>
                    <a:pt x="3732953" y="3727237"/>
                  </a:cubicBezTo>
                  <a:cubicBezTo>
                    <a:pt x="3746621" y="3729981"/>
                    <a:pt x="3756946" y="3727561"/>
                    <a:pt x="3764194" y="3712893"/>
                  </a:cubicBezTo>
                  <a:cubicBezTo>
                    <a:pt x="3777749" y="3685518"/>
                    <a:pt x="3804057" y="3675698"/>
                    <a:pt x="3832460" y="3669554"/>
                  </a:cubicBezTo>
                  <a:close/>
                  <a:moveTo>
                    <a:pt x="3949599" y="3567703"/>
                  </a:moveTo>
                  <a:cubicBezTo>
                    <a:pt x="3932825" y="3584820"/>
                    <a:pt x="3915490" y="3587258"/>
                    <a:pt x="3898030" y="3568817"/>
                  </a:cubicBezTo>
                  <a:cubicBezTo>
                    <a:pt x="3889486" y="3559874"/>
                    <a:pt x="3882381" y="3568056"/>
                    <a:pt x="3876170" y="3571266"/>
                  </a:cubicBezTo>
                  <a:cubicBezTo>
                    <a:pt x="3859187" y="3580095"/>
                    <a:pt x="3844528" y="3580581"/>
                    <a:pt x="3830374" y="3565493"/>
                  </a:cubicBezTo>
                  <a:cubicBezTo>
                    <a:pt x="3827088" y="3561902"/>
                    <a:pt x="3821497" y="3556397"/>
                    <a:pt x="3814077" y="3558912"/>
                  </a:cubicBezTo>
                  <a:cubicBezTo>
                    <a:pt x="3807962" y="3569151"/>
                    <a:pt x="3802037" y="3579267"/>
                    <a:pt x="3795475" y="3589230"/>
                  </a:cubicBezTo>
                  <a:cubicBezTo>
                    <a:pt x="3790293" y="3597021"/>
                    <a:pt x="3782968" y="3601688"/>
                    <a:pt x="3773272" y="3602212"/>
                  </a:cubicBezTo>
                  <a:cubicBezTo>
                    <a:pt x="3773386" y="3602212"/>
                    <a:pt x="3773481" y="3602212"/>
                    <a:pt x="3773481" y="3602146"/>
                  </a:cubicBezTo>
                  <a:cubicBezTo>
                    <a:pt x="3762613" y="3608451"/>
                    <a:pt x="3749440" y="3607318"/>
                    <a:pt x="3739953" y="3604060"/>
                  </a:cubicBezTo>
                  <a:cubicBezTo>
                    <a:pt x="3731171" y="3601060"/>
                    <a:pt x="3740106" y="3593592"/>
                    <a:pt x="3744811" y="3589230"/>
                  </a:cubicBezTo>
                  <a:cubicBezTo>
                    <a:pt x="3758413" y="3565360"/>
                    <a:pt x="3782225" y="3551844"/>
                    <a:pt x="3802780" y="3535080"/>
                  </a:cubicBezTo>
                  <a:cubicBezTo>
                    <a:pt x="3811419" y="3528136"/>
                    <a:pt x="3821487" y="3522669"/>
                    <a:pt x="3830307" y="3516144"/>
                  </a:cubicBezTo>
                  <a:cubicBezTo>
                    <a:pt x="3861683" y="3492942"/>
                    <a:pt x="3871532" y="3494837"/>
                    <a:pt x="3905079" y="3523774"/>
                  </a:cubicBezTo>
                  <a:cubicBezTo>
                    <a:pt x="3912470" y="3530251"/>
                    <a:pt x="3919223" y="3536842"/>
                    <a:pt x="3928901" y="3538614"/>
                  </a:cubicBezTo>
                  <a:cubicBezTo>
                    <a:pt x="3936378" y="3513725"/>
                    <a:pt x="3917099" y="3503448"/>
                    <a:pt x="3901154" y="3492818"/>
                  </a:cubicBezTo>
                  <a:cubicBezTo>
                    <a:pt x="3888734" y="3484474"/>
                    <a:pt x="3892763" y="3481673"/>
                    <a:pt x="3902174" y="3475253"/>
                  </a:cubicBezTo>
                  <a:cubicBezTo>
                    <a:pt x="3919728" y="3463185"/>
                    <a:pt x="3936997" y="3452117"/>
                    <a:pt x="3960028" y="3453660"/>
                  </a:cubicBezTo>
                  <a:cubicBezTo>
                    <a:pt x="3975887" y="3454803"/>
                    <a:pt x="3987470" y="3464690"/>
                    <a:pt x="4000957" y="3470539"/>
                  </a:cubicBezTo>
                  <a:cubicBezTo>
                    <a:pt x="4010292" y="3474520"/>
                    <a:pt x="4018959" y="3477768"/>
                    <a:pt x="4028742" y="3472882"/>
                  </a:cubicBezTo>
                  <a:cubicBezTo>
                    <a:pt x="4032037" y="3471243"/>
                    <a:pt x="4036114" y="3470415"/>
                    <a:pt x="4036114" y="3465967"/>
                  </a:cubicBezTo>
                  <a:cubicBezTo>
                    <a:pt x="4036038" y="3462357"/>
                    <a:pt x="4031485" y="3462481"/>
                    <a:pt x="4029266" y="3461014"/>
                  </a:cubicBezTo>
                  <a:cubicBezTo>
                    <a:pt x="4013159" y="3451298"/>
                    <a:pt x="3993842" y="3447641"/>
                    <a:pt x="3977735" y="3436287"/>
                  </a:cubicBezTo>
                  <a:cubicBezTo>
                    <a:pt x="3996633" y="3423466"/>
                    <a:pt x="4018293" y="3417703"/>
                    <a:pt x="4039257" y="3410188"/>
                  </a:cubicBezTo>
                  <a:cubicBezTo>
                    <a:pt x="4060727" y="3402749"/>
                    <a:pt x="4082072" y="3395348"/>
                    <a:pt x="4099779" y="3380727"/>
                  </a:cubicBezTo>
                  <a:cubicBezTo>
                    <a:pt x="4105437" y="3376203"/>
                    <a:pt x="4115324" y="3371050"/>
                    <a:pt x="4112390" y="3364678"/>
                  </a:cubicBezTo>
                  <a:cubicBezTo>
                    <a:pt x="4108076" y="3355553"/>
                    <a:pt x="4095293" y="3355839"/>
                    <a:pt x="4087197" y="3358753"/>
                  </a:cubicBezTo>
                  <a:cubicBezTo>
                    <a:pt x="4073100" y="3363735"/>
                    <a:pt x="4063832" y="3378260"/>
                    <a:pt x="4046915" y="3378489"/>
                  </a:cubicBezTo>
                  <a:cubicBezTo>
                    <a:pt x="4045592" y="3378489"/>
                    <a:pt x="4046849" y="3384547"/>
                    <a:pt x="4043029" y="3386004"/>
                  </a:cubicBezTo>
                  <a:cubicBezTo>
                    <a:pt x="4035114" y="3393167"/>
                    <a:pt x="4024570" y="3394691"/>
                    <a:pt x="4014711" y="3397882"/>
                  </a:cubicBezTo>
                  <a:cubicBezTo>
                    <a:pt x="4002329" y="3404330"/>
                    <a:pt x="3988622" y="3406016"/>
                    <a:pt x="3974983" y="3409236"/>
                  </a:cubicBezTo>
                  <a:cubicBezTo>
                    <a:pt x="3972963" y="3400120"/>
                    <a:pt x="3969982" y="3391557"/>
                    <a:pt x="3970477" y="3382309"/>
                  </a:cubicBezTo>
                  <a:cubicBezTo>
                    <a:pt x="3970696" y="3372450"/>
                    <a:pt x="3965143" y="3378832"/>
                    <a:pt x="3961524" y="3379918"/>
                  </a:cubicBezTo>
                  <a:cubicBezTo>
                    <a:pt x="3957180" y="3391348"/>
                    <a:pt x="3949399" y="3400759"/>
                    <a:pt x="3942693" y="3410798"/>
                  </a:cubicBezTo>
                  <a:cubicBezTo>
                    <a:pt x="3939978" y="3418818"/>
                    <a:pt x="3938111" y="3427257"/>
                    <a:pt x="3930063" y="3432524"/>
                  </a:cubicBezTo>
                  <a:cubicBezTo>
                    <a:pt x="3922147" y="3444840"/>
                    <a:pt x="3908927" y="3449088"/>
                    <a:pt x="3896173" y="3454013"/>
                  </a:cubicBezTo>
                  <a:cubicBezTo>
                    <a:pt x="3892601" y="3457851"/>
                    <a:pt x="3887981" y="3459566"/>
                    <a:pt x="3883019" y="3460318"/>
                  </a:cubicBezTo>
                  <a:cubicBezTo>
                    <a:pt x="3863854" y="3472225"/>
                    <a:pt x="3842061" y="3480159"/>
                    <a:pt x="3826545" y="3497447"/>
                  </a:cubicBezTo>
                  <a:cubicBezTo>
                    <a:pt x="3807257" y="3516316"/>
                    <a:pt x="3786331" y="3532756"/>
                    <a:pt x="3760356" y="3541843"/>
                  </a:cubicBezTo>
                  <a:cubicBezTo>
                    <a:pt x="3749459" y="3545701"/>
                    <a:pt x="3731095" y="3538928"/>
                    <a:pt x="3729228" y="3528689"/>
                  </a:cubicBezTo>
                  <a:cubicBezTo>
                    <a:pt x="3727114" y="3516763"/>
                    <a:pt x="3735153" y="3507610"/>
                    <a:pt x="3747307" y="3503276"/>
                  </a:cubicBezTo>
                  <a:cubicBezTo>
                    <a:pt x="3749774" y="3499571"/>
                    <a:pt x="3753803" y="3499057"/>
                    <a:pt x="3757489" y="3497533"/>
                  </a:cubicBezTo>
                  <a:cubicBezTo>
                    <a:pt x="3760746" y="3497561"/>
                    <a:pt x="3764080" y="3497656"/>
                    <a:pt x="3767214" y="3497656"/>
                  </a:cubicBezTo>
                  <a:cubicBezTo>
                    <a:pt x="3777110" y="3491160"/>
                    <a:pt x="3788055" y="3494904"/>
                    <a:pt x="3798465" y="3494628"/>
                  </a:cubicBezTo>
                  <a:cubicBezTo>
                    <a:pt x="3814363" y="3486512"/>
                    <a:pt x="3816306" y="3469491"/>
                    <a:pt x="3822983" y="3456003"/>
                  </a:cubicBezTo>
                  <a:cubicBezTo>
                    <a:pt x="3830441" y="3440249"/>
                    <a:pt x="3837794" y="3424666"/>
                    <a:pt x="3849310" y="3411474"/>
                  </a:cubicBezTo>
                  <a:cubicBezTo>
                    <a:pt x="3853529" y="3406302"/>
                    <a:pt x="3857835" y="3403978"/>
                    <a:pt x="3864969" y="3407369"/>
                  </a:cubicBezTo>
                  <a:cubicBezTo>
                    <a:pt x="3871817" y="3410645"/>
                    <a:pt x="3879618" y="3411969"/>
                    <a:pt x="3886953" y="3414141"/>
                  </a:cubicBezTo>
                  <a:cubicBezTo>
                    <a:pt x="3903164" y="3419199"/>
                    <a:pt x="3912737" y="3415779"/>
                    <a:pt x="3913441" y="3399949"/>
                  </a:cubicBezTo>
                  <a:cubicBezTo>
                    <a:pt x="3915699" y="3357067"/>
                    <a:pt x="3950389" y="3353114"/>
                    <a:pt x="3980002" y="3342580"/>
                  </a:cubicBezTo>
                  <a:cubicBezTo>
                    <a:pt x="3986622" y="3335874"/>
                    <a:pt x="3996300" y="3334807"/>
                    <a:pt x="4004196" y="3331283"/>
                  </a:cubicBezTo>
                  <a:cubicBezTo>
                    <a:pt x="4013254" y="3327340"/>
                    <a:pt x="4014711" y="3337884"/>
                    <a:pt x="4016759" y="3342580"/>
                  </a:cubicBezTo>
                  <a:cubicBezTo>
                    <a:pt x="4019788" y="3350190"/>
                    <a:pt x="4023036" y="3356829"/>
                    <a:pt x="4030513" y="3360982"/>
                  </a:cubicBezTo>
                  <a:cubicBezTo>
                    <a:pt x="4048011" y="3360030"/>
                    <a:pt x="4061936" y="3351286"/>
                    <a:pt x="4074471" y="3340456"/>
                  </a:cubicBezTo>
                  <a:cubicBezTo>
                    <a:pt x="4083282" y="3332703"/>
                    <a:pt x="4091654" y="3324377"/>
                    <a:pt x="4101646" y="3317929"/>
                  </a:cubicBezTo>
                  <a:cubicBezTo>
                    <a:pt x="4114657" y="3307956"/>
                    <a:pt x="4127335" y="3313919"/>
                    <a:pt x="4139565" y="3319329"/>
                  </a:cubicBezTo>
                  <a:cubicBezTo>
                    <a:pt x="4146223" y="3322463"/>
                    <a:pt x="4152614" y="3326444"/>
                    <a:pt x="4159034" y="3330140"/>
                  </a:cubicBezTo>
                  <a:cubicBezTo>
                    <a:pt x="4173131" y="3338932"/>
                    <a:pt x="4186523" y="3348343"/>
                    <a:pt x="4196658" y="3362230"/>
                  </a:cubicBezTo>
                  <a:cubicBezTo>
                    <a:pt x="4201611" y="3369059"/>
                    <a:pt x="4198249" y="3370888"/>
                    <a:pt x="4193505" y="3373708"/>
                  </a:cubicBezTo>
                  <a:cubicBezTo>
                    <a:pt x="4193200" y="3375841"/>
                    <a:pt x="4194172" y="3378832"/>
                    <a:pt x="4190591" y="3379651"/>
                  </a:cubicBezTo>
                  <a:cubicBezTo>
                    <a:pt x="4175074" y="3392386"/>
                    <a:pt x="4157072" y="3400044"/>
                    <a:pt x="4136974" y="3403854"/>
                  </a:cubicBezTo>
                  <a:cubicBezTo>
                    <a:pt x="4136146" y="3404216"/>
                    <a:pt x="4135174" y="3404550"/>
                    <a:pt x="4134164" y="3404550"/>
                  </a:cubicBezTo>
                  <a:cubicBezTo>
                    <a:pt x="4121125" y="3410798"/>
                    <a:pt x="4107142" y="3413055"/>
                    <a:pt x="4093121" y="3416570"/>
                  </a:cubicBezTo>
                  <a:cubicBezTo>
                    <a:pt x="4092321" y="3416780"/>
                    <a:pt x="4091293" y="3417008"/>
                    <a:pt x="4090273" y="3416960"/>
                  </a:cubicBezTo>
                  <a:cubicBezTo>
                    <a:pt x="4090045" y="3417351"/>
                    <a:pt x="4089730" y="3418123"/>
                    <a:pt x="4089473" y="3418180"/>
                  </a:cubicBezTo>
                  <a:cubicBezTo>
                    <a:pt x="4072985" y="3421685"/>
                    <a:pt x="4063070" y="3429172"/>
                    <a:pt x="4071223" y="3447355"/>
                  </a:cubicBezTo>
                  <a:cubicBezTo>
                    <a:pt x="4072338" y="3448374"/>
                    <a:pt x="4073471" y="3449517"/>
                    <a:pt x="4074490" y="3450574"/>
                  </a:cubicBezTo>
                  <a:cubicBezTo>
                    <a:pt x="4079043" y="3451060"/>
                    <a:pt x="4084282" y="3448965"/>
                    <a:pt x="4088054" y="3453613"/>
                  </a:cubicBezTo>
                  <a:cubicBezTo>
                    <a:pt x="4098379" y="3459680"/>
                    <a:pt x="4096436" y="3468596"/>
                    <a:pt x="4092197" y="3476768"/>
                  </a:cubicBezTo>
                  <a:cubicBezTo>
                    <a:pt x="4088378" y="3484198"/>
                    <a:pt x="4084949" y="3492322"/>
                    <a:pt x="4077624" y="3497390"/>
                  </a:cubicBezTo>
                  <a:cubicBezTo>
                    <a:pt x="4066508" y="3511591"/>
                    <a:pt x="4050468" y="3516163"/>
                    <a:pt x="4033533" y="3518107"/>
                  </a:cubicBezTo>
                  <a:cubicBezTo>
                    <a:pt x="4021331" y="3524965"/>
                    <a:pt x="4007863" y="3520240"/>
                    <a:pt x="3995233" y="3521764"/>
                  </a:cubicBezTo>
                  <a:cubicBezTo>
                    <a:pt x="3988937" y="3522564"/>
                    <a:pt x="3981574" y="3518497"/>
                    <a:pt x="3976335" y="3525203"/>
                  </a:cubicBezTo>
                  <a:cubicBezTo>
                    <a:pt x="3976688" y="3528679"/>
                    <a:pt x="3976688" y="3532318"/>
                    <a:pt x="3977250" y="3535747"/>
                  </a:cubicBezTo>
                  <a:cubicBezTo>
                    <a:pt x="3980783" y="3553292"/>
                    <a:pt x="3972001" y="3561226"/>
                    <a:pt x="3955294" y="3562674"/>
                  </a:cubicBezTo>
                  <a:cubicBezTo>
                    <a:pt x="3953209" y="3564341"/>
                    <a:pt x="3951189" y="3565874"/>
                    <a:pt x="3949599" y="3567703"/>
                  </a:cubicBezTo>
                  <a:close/>
                  <a:moveTo>
                    <a:pt x="4066318" y="3618595"/>
                  </a:moveTo>
                  <a:cubicBezTo>
                    <a:pt x="4036971" y="3612652"/>
                    <a:pt x="4008301" y="3604403"/>
                    <a:pt x="3980240" y="3594164"/>
                  </a:cubicBezTo>
                  <a:cubicBezTo>
                    <a:pt x="3975269" y="3592421"/>
                    <a:pt x="3970782" y="3590239"/>
                    <a:pt x="3970430" y="3583686"/>
                  </a:cubicBezTo>
                  <a:cubicBezTo>
                    <a:pt x="3969934" y="3577581"/>
                    <a:pt x="3975887" y="3578485"/>
                    <a:pt x="3977707" y="3575904"/>
                  </a:cubicBezTo>
                  <a:cubicBezTo>
                    <a:pt x="3993937" y="3552911"/>
                    <a:pt x="4020455" y="3549244"/>
                    <a:pt x="4044124" y="3540224"/>
                  </a:cubicBezTo>
                  <a:cubicBezTo>
                    <a:pt x="4054478" y="3536318"/>
                    <a:pt x="4061708" y="3526841"/>
                    <a:pt x="4073262" y="3523774"/>
                  </a:cubicBezTo>
                  <a:cubicBezTo>
                    <a:pt x="4081729" y="3521545"/>
                    <a:pt x="4089749" y="3518487"/>
                    <a:pt x="4095093" y="3527498"/>
                  </a:cubicBezTo>
                  <a:cubicBezTo>
                    <a:pt x="4099427" y="3534823"/>
                    <a:pt x="4101903" y="3542605"/>
                    <a:pt x="4089569" y="3546729"/>
                  </a:cubicBezTo>
                  <a:cubicBezTo>
                    <a:pt x="4084396" y="3548482"/>
                    <a:pt x="4085892" y="3553854"/>
                    <a:pt x="4089569" y="3556730"/>
                  </a:cubicBezTo>
                  <a:cubicBezTo>
                    <a:pt x="4092674" y="3559359"/>
                    <a:pt x="4096598" y="3560855"/>
                    <a:pt x="4100970" y="3563503"/>
                  </a:cubicBezTo>
                  <a:cubicBezTo>
                    <a:pt x="4094512" y="3568799"/>
                    <a:pt x="4088854" y="3572732"/>
                    <a:pt x="4081110" y="3566970"/>
                  </a:cubicBezTo>
                  <a:cubicBezTo>
                    <a:pt x="4077577" y="3564198"/>
                    <a:pt x="4073242" y="3565112"/>
                    <a:pt x="4069166" y="3564722"/>
                  </a:cubicBezTo>
                  <a:cubicBezTo>
                    <a:pt x="4063194" y="3564265"/>
                    <a:pt x="4055593" y="3564598"/>
                    <a:pt x="4054859" y="3570875"/>
                  </a:cubicBezTo>
                  <a:cubicBezTo>
                    <a:pt x="4054069" y="3578981"/>
                    <a:pt x="4062718" y="3576447"/>
                    <a:pt x="4067880" y="3577381"/>
                  </a:cubicBezTo>
                  <a:cubicBezTo>
                    <a:pt x="4078519" y="3579419"/>
                    <a:pt x="4089311" y="3581305"/>
                    <a:pt x="4099903" y="3583543"/>
                  </a:cubicBezTo>
                  <a:cubicBezTo>
                    <a:pt x="4102675" y="3583981"/>
                    <a:pt x="4107333" y="3583276"/>
                    <a:pt x="4106504" y="3587944"/>
                  </a:cubicBezTo>
                  <a:cubicBezTo>
                    <a:pt x="4105980" y="3591525"/>
                    <a:pt x="4101903" y="3591525"/>
                    <a:pt x="4098741" y="3590935"/>
                  </a:cubicBezTo>
                  <a:cubicBezTo>
                    <a:pt x="4082224" y="3588258"/>
                    <a:pt x="4065470" y="3589792"/>
                    <a:pt x="4048811" y="3589553"/>
                  </a:cubicBezTo>
                  <a:cubicBezTo>
                    <a:pt x="4043868" y="3589420"/>
                    <a:pt x="4039048" y="3590144"/>
                    <a:pt x="4032485" y="3590649"/>
                  </a:cubicBezTo>
                  <a:cubicBezTo>
                    <a:pt x="4056469" y="3608051"/>
                    <a:pt x="4085282" y="3604632"/>
                    <a:pt x="4112638" y="3616290"/>
                  </a:cubicBezTo>
                  <a:cubicBezTo>
                    <a:pt x="4095112" y="3622767"/>
                    <a:pt x="4080367" y="3621234"/>
                    <a:pt x="4066318" y="3618595"/>
                  </a:cubicBezTo>
                  <a:close/>
                  <a:moveTo>
                    <a:pt x="4211755" y="3507591"/>
                  </a:moveTo>
                  <a:cubicBezTo>
                    <a:pt x="4207450" y="3508296"/>
                    <a:pt x="4205907" y="3501847"/>
                    <a:pt x="4203649" y="3497894"/>
                  </a:cubicBezTo>
                  <a:cubicBezTo>
                    <a:pt x="4200020" y="3491303"/>
                    <a:pt x="4197211" y="3477597"/>
                    <a:pt x="4191610" y="3479854"/>
                  </a:cubicBezTo>
                  <a:cubicBezTo>
                    <a:pt x="4182209" y="3483483"/>
                    <a:pt x="4190124" y="3495075"/>
                    <a:pt x="4189981" y="3503371"/>
                  </a:cubicBezTo>
                  <a:cubicBezTo>
                    <a:pt x="4189762" y="3512144"/>
                    <a:pt x="4199744" y="3519250"/>
                    <a:pt x="4193819" y="3529489"/>
                  </a:cubicBezTo>
                  <a:cubicBezTo>
                    <a:pt x="4191610" y="3533499"/>
                    <a:pt x="4191162" y="3539881"/>
                    <a:pt x="4185742" y="3539090"/>
                  </a:cubicBezTo>
                  <a:cubicBezTo>
                    <a:pt x="4180818" y="3538452"/>
                    <a:pt x="4180246" y="3532385"/>
                    <a:pt x="4179132" y="3527879"/>
                  </a:cubicBezTo>
                  <a:cubicBezTo>
                    <a:pt x="4177846" y="3521497"/>
                    <a:pt x="4178560" y="3514439"/>
                    <a:pt x="4174112" y="3508677"/>
                  </a:cubicBezTo>
                  <a:cubicBezTo>
                    <a:pt x="4171712" y="3505438"/>
                    <a:pt x="4170769" y="3499266"/>
                    <a:pt x="4164178" y="3501524"/>
                  </a:cubicBezTo>
                  <a:cubicBezTo>
                    <a:pt x="4158072" y="3503838"/>
                    <a:pt x="4157758" y="3509201"/>
                    <a:pt x="4158987" y="3514468"/>
                  </a:cubicBezTo>
                  <a:cubicBezTo>
                    <a:pt x="4160958" y="3522517"/>
                    <a:pt x="4163558" y="3530203"/>
                    <a:pt x="4165026" y="3538214"/>
                  </a:cubicBezTo>
                  <a:cubicBezTo>
                    <a:pt x="4166168" y="3544157"/>
                    <a:pt x="4166730" y="3550653"/>
                    <a:pt x="4161091" y="3555063"/>
                  </a:cubicBezTo>
                  <a:cubicBezTo>
                    <a:pt x="4149224" y="3547748"/>
                    <a:pt x="4155291" y="3533042"/>
                    <a:pt x="4147452" y="3523783"/>
                  </a:cubicBezTo>
                  <a:cubicBezTo>
                    <a:pt x="4144518" y="3520393"/>
                    <a:pt x="4143756" y="3514468"/>
                    <a:pt x="4137660" y="3516316"/>
                  </a:cubicBezTo>
                  <a:cubicBezTo>
                    <a:pt x="4131545" y="3518345"/>
                    <a:pt x="4131297" y="3523783"/>
                    <a:pt x="4132898" y="3529041"/>
                  </a:cubicBezTo>
                  <a:cubicBezTo>
                    <a:pt x="4134850" y="3536337"/>
                    <a:pt x="4137784" y="3543567"/>
                    <a:pt x="4139536" y="3550853"/>
                  </a:cubicBezTo>
                  <a:cubicBezTo>
                    <a:pt x="4141051" y="3556988"/>
                    <a:pt x="4144518" y="3563817"/>
                    <a:pt x="4137479" y="3570237"/>
                  </a:cubicBezTo>
                  <a:cubicBezTo>
                    <a:pt x="4123239" y="3557159"/>
                    <a:pt x="4115981" y="3540224"/>
                    <a:pt x="4113419" y="3522174"/>
                  </a:cubicBezTo>
                  <a:cubicBezTo>
                    <a:pt x="4109723" y="3494437"/>
                    <a:pt x="4110200" y="3466148"/>
                    <a:pt x="4115181" y="3438249"/>
                  </a:cubicBezTo>
                  <a:cubicBezTo>
                    <a:pt x="4115981" y="3435125"/>
                    <a:pt x="4116505" y="3431943"/>
                    <a:pt x="4119782" y="3430648"/>
                  </a:cubicBezTo>
                  <a:cubicBezTo>
                    <a:pt x="4140870" y="3422256"/>
                    <a:pt x="4161568" y="3412608"/>
                    <a:pt x="4185428" y="3416379"/>
                  </a:cubicBezTo>
                  <a:cubicBezTo>
                    <a:pt x="4189981" y="3417103"/>
                    <a:pt x="4194839" y="3416960"/>
                    <a:pt x="4197249" y="3422018"/>
                  </a:cubicBezTo>
                  <a:cubicBezTo>
                    <a:pt x="4208517" y="3445002"/>
                    <a:pt x="4219175" y="3468310"/>
                    <a:pt x="4218061" y="3494818"/>
                  </a:cubicBezTo>
                  <a:cubicBezTo>
                    <a:pt x="4217889" y="3500000"/>
                    <a:pt x="4217413" y="3506715"/>
                    <a:pt x="4211755" y="3507591"/>
                  </a:cubicBezTo>
                  <a:close/>
                  <a:moveTo>
                    <a:pt x="4312663" y="3414827"/>
                  </a:moveTo>
                  <a:cubicBezTo>
                    <a:pt x="4307643" y="3414884"/>
                    <a:pt x="4307462" y="3410636"/>
                    <a:pt x="4305614" y="3407940"/>
                  </a:cubicBezTo>
                  <a:cubicBezTo>
                    <a:pt x="4303643" y="3405464"/>
                    <a:pt x="4302433" y="3402673"/>
                    <a:pt x="4299928" y="3398339"/>
                  </a:cubicBezTo>
                  <a:cubicBezTo>
                    <a:pt x="4295985" y="3407550"/>
                    <a:pt x="4294308" y="3415684"/>
                    <a:pt x="4294185" y="3424038"/>
                  </a:cubicBezTo>
                  <a:cubicBezTo>
                    <a:pt x="4294185" y="3428486"/>
                    <a:pt x="4295985" y="3434648"/>
                    <a:pt x="4290422" y="3436401"/>
                  </a:cubicBezTo>
                  <a:cubicBezTo>
                    <a:pt x="4283688" y="3438639"/>
                    <a:pt x="4282926" y="3431000"/>
                    <a:pt x="4279468" y="3427581"/>
                  </a:cubicBezTo>
                  <a:cubicBezTo>
                    <a:pt x="4277382" y="3425457"/>
                    <a:pt x="4276182" y="3422580"/>
                    <a:pt x="4273496" y="3418561"/>
                  </a:cubicBezTo>
                  <a:cubicBezTo>
                    <a:pt x="4268877" y="3426657"/>
                    <a:pt x="4267267" y="3434268"/>
                    <a:pt x="4265781" y="3442002"/>
                  </a:cubicBezTo>
                  <a:cubicBezTo>
                    <a:pt x="4265352" y="3444983"/>
                    <a:pt x="4264714" y="3448536"/>
                    <a:pt x="4260904" y="3448927"/>
                  </a:cubicBezTo>
                  <a:cubicBezTo>
                    <a:pt x="4257294" y="3449231"/>
                    <a:pt x="4255923" y="3445812"/>
                    <a:pt x="4254427" y="3442926"/>
                  </a:cubicBezTo>
                  <a:cubicBezTo>
                    <a:pt x="4253484" y="3440573"/>
                    <a:pt x="4252513" y="3438449"/>
                    <a:pt x="4251608" y="3435830"/>
                  </a:cubicBezTo>
                  <a:cubicBezTo>
                    <a:pt x="4250332" y="3432515"/>
                    <a:pt x="4249074" y="3428467"/>
                    <a:pt x="4244245" y="3430172"/>
                  </a:cubicBezTo>
                  <a:cubicBezTo>
                    <a:pt x="4239530" y="3431572"/>
                    <a:pt x="4242797" y="3435220"/>
                    <a:pt x="4243245" y="3437849"/>
                  </a:cubicBezTo>
                  <a:cubicBezTo>
                    <a:pt x="4244474" y="3448517"/>
                    <a:pt x="4244598" y="3459166"/>
                    <a:pt x="4242797" y="3469919"/>
                  </a:cubicBezTo>
                  <a:cubicBezTo>
                    <a:pt x="4233882" y="3469329"/>
                    <a:pt x="4232653" y="3462757"/>
                    <a:pt x="4230643" y="3457289"/>
                  </a:cubicBezTo>
                  <a:cubicBezTo>
                    <a:pt x="4221871" y="3431829"/>
                    <a:pt x="4216165" y="3406235"/>
                    <a:pt x="4217565" y="3379013"/>
                  </a:cubicBezTo>
                  <a:cubicBezTo>
                    <a:pt x="4219366" y="3346304"/>
                    <a:pt x="4207631" y="3330312"/>
                    <a:pt x="4175808" y="3324406"/>
                  </a:cubicBezTo>
                  <a:cubicBezTo>
                    <a:pt x="4159482" y="3321349"/>
                    <a:pt x="4149424" y="3312319"/>
                    <a:pt x="4146166" y="3299041"/>
                  </a:cubicBezTo>
                  <a:cubicBezTo>
                    <a:pt x="4142575" y="3285096"/>
                    <a:pt x="4132879" y="3275400"/>
                    <a:pt x="4125744" y="3264808"/>
                  </a:cubicBezTo>
                  <a:cubicBezTo>
                    <a:pt x="4116791" y="3250968"/>
                    <a:pt x="4114419" y="3233471"/>
                    <a:pt x="4102808" y="3222069"/>
                  </a:cubicBezTo>
                  <a:cubicBezTo>
                    <a:pt x="4089540" y="3208611"/>
                    <a:pt x="4087120" y="3189218"/>
                    <a:pt x="4074052" y="3176130"/>
                  </a:cubicBezTo>
                  <a:lnTo>
                    <a:pt x="4073833" y="3176130"/>
                  </a:lnTo>
                  <a:cubicBezTo>
                    <a:pt x="4073452" y="3180369"/>
                    <a:pt x="4070557" y="3181826"/>
                    <a:pt x="4066727" y="3182065"/>
                  </a:cubicBezTo>
                  <a:cubicBezTo>
                    <a:pt x="4079777" y="3208115"/>
                    <a:pt x="4099189" y="3230461"/>
                    <a:pt x="4110981" y="3257417"/>
                  </a:cubicBezTo>
                  <a:cubicBezTo>
                    <a:pt x="4117401" y="3271914"/>
                    <a:pt x="4114610" y="3281220"/>
                    <a:pt x="4102675" y="3290221"/>
                  </a:cubicBezTo>
                  <a:cubicBezTo>
                    <a:pt x="4086911" y="3301699"/>
                    <a:pt x="4071776" y="3313995"/>
                    <a:pt x="4056612" y="3326159"/>
                  </a:cubicBezTo>
                  <a:cubicBezTo>
                    <a:pt x="4043105" y="3336893"/>
                    <a:pt x="4038057" y="3335826"/>
                    <a:pt x="4029790" y="3321053"/>
                  </a:cubicBezTo>
                  <a:cubicBezTo>
                    <a:pt x="4023770" y="3310328"/>
                    <a:pt x="4013226" y="3304089"/>
                    <a:pt x="4002586" y="3299651"/>
                  </a:cubicBezTo>
                  <a:cubicBezTo>
                    <a:pt x="3978250" y="3289173"/>
                    <a:pt x="3973963" y="3264808"/>
                    <a:pt x="3961553" y="3246006"/>
                  </a:cubicBezTo>
                  <a:cubicBezTo>
                    <a:pt x="3949256" y="3227565"/>
                    <a:pt x="3944788" y="3206849"/>
                    <a:pt x="3945246" y="3184903"/>
                  </a:cubicBezTo>
                  <a:cubicBezTo>
                    <a:pt x="3945417" y="3179474"/>
                    <a:pt x="3943607" y="3176530"/>
                    <a:pt x="3938130" y="3174835"/>
                  </a:cubicBezTo>
                  <a:cubicBezTo>
                    <a:pt x="3921033" y="3169539"/>
                    <a:pt x="3920481" y="3158147"/>
                    <a:pt x="3925395" y="3143422"/>
                  </a:cubicBezTo>
                  <a:cubicBezTo>
                    <a:pt x="3931853" y="3124048"/>
                    <a:pt x="3939111" y="3104979"/>
                    <a:pt x="3939054" y="3083919"/>
                  </a:cubicBezTo>
                  <a:cubicBezTo>
                    <a:pt x="3938807" y="3060059"/>
                    <a:pt x="3926624" y="3042304"/>
                    <a:pt x="3903383" y="3034256"/>
                  </a:cubicBezTo>
                  <a:cubicBezTo>
                    <a:pt x="3890162" y="3029712"/>
                    <a:pt x="3877075" y="3024778"/>
                    <a:pt x="3869398" y="3011576"/>
                  </a:cubicBezTo>
                  <a:cubicBezTo>
                    <a:pt x="3865874" y="3005700"/>
                    <a:pt x="3860064" y="3005957"/>
                    <a:pt x="3854120" y="3007005"/>
                  </a:cubicBezTo>
                  <a:cubicBezTo>
                    <a:pt x="3848081" y="3007957"/>
                    <a:pt x="3841871" y="3009043"/>
                    <a:pt x="3835784" y="3010081"/>
                  </a:cubicBezTo>
                  <a:cubicBezTo>
                    <a:pt x="3812343" y="3013777"/>
                    <a:pt x="3798608" y="2999651"/>
                    <a:pt x="3802018" y="2975258"/>
                  </a:cubicBezTo>
                  <a:cubicBezTo>
                    <a:pt x="3808371" y="2975782"/>
                    <a:pt x="3811658" y="2981782"/>
                    <a:pt x="3817411" y="2985059"/>
                  </a:cubicBezTo>
                  <a:cubicBezTo>
                    <a:pt x="3821773" y="2976353"/>
                    <a:pt x="3819649" y="2969686"/>
                    <a:pt x="3815658" y="2962647"/>
                  </a:cubicBezTo>
                  <a:cubicBezTo>
                    <a:pt x="3809409" y="2952645"/>
                    <a:pt x="3802914" y="2942454"/>
                    <a:pt x="3800599" y="2930747"/>
                  </a:cubicBezTo>
                  <a:cubicBezTo>
                    <a:pt x="3799551" y="2926051"/>
                    <a:pt x="3799284" y="2919393"/>
                    <a:pt x="3805171" y="2917403"/>
                  </a:cubicBezTo>
                  <a:cubicBezTo>
                    <a:pt x="3811086" y="2915403"/>
                    <a:pt x="3812696" y="2921860"/>
                    <a:pt x="3815277" y="2925290"/>
                  </a:cubicBezTo>
                  <a:cubicBezTo>
                    <a:pt x="3819459" y="2930871"/>
                    <a:pt x="3823011" y="2937053"/>
                    <a:pt x="3827698" y="2944168"/>
                  </a:cubicBezTo>
                  <a:cubicBezTo>
                    <a:pt x="3834622" y="2934757"/>
                    <a:pt x="3831774" y="2926947"/>
                    <a:pt x="3828336" y="2919089"/>
                  </a:cubicBezTo>
                  <a:cubicBezTo>
                    <a:pt x="3823745" y="2908792"/>
                    <a:pt x="3819192" y="2898562"/>
                    <a:pt x="3814620" y="2888247"/>
                  </a:cubicBezTo>
                  <a:cubicBezTo>
                    <a:pt x="3811924" y="2882437"/>
                    <a:pt x="3813505" y="2876179"/>
                    <a:pt x="3818430" y="2873150"/>
                  </a:cubicBezTo>
                  <a:cubicBezTo>
                    <a:pt x="3825640" y="2868978"/>
                    <a:pt x="3826259" y="2877265"/>
                    <a:pt x="3829050" y="2880684"/>
                  </a:cubicBezTo>
                  <a:cubicBezTo>
                    <a:pt x="3835356" y="2888504"/>
                    <a:pt x="3841394" y="2896686"/>
                    <a:pt x="3847795" y="2904649"/>
                  </a:cubicBezTo>
                  <a:cubicBezTo>
                    <a:pt x="3849329" y="2906573"/>
                    <a:pt x="3851434" y="2907916"/>
                    <a:pt x="3854853" y="2910640"/>
                  </a:cubicBezTo>
                  <a:cubicBezTo>
                    <a:pt x="3856349" y="2895667"/>
                    <a:pt x="3848243" y="2885256"/>
                    <a:pt x="3843623" y="2874093"/>
                  </a:cubicBezTo>
                  <a:cubicBezTo>
                    <a:pt x="3839975" y="2864968"/>
                    <a:pt x="3836013" y="2856195"/>
                    <a:pt x="3833975" y="2846480"/>
                  </a:cubicBezTo>
                  <a:cubicBezTo>
                    <a:pt x="3833355" y="2843518"/>
                    <a:pt x="3831308" y="2840193"/>
                    <a:pt x="3834908" y="2838222"/>
                  </a:cubicBezTo>
                  <a:cubicBezTo>
                    <a:pt x="3839832" y="2835812"/>
                    <a:pt x="3840804" y="2840412"/>
                    <a:pt x="3842623" y="2843460"/>
                  </a:cubicBezTo>
                  <a:cubicBezTo>
                    <a:pt x="3858901" y="2869140"/>
                    <a:pt x="3867664" y="2898277"/>
                    <a:pt x="3881609" y="2925032"/>
                  </a:cubicBezTo>
                  <a:cubicBezTo>
                    <a:pt x="3894534" y="2949921"/>
                    <a:pt x="3907927" y="2974239"/>
                    <a:pt x="3924729" y="2996765"/>
                  </a:cubicBezTo>
                  <a:cubicBezTo>
                    <a:pt x="3944388" y="3023826"/>
                    <a:pt x="3962667" y="3052201"/>
                    <a:pt x="3983869" y="3078204"/>
                  </a:cubicBezTo>
                  <a:cubicBezTo>
                    <a:pt x="3997700" y="3095206"/>
                    <a:pt x="4011206" y="3112465"/>
                    <a:pt x="4024922" y="3129296"/>
                  </a:cubicBezTo>
                  <a:cubicBezTo>
                    <a:pt x="4039210" y="3146527"/>
                    <a:pt x="4049002" y="3166739"/>
                    <a:pt x="4065641" y="3181750"/>
                  </a:cubicBezTo>
                  <a:cubicBezTo>
                    <a:pt x="4065470" y="3175749"/>
                    <a:pt x="4070137" y="3176635"/>
                    <a:pt x="4073805" y="3176130"/>
                  </a:cubicBezTo>
                  <a:cubicBezTo>
                    <a:pt x="4073805" y="3176007"/>
                    <a:pt x="4074052" y="3175997"/>
                    <a:pt x="4074052" y="3175997"/>
                  </a:cubicBezTo>
                  <a:lnTo>
                    <a:pt x="4074147" y="3176130"/>
                  </a:lnTo>
                  <a:cubicBezTo>
                    <a:pt x="4067861" y="3154042"/>
                    <a:pt x="4050402" y="3139173"/>
                    <a:pt x="4037914" y="3121285"/>
                  </a:cubicBezTo>
                  <a:cubicBezTo>
                    <a:pt x="4036181" y="3118761"/>
                    <a:pt x="4033180" y="3116771"/>
                    <a:pt x="4032247" y="3114056"/>
                  </a:cubicBezTo>
                  <a:cubicBezTo>
                    <a:pt x="4018226" y="3076975"/>
                    <a:pt x="3989861" y="3048857"/>
                    <a:pt x="3968163" y="3016720"/>
                  </a:cubicBezTo>
                  <a:cubicBezTo>
                    <a:pt x="3952161" y="2993012"/>
                    <a:pt x="3938568" y="2967723"/>
                    <a:pt x="3921500" y="2944940"/>
                  </a:cubicBezTo>
                  <a:cubicBezTo>
                    <a:pt x="3907126" y="2925861"/>
                    <a:pt x="3896087" y="2904744"/>
                    <a:pt x="3884352" y="2884446"/>
                  </a:cubicBezTo>
                  <a:cubicBezTo>
                    <a:pt x="3870274" y="2860205"/>
                    <a:pt x="3857768" y="2833726"/>
                    <a:pt x="3850024" y="2806103"/>
                  </a:cubicBezTo>
                  <a:cubicBezTo>
                    <a:pt x="3848738" y="2801303"/>
                    <a:pt x="3849967" y="2795969"/>
                    <a:pt x="3849967" y="2790863"/>
                  </a:cubicBezTo>
                  <a:cubicBezTo>
                    <a:pt x="3856130" y="2789558"/>
                    <a:pt x="3857892" y="2793997"/>
                    <a:pt x="3860749" y="2796293"/>
                  </a:cubicBezTo>
                  <a:cubicBezTo>
                    <a:pt x="3864159" y="2799064"/>
                    <a:pt x="3868169" y="2801893"/>
                    <a:pt x="3871484" y="2798102"/>
                  </a:cubicBezTo>
                  <a:cubicBezTo>
                    <a:pt x="3874780" y="2793997"/>
                    <a:pt x="3873837" y="2789235"/>
                    <a:pt x="3867788" y="2787120"/>
                  </a:cubicBezTo>
                  <a:cubicBezTo>
                    <a:pt x="3864940" y="2786177"/>
                    <a:pt x="3864016" y="2783996"/>
                    <a:pt x="3863597" y="2781338"/>
                  </a:cubicBezTo>
                  <a:lnTo>
                    <a:pt x="3863550" y="2781529"/>
                  </a:lnTo>
                  <a:cubicBezTo>
                    <a:pt x="3863169" y="2781176"/>
                    <a:pt x="3862864" y="2781081"/>
                    <a:pt x="3862626" y="2780891"/>
                  </a:cubicBezTo>
                  <a:cubicBezTo>
                    <a:pt x="3862845" y="2781052"/>
                    <a:pt x="3863169" y="2781167"/>
                    <a:pt x="3863550" y="2781338"/>
                  </a:cubicBezTo>
                  <a:cubicBezTo>
                    <a:pt x="3865874" y="2771051"/>
                    <a:pt x="3866845" y="2761183"/>
                    <a:pt x="3877790" y="2753820"/>
                  </a:cubicBezTo>
                  <a:cubicBezTo>
                    <a:pt x="3883590" y="2749934"/>
                    <a:pt x="3878761" y="2738428"/>
                    <a:pt x="3879466" y="2730275"/>
                  </a:cubicBezTo>
                  <a:cubicBezTo>
                    <a:pt x="3879752" y="2726865"/>
                    <a:pt x="3878456" y="2722321"/>
                    <a:pt x="3882933" y="2720816"/>
                  </a:cubicBezTo>
                  <a:cubicBezTo>
                    <a:pt x="3887333" y="2719159"/>
                    <a:pt x="3888858" y="2723617"/>
                    <a:pt x="3891391" y="2726065"/>
                  </a:cubicBezTo>
                  <a:cubicBezTo>
                    <a:pt x="3901411" y="2736056"/>
                    <a:pt x="3907660" y="2749639"/>
                    <a:pt x="3921081" y="2757497"/>
                  </a:cubicBezTo>
                  <a:cubicBezTo>
                    <a:pt x="3923043" y="2751277"/>
                    <a:pt x="3919347" y="2744286"/>
                    <a:pt x="3926024" y="2737980"/>
                  </a:cubicBezTo>
                  <a:cubicBezTo>
                    <a:pt x="3939654" y="2757631"/>
                    <a:pt x="3952542" y="2776947"/>
                    <a:pt x="3966048" y="2795959"/>
                  </a:cubicBezTo>
                  <a:cubicBezTo>
                    <a:pt x="4010311" y="2858062"/>
                    <a:pt x="4052697" y="2921460"/>
                    <a:pt x="4096198" y="2984030"/>
                  </a:cubicBezTo>
                  <a:cubicBezTo>
                    <a:pt x="4131335" y="3034446"/>
                    <a:pt x="4168178" y="3083681"/>
                    <a:pt x="4198582" y="3137564"/>
                  </a:cubicBezTo>
                  <a:cubicBezTo>
                    <a:pt x="4216327" y="3169234"/>
                    <a:pt x="4235396" y="3200495"/>
                    <a:pt x="4251636" y="3232804"/>
                  </a:cubicBezTo>
                  <a:cubicBezTo>
                    <a:pt x="4278097" y="3285096"/>
                    <a:pt x="4304757" y="3338122"/>
                    <a:pt x="4314540" y="3397082"/>
                  </a:cubicBezTo>
                  <a:cubicBezTo>
                    <a:pt x="4315416" y="3403168"/>
                    <a:pt x="4317388" y="3409217"/>
                    <a:pt x="4312663" y="3414827"/>
                  </a:cubicBezTo>
                  <a:close/>
                  <a:moveTo>
                    <a:pt x="4429716" y="2966304"/>
                  </a:moveTo>
                  <a:cubicBezTo>
                    <a:pt x="4454262" y="2985497"/>
                    <a:pt x="4461586" y="2984487"/>
                    <a:pt x="4480989" y="2959427"/>
                  </a:cubicBezTo>
                  <a:cubicBezTo>
                    <a:pt x="4483666" y="2955951"/>
                    <a:pt x="4487514" y="2953074"/>
                    <a:pt x="4490962" y="2949950"/>
                  </a:cubicBezTo>
                  <a:cubicBezTo>
                    <a:pt x="4499620" y="2939520"/>
                    <a:pt x="4509402" y="2939777"/>
                    <a:pt x="4519803" y="2947388"/>
                  </a:cubicBezTo>
                  <a:cubicBezTo>
                    <a:pt x="4524661" y="2948026"/>
                    <a:pt x="4529024" y="2949759"/>
                    <a:pt x="4532024" y="2953712"/>
                  </a:cubicBezTo>
                  <a:cubicBezTo>
                    <a:pt x="4537329" y="2956579"/>
                    <a:pt x="4541406" y="2960732"/>
                    <a:pt x="4544616" y="2965780"/>
                  </a:cubicBezTo>
                  <a:cubicBezTo>
                    <a:pt x="4558027" y="2977610"/>
                    <a:pt x="4556665" y="3000366"/>
                    <a:pt x="4540920" y="3009043"/>
                  </a:cubicBezTo>
                  <a:cubicBezTo>
                    <a:pt x="4525861" y="3017225"/>
                    <a:pt x="4510154" y="3023854"/>
                    <a:pt x="4494333" y="3031150"/>
                  </a:cubicBezTo>
                  <a:cubicBezTo>
                    <a:pt x="4483056" y="3040856"/>
                    <a:pt x="4482818" y="3051705"/>
                    <a:pt x="4489447" y="3064840"/>
                  </a:cubicBezTo>
                  <a:cubicBezTo>
                    <a:pt x="4501563" y="3088519"/>
                    <a:pt x="4497743" y="3096054"/>
                    <a:pt x="4470873" y="3101607"/>
                  </a:cubicBezTo>
                  <a:cubicBezTo>
                    <a:pt x="4453795" y="3105017"/>
                    <a:pt x="4438317" y="3110322"/>
                    <a:pt x="4424906" y="3121324"/>
                  </a:cubicBezTo>
                  <a:cubicBezTo>
                    <a:pt x="4421420" y="3124248"/>
                    <a:pt x="4417095" y="3127277"/>
                    <a:pt x="4412161" y="3126372"/>
                  </a:cubicBezTo>
                  <a:cubicBezTo>
                    <a:pt x="4393911" y="3122486"/>
                    <a:pt x="4384701" y="3131192"/>
                    <a:pt x="4381672" y="3148022"/>
                  </a:cubicBezTo>
                  <a:cubicBezTo>
                    <a:pt x="4376338" y="3150432"/>
                    <a:pt x="4381719" y="3160157"/>
                    <a:pt x="4372785" y="3160281"/>
                  </a:cubicBezTo>
                  <a:cubicBezTo>
                    <a:pt x="4365270" y="3160528"/>
                    <a:pt x="4363841" y="3154013"/>
                    <a:pt x="4360812" y="3149965"/>
                  </a:cubicBezTo>
                  <a:cubicBezTo>
                    <a:pt x="4350915" y="3136802"/>
                    <a:pt x="4345362" y="3121590"/>
                    <a:pt x="4343943" y="3105522"/>
                  </a:cubicBezTo>
                  <a:cubicBezTo>
                    <a:pt x="4342095" y="3085253"/>
                    <a:pt x="4347858" y="3079728"/>
                    <a:pt x="4368756" y="3077051"/>
                  </a:cubicBezTo>
                  <a:cubicBezTo>
                    <a:pt x="4388425" y="3074422"/>
                    <a:pt x="4407399" y="3082357"/>
                    <a:pt x="4427211" y="3080109"/>
                  </a:cubicBezTo>
                  <a:cubicBezTo>
                    <a:pt x="4434593" y="3079414"/>
                    <a:pt x="4445965" y="3081643"/>
                    <a:pt x="4446356" y="3072822"/>
                  </a:cubicBezTo>
                  <a:cubicBezTo>
                    <a:pt x="4446899" y="3062469"/>
                    <a:pt x="4435974" y="3059859"/>
                    <a:pt x="4426001" y="3058392"/>
                  </a:cubicBezTo>
                  <a:cubicBezTo>
                    <a:pt x="4416781" y="3057096"/>
                    <a:pt x="4407189" y="3065926"/>
                    <a:pt x="4398417" y="3057106"/>
                  </a:cubicBezTo>
                  <a:cubicBezTo>
                    <a:pt x="4412161" y="3033932"/>
                    <a:pt x="4437583" y="3033484"/>
                    <a:pt x="4459977" y="3027864"/>
                  </a:cubicBezTo>
                  <a:cubicBezTo>
                    <a:pt x="4475045" y="3024026"/>
                    <a:pt x="4488618" y="3018520"/>
                    <a:pt x="4498553" y="3006262"/>
                  </a:cubicBezTo>
                  <a:cubicBezTo>
                    <a:pt x="4500772" y="3003804"/>
                    <a:pt x="4505135" y="3001851"/>
                    <a:pt x="4502268" y="2997356"/>
                  </a:cubicBezTo>
                  <a:cubicBezTo>
                    <a:pt x="4500020" y="2993774"/>
                    <a:pt x="4496181" y="2994470"/>
                    <a:pt x="4492628" y="2993651"/>
                  </a:cubicBezTo>
                  <a:cubicBezTo>
                    <a:pt x="4483580" y="2992145"/>
                    <a:pt x="4475607" y="2998203"/>
                    <a:pt x="4466816" y="2996908"/>
                  </a:cubicBezTo>
                  <a:cubicBezTo>
                    <a:pt x="4463263" y="3000727"/>
                    <a:pt x="4458843" y="3002594"/>
                    <a:pt x="4453528" y="3003309"/>
                  </a:cubicBezTo>
                  <a:lnTo>
                    <a:pt x="4453528" y="3003280"/>
                  </a:lnTo>
                  <a:cubicBezTo>
                    <a:pt x="4447137" y="3008662"/>
                    <a:pt x="4439126" y="3011605"/>
                    <a:pt x="4431383" y="3014986"/>
                  </a:cubicBezTo>
                  <a:cubicBezTo>
                    <a:pt x="4424630" y="3018091"/>
                    <a:pt x="4417829" y="3022035"/>
                    <a:pt x="4410475" y="3024540"/>
                  </a:cubicBezTo>
                  <a:cubicBezTo>
                    <a:pt x="4407113" y="3025683"/>
                    <a:pt x="4402798" y="3030369"/>
                    <a:pt x="4399102" y="3026959"/>
                  </a:cubicBezTo>
                  <a:cubicBezTo>
                    <a:pt x="4395283" y="3023121"/>
                    <a:pt x="4396045" y="3017244"/>
                    <a:pt x="4398397" y="3012624"/>
                  </a:cubicBezTo>
                  <a:cubicBezTo>
                    <a:pt x="4401284" y="3007185"/>
                    <a:pt x="4399607" y="3001499"/>
                    <a:pt x="4400236" y="2995975"/>
                  </a:cubicBezTo>
                  <a:cubicBezTo>
                    <a:pt x="4401122" y="2988507"/>
                    <a:pt x="4395959" y="2981668"/>
                    <a:pt x="4391168" y="2979791"/>
                  </a:cubicBezTo>
                  <a:cubicBezTo>
                    <a:pt x="4384939" y="2977258"/>
                    <a:pt x="4384196" y="2986716"/>
                    <a:pt x="4381005" y="2990622"/>
                  </a:cubicBezTo>
                  <a:cubicBezTo>
                    <a:pt x="4378109" y="3000337"/>
                    <a:pt x="4378566" y="3010957"/>
                    <a:pt x="4371975" y="3019301"/>
                  </a:cubicBezTo>
                  <a:cubicBezTo>
                    <a:pt x="4371975" y="3019987"/>
                    <a:pt x="4371975" y="3020511"/>
                    <a:pt x="4371413" y="3021063"/>
                  </a:cubicBezTo>
                  <a:cubicBezTo>
                    <a:pt x="4370004" y="3026512"/>
                    <a:pt x="4367822" y="3031179"/>
                    <a:pt x="4362831" y="3034208"/>
                  </a:cubicBezTo>
                  <a:cubicBezTo>
                    <a:pt x="4361974" y="3039933"/>
                    <a:pt x="4358878" y="3043866"/>
                    <a:pt x="4353392" y="3046095"/>
                  </a:cubicBezTo>
                  <a:cubicBezTo>
                    <a:pt x="4343143" y="3052563"/>
                    <a:pt x="4336380" y="3049791"/>
                    <a:pt x="4331722" y="3038999"/>
                  </a:cubicBezTo>
                  <a:cubicBezTo>
                    <a:pt x="4329132" y="3032741"/>
                    <a:pt x="4326770" y="3024026"/>
                    <a:pt x="4317502" y="3033713"/>
                  </a:cubicBezTo>
                  <a:cubicBezTo>
                    <a:pt x="4314063" y="3037199"/>
                    <a:pt x="4311149" y="3037199"/>
                    <a:pt x="4306843" y="3033579"/>
                  </a:cubicBezTo>
                  <a:cubicBezTo>
                    <a:pt x="4302338" y="3029617"/>
                    <a:pt x="4305015" y="3025912"/>
                    <a:pt x="4306843" y="3023292"/>
                  </a:cubicBezTo>
                  <a:cubicBezTo>
                    <a:pt x="4314616" y="3012243"/>
                    <a:pt x="4325893" y="3004728"/>
                    <a:pt x="4337009" y="2997137"/>
                  </a:cubicBezTo>
                  <a:cubicBezTo>
                    <a:pt x="4353678" y="2985668"/>
                    <a:pt x="4371004" y="2975144"/>
                    <a:pt x="4388187" y="2964190"/>
                  </a:cubicBezTo>
                  <a:cubicBezTo>
                    <a:pt x="4404551" y="2953645"/>
                    <a:pt x="4414476" y="2954093"/>
                    <a:pt x="4429716" y="2966304"/>
                  </a:cubicBezTo>
                  <a:close/>
                  <a:moveTo>
                    <a:pt x="4212517" y="2835983"/>
                  </a:moveTo>
                  <a:cubicBezTo>
                    <a:pt x="4220385" y="2820734"/>
                    <a:pt x="4230824" y="2806722"/>
                    <a:pt x="4240359" y="2792263"/>
                  </a:cubicBezTo>
                  <a:cubicBezTo>
                    <a:pt x="4244188" y="2786453"/>
                    <a:pt x="4248274" y="2783500"/>
                    <a:pt x="4256780" y="2787196"/>
                  </a:cubicBezTo>
                  <a:cubicBezTo>
                    <a:pt x="4282631" y="2798788"/>
                    <a:pt x="4288593" y="2796178"/>
                    <a:pt x="4296299" y="2768794"/>
                  </a:cubicBezTo>
                  <a:cubicBezTo>
                    <a:pt x="4301338" y="2750306"/>
                    <a:pt x="4310815" y="2735523"/>
                    <a:pt x="4325179" y="2723245"/>
                  </a:cubicBezTo>
                  <a:cubicBezTo>
                    <a:pt x="4328065" y="2720750"/>
                    <a:pt x="4330989" y="2719168"/>
                    <a:pt x="4334590" y="2718711"/>
                  </a:cubicBezTo>
                  <a:cubicBezTo>
                    <a:pt x="4350772" y="2699795"/>
                    <a:pt x="4358040" y="2699414"/>
                    <a:pt x="4371413" y="2719254"/>
                  </a:cubicBezTo>
                  <a:cubicBezTo>
                    <a:pt x="4374966" y="2724617"/>
                    <a:pt x="4378852" y="2725541"/>
                    <a:pt x="4383939" y="2726008"/>
                  </a:cubicBezTo>
                  <a:cubicBezTo>
                    <a:pt x="4393511" y="2718492"/>
                    <a:pt x="4402274" y="2710244"/>
                    <a:pt x="4409723" y="2700833"/>
                  </a:cubicBezTo>
                  <a:cubicBezTo>
                    <a:pt x="4411409" y="2695594"/>
                    <a:pt x="4415409" y="2692613"/>
                    <a:pt x="4419867" y="2690117"/>
                  </a:cubicBezTo>
                  <a:cubicBezTo>
                    <a:pt x="4419867" y="2690117"/>
                    <a:pt x="4420353" y="2689965"/>
                    <a:pt x="4420353" y="2690003"/>
                  </a:cubicBezTo>
                  <a:cubicBezTo>
                    <a:pt x="4422325" y="2685174"/>
                    <a:pt x="4425430" y="2681878"/>
                    <a:pt x="4431145" y="2681878"/>
                  </a:cubicBezTo>
                  <a:cubicBezTo>
                    <a:pt x="4431145" y="2682088"/>
                    <a:pt x="4430973" y="2682088"/>
                    <a:pt x="4430973" y="2682088"/>
                  </a:cubicBezTo>
                  <a:cubicBezTo>
                    <a:pt x="4453528" y="2669000"/>
                    <a:pt x="4490142" y="2669877"/>
                    <a:pt x="4509164" y="2685479"/>
                  </a:cubicBezTo>
                  <a:cubicBezTo>
                    <a:pt x="4516717" y="2691594"/>
                    <a:pt x="4518117" y="2701519"/>
                    <a:pt x="4515279" y="2710339"/>
                  </a:cubicBezTo>
                  <a:cubicBezTo>
                    <a:pt x="4511574" y="2723541"/>
                    <a:pt x="4508688" y="2737657"/>
                    <a:pt x="4497124" y="2747610"/>
                  </a:cubicBezTo>
                  <a:cubicBezTo>
                    <a:pt x="4497296" y="2748315"/>
                    <a:pt x="4497248" y="2748839"/>
                    <a:pt x="4496839" y="2749439"/>
                  </a:cubicBezTo>
                  <a:cubicBezTo>
                    <a:pt x="4485942" y="2765984"/>
                    <a:pt x="4469502" y="2776690"/>
                    <a:pt x="4453195" y="2787149"/>
                  </a:cubicBezTo>
                  <a:cubicBezTo>
                    <a:pt x="4449804" y="2791320"/>
                    <a:pt x="4446489" y="2795511"/>
                    <a:pt x="4443241" y="2799569"/>
                  </a:cubicBezTo>
                  <a:cubicBezTo>
                    <a:pt x="4448537" y="2807084"/>
                    <a:pt x="4459186" y="2808808"/>
                    <a:pt x="4462939" y="2817752"/>
                  </a:cubicBezTo>
                  <a:cubicBezTo>
                    <a:pt x="4473959" y="2827401"/>
                    <a:pt x="4473578" y="2829763"/>
                    <a:pt x="4459691" y="2836640"/>
                  </a:cubicBezTo>
                  <a:cubicBezTo>
                    <a:pt x="4453195" y="2840593"/>
                    <a:pt x="4448385" y="2845956"/>
                    <a:pt x="4444080" y="2852147"/>
                  </a:cubicBezTo>
                  <a:cubicBezTo>
                    <a:pt x="4443003" y="2853061"/>
                    <a:pt x="4441946" y="2854109"/>
                    <a:pt x="4441089" y="2855176"/>
                  </a:cubicBezTo>
                  <a:lnTo>
                    <a:pt x="4441089" y="2855128"/>
                  </a:lnTo>
                  <a:cubicBezTo>
                    <a:pt x="4440089" y="2859700"/>
                    <a:pt x="4438717" y="2864206"/>
                    <a:pt x="4434640" y="2867473"/>
                  </a:cubicBezTo>
                  <a:cubicBezTo>
                    <a:pt x="4427306" y="2892647"/>
                    <a:pt x="4408065" y="2904078"/>
                    <a:pt x="4384672" y="2894952"/>
                  </a:cubicBezTo>
                  <a:lnTo>
                    <a:pt x="4384110" y="2895362"/>
                  </a:lnTo>
                  <a:cubicBezTo>
                    <a:pt x="4383377" y="2896019"/>
                    <a:pt x="4382777" y="2896610"/>
                    <a:pt x="4382138" y="2897229"/>
                  </a:cubicBezTo>
                  <a:cubicBezTo>
                    <a:pt x="4379700" y="2897696"/>
                    <a:pt x="4377376" y="2898010"/>
                    <a:pt x="4375195" y="2898315"/>
                  </a:cubicBezTo>
                  <a:cubicBezTo>
                    <a:pt x="4365841" y="2908821"/>
                    <a:pt x="4362422" y="2920241"/>
                    <a:pt x="4367803" y="2933567"/>
                  </a:cubicBezTo>
                  <a:cubicBezTo>
                    <a:pt x="4370785" y="2940625"/>
                    <a:pt x="4367737" y="2947464"/>
                    <a:pt x="4362803" y="2951321"/>
                  </a:cubicBezTo>
                  <a:cubicBezTo>
                    <a:pt x="4342067" y="2968571"/>
                    <a:pt x="4320893" y="2985697"/>
                    <a:pt x="4294756" y="2995108"/>
                  </a:cubicBezTo>
                  <a:cubicBezTo>
                    <a:pt x="4288670" y="2997375"/>
                    <a:pt x="4283783" y="2997832"/>
                    <a:pt x="4280783" y="2990926"/>
                  </a:cubicBezTo>
                  <a:cubicBezTo>
                    <a:pt x="4278554" y="2988936"/>
                    <a:pt x="4276458" y="2987050"/>
                    <a:pt x="4274163" y="2984869"/>
                  </a:cubicBezTo>
                  <a:cubicBezTo>
                    <a:pt x="4262076" y="2972210"/>
                    <a:pt x="4256065" y="2956922"/>
                    <a:pt x="4252960" y="2938901"/>
                  </a:cubicBezTo>
                  <a:cubicBezTo>
                    <a:pt x="4277478" y="2936605"/>
                    <a:pt x="4301700" y="2934329"/>
                    <a:pt x="4326179" y="2932195"/>
                  </a:cubicBezTo>
                  <a:cubicBezTo>
                    <a:pt x="4330160" y="2931738"/>
                    <a:pt x="4335323" y="2932862"/>
                    <a:pt x="4330580" y="2926318"/>
                  </a:cubicBezTo>
                  <a:cubicBezTo>
                    <a:pt x="4313806" y="2922918"/>
                    <a:pt x="4296766" y="2920013"/>
                    <a:pt x="4279992" y="2915927"/>
                  </a:cubicBezTo>
                  <a:cubicBezTo>
                    <a:pt x="4269477" y="2913250"/>
                    <a:pt x="4273049" y="2906906"/>
                    <a:pt x="4277487" y="2901048"/>
                  </a:cubicBezTo>
                  <a:cubicBezTo>
                    <a:pt x="4288593" y="2878122"/>
                    <a:pt x="4302652" y="2858662"/>
                    <a:pt x="4330751" y="2854652"/>
                  </a:cubicBezTo>
                  <a:cubicBezTo>
                    <a:pt x="4339485" y="2848994"/>
                    <a:pt x="4349039" y="2852480"/>
                    <a:pt x="4357955" y="2852166"/>
                  </a:cubicBezTo>
                  <a:cubicBezTo>
                    <a:pt x="4378109" y="2851509"/>
                    <a:pt x="4398626" y="2853214"/>
                    <a:pt x="4418581" y="2848613"/>
                  </a:cubicBezTo>
                  <a:cubicBezTo>
                    <a:pt x="4425991" y="2843565"/>
                    <a:pt x="4428344" y="2839345"/>
                    <a:pt x="4418105" y="2834154"/>
                  </a:cubicBezTo>
                  <a:cubicBezTo>
                    <a:pt x="4409104" y="2829620"/>
                    <a:pt x="4399865" y="2830478"/>
                    <a:pt x="4390711" y="2830316"/>
                  </a:cubicBezTo>
                  <a:cubicBezTo>
                    <a:pt x="4376709" y="2830240"/>
                    <a:pt x="4362812" y="2830316"/>
                    <a:pt x="4346782" y="2830316"/>
                  </a:cubicBezTo>
                  <a:cubicBezTo>
                    <a:pt x="4363584" y="2808189"/>
                    <a:pt x="4386387" y="2796349"/>
                    <a:pt x="4406351" y="2781024"/>
                  </a:cubicBezTo>
                  <a:cubicBezTo>
                    <a:pt x="4423610" y="2767689"/>
                    <a:pt x="4442394" y="2755506"/>
                    <a:pt x="4448489" y="2732361"/>
                  </a:cubicBezTo>
                  <a:cubicBezTo>
                    <a:pt x="4449661" y="2727808"/>
                    <a:pt x="4450680" y="2724093"/>
                    <a:pt x="4448013" y="2719140"/>
                  </a:cubicBezTo>
                  <a:cubicBezTo>
                    <a:pt x="4439098" y="2725493"/>
                    <a:pt x="4430525" y="2731627"/>
                    <a:pt x="4422010" y="2737695"/>
                  </a:cubicBezTo>
                  <a:cubicBezTo>
                    <a:pt x="4401112" y="2754201"/>
                    <a:pt x="4380414" y="2770461"/>
                    <a:pt x="4359516" y="2786882"/>
                  </a:cubicBezTo>
                  <a:cubicBezTo>
                    <a:pt x="4355030" y="2787758"/>
                    <a:pt x="4353068" y="2796016"/>
                    <a:pt x="4346553" y="2791559"/>
                  </a:cubicBezTo>
                  <a:cubicBezTo>
                    <a:pt x="4341267" y="2787834"/>
                    <a:pt x="4344296" y="2782167"/>
                    <a:pt x="4343476" y="2777404"/>
                  </a:cubicBezTo>
                  <a:cubicBezTo>
                    <a:pt x="4342715" y="2773461"/>
                    <a:pt x="4348420" y="2770642"/>
                    <a:pt x="4345582" y="2766003"/>
                  </a:cubicBezTo>
                  <a:cubicBezTo>
                    <a:pt x="4342333" y="2760983"/>
                    <a:pt x="4340152" y="2754078"/>
                    <a:pt x="4333113" y="2753763"/>
                  </a:cubicBezTo>
                  <a:cubicBezTo>
                    <a:pt x="4322807" y="2753220"/>
                    <a:pt x="4327741" y="2764984"/>
                    <a:pt x="4322007" y="2768889"/>
                  </a:cubicBezTo>
                  <a:cubicBezTo>
                    <a:pt x="4320635" y="2779633"/>
                    <a:pt x="4319369" y="2790511"/>
                    <a:pt x="4312768" y="2800131"/>
                  </a:cubicBezTo>
                  <a:lnTo>
                    <a:pt x="4313539" y="2800941"/>
                  </a:lnTo>
                  <a:cubicBezTo>
                    <a:pt x="4313663" y="2801941"/>
                    <a:pt x="4313244" y="2802598"/>
                    <a:pt x="4312311" y="2802769"/>
                  </a:cubicBezTo>
                  <a:cubicBezTo>
                    <a:pt x="4312311" y="2803646"/>
                    <a:pt x="4312073" y="2804646"/>
                    <a:pt x="4311701" y="2805589"/>
                  </a:cubicBezTo>
                  <a:cubicBezTo>
                    <a:pt x="4308025" y="2832373"/>
                    <a:pt x="4292461" y="2852718"/>
                    <a:pt x="4274420" y="2871492"/>
                  </a:cubicBezTo>
                  <a:cubicBezTo>
                    <a:pt x="4270944" y="2875350"/>
                    <a:pt x="4261257" y="2883141"/>
                    <a:pt x="4261676" y="2867578"/>
                  </a:cubicBezTo>
                  <a:cubicBezTo>
                    <a:pt x="4258580" y="2860062"/>
                    <a:pt x="4255522" y="2852338"/>
                    <a:pt x="4252227" y="2844889"/>
                  </a:cubicBezTo>
                  <a:cubicBezTo>
                    <a:pt x="4250998" y="2842546"/>
                    <a:pt x="4249589" y="2838707"/>
                    <a:pt x="4245940" y="2843136"/>
                  </a:cubicBezTo>
                  <a:cubicBezTo>
                    <a:pt x="4242778" y="2863825"/>
                    <a:pt x="4239673" y="2884494"/>
                    <a:pt x="4236396" y="2905525"/>
                  </a:cubicBezTo>
                  <a:cubicBezTo>
                    <a:pt x="4230634" y="2903915"/>
                    <a:pt x="4223604" y="2906020"/>
                    <a:pt x="4220899" y="2898391"/>
                  </a:cubicBezTo>
                  <a:lnTo>
                    <a:pt x="4221071" y="2898391"/>
                  </a:lnTo>
                  <a:cubicBezTo>
                    <a:pt x="4219985" y="2897448"/>
                    <a:pt x="4218985" y="2896495"/>
                    <a:pt x="4218032" y="2895562"/>
                  </a:cubicBezTo>
                  <a:cubicBezTo>
                    <a:pt x="4213574" y="2893952"/>
                    <a:pt x="4211384" y="2890990"/>
                    <a:pt x="4211384" y="2886275"/>
                  </a:cubicBezTo>
                  <a:cubicBezTo>
                    <a:pt x="4199935" y="2869216"/>
                    <a:pt x="4204249" y="2852071"/>
                    <a:pt x="4212517" y="2835983"/>
                  </a:cubicBezTo>
                  <a:close/>
                  <a:moveTo>
                    <a:pt x="4269810" y="3019016"/>
                  </a:moveTo>
                  <a:cubicBezTo>
                    <a:pt x="4304757" y="3080585"/>
                    <a:pt x="4338752" y="3142498"/>
                    <a:pt x="4366498" y="3207820"/>
                  </a:cubicBezTo>
                  <a:cubicBezTo>
                    <a:pt x="4381338" y="3242767"/>
                    <a:pt x="4396283" y="3277114"/>
                    <a:pt x="4404675" y="3313900"/>
                  </a:cubicBezTo>
                  <a:cubicBezTo>
                    <a:pt x="4406751" y="3322977"/>
                    <a:pt x="4408084" y="3332150"/>
                    <a:pt x="4409961" y="3341846"/>
                  </a:cubicBezTo>
                  <a:cubicBezTo>
                    <a:pt x="4400836" y="3338789"/>
                    <a:pt x="4403055" y="3328673"/>
                    <a:pt x="4395340" y="3324835"/>
                  </a:cubicBezTo>
                  <a:cubicBezTo>
                    <a:pt x="4385510" y="3339379"/>
                    <a:pt x="4396788" y="3357639"/>
                    <a:pt x="4385834" y="3371050"/>
                  </a:cubicBezTo>
                  <a:cubicBezTo>
                    <a:pt x="4378443" y="3363202"/>
                    <a:pt x="4378566" y="3350124"/>
                    <a:pt x="4369794" y="3339979"/>
                  </a:cubicBezTo>
                  <a:lnTo>
                    <a:pt x="4369794" y="3385461"/>
                  </a:lnTo>
                  <a:cubicBezTo>
                    <a:pt x="4359316" y="3380680"/>
                    <a:pt x="4360774" y="3369040"/>
                    <a:pt x="4351782" y="3362868"/>
                  </a:cubicBezTo>
                  <a:cubicBezTo>
                    <a:pt x="4350039" y="3378022"/>
                    <a:pt x="4345905" y="3391510"/>
                    <a:pt x="4344296" y="3406350"/>
                  </a:cubicBezTo>
                  <a:cubicBezTo>
                    <a:pt x="4329522" y="3371431"/>
                    <a:pt x="4313311" y="3336865"/>
                    <a:pt x="4300300" y="3301260"/>
                  </a:cubicBezTo>
                  <a:cubicBezTo>
                    <a:pt x="4263924" y="3203039"/>
                    <a:pt x="4213584" y="3112561"/>
                    <a:pt x="4151271" y="3027998"/>
                  </a:cubicBezTo>
                  <a:cubicBezTo>
                    <a:pt x="4101599" y="2960903"/>
                    <a:pt x="4049125" y="2895781"/>
                    <a:pt x="4004367" y="2825458"/>
                  </a:cubicBezTo>
                  <a:cubicBezTo>
                    <a:pt x="3974668" y="2778805"/>
                    <a:pt x="3944055" y="2732580"/>
                    <a:pt x="3928891" y="2678297"/>
                  </a:cubicBezTo>
                  <a:cubicBezTo>
                    <a:pt x="3925395" y="2665762"/>
                    <a:pt x="3921528" y="2653284"/>
                    <a:pt x="3923757" y="2639987"/>
                  </a:cubicBezTo>
                  <a:cubicBezTo>
                    <a:pt x="3932092" y="2639797"/>
                    <a:pt x="3940883" y="2649398"/>
                    <a:pt x="3946598" y="2643921"/>
                  </a:cubicBezTo>
                  <a:cubicBezTo>
                    <a:pt x="3953227" y="2637625"/>
                    <a:pt x="3945026" y="2627948"/>
                    <a:pt x="3944198" y="2619623"/>
                  </a:cubicBezTo>
                  <a:cubicBezTo>
                    <a:pt x="3943464" y="2612403"/>
                    <a:pt x="3935130" y="2602440"/>
                    <a:pt x="3952589" y="2608298"/>
                  </a:cubicBezTo>
                  <a:cubicBezTo>
                    <a:pt x="3958704" y="2610384"/>
                    <a:pt x="3960619" y="2608393"/>
                    <a:pt x="3958704" y="2600335"/>
                  </a:cubicBezTo>
                  <a:cubicBezTo>
                    <a:pt x="3955856" y="2588143"/>
                    <a:pt x="3948494" y="2576208"/>
                    <a:pt x="3952208" y="2562577"/>
                  </a:cubicBezTo>
                  <a:cubicBezTo>
                    <a:pt x="3961495" y="2563025"/>
                    <a:pt x="3963115" y="2574493"/>
                    <a:pt x="3972925" y="2574446"/>
                  </a:cubicBezTo>
                  <a:cubicBezTo>
                    <a:pt x="3968944" y="2559377"/>
                    <a:pt x="3964886" y="2544918"/>
                    <a:pt x="3960857" y="2529954"/>
                  </a:cubicBezTo>
                  <a:cubicBezTo>
                    <a:pt x="3969792" y="2532536"/>
                    <a:pt x="3976097" y="2538651"/>
                    <a:pt x="3984460" y="2546833"/>
                  </a:cubicBezTo>
                  <a:cubicBezTo>
                    <a:pt x="3984889" y="2510114"/>
                    <a:pt x="3955790" y="2481272"/>
                    <a:pt x="3968944" y="2445858"/>
                  </a:cubicBezTo>
                  <a:cubicBezTo>
                    <a:pt x="3986870" y="2512009"/>
                    <a:pt x="4005310" y="2577856"/>
                    <a:pt x="4043382" y="2639225"/>
                  </a:cubicBezTo>
                  <a:cubicBezTo>
                    <a:pt x="4021893" y="2639349"/>
                    <a:pt x="4005568" y="2640340"/>
                    <a:pt x="3988965" y="2642102"/>
                  </a:cubicBezTo>
                  <a:cubicBezTo>
                    <a:pt x="3962924" y="2644683"/>
                    <a:pt x="3943941" y="2667172"/>
                    <a:pt x="3951732" y="2691327"/>
                  </a:cubicBezTo>
                  <a:cubicBezTo>
                    <a:pt x="3955285" y="2701414"/>
                    <a:pt x="3964753" y="2708824"/>
                    <a:pt x="3975459" y="2713596"/>
                  </a:cubicBezTo>
                  <a:cubicBezTo>
                    <a:pt x="3997652" y="2723741"/>
                    <a:pt x="4019312" y="2716883"/>
                    <a:pt x="4040762" y="2712187"/>
                  </a:cubicBezTo>
                  <a:cubicBezTo>
                    <a:pt x="4047620" y="2710672"/>
                    <a:pt x="4054716" y="2710006"/>
                    <a:pt x="4061746" y="2707881"/>
                  </a:cubicBezTo>
                  <a:cubicBezTo>
                    <a:pt x="4071671" y="2704767"/>
                    <a:pt x="4080443" y="2709986"/>
                    <a:pt x="4086111" y="2719188"/>
                  </a:cubicBezTo>
                  <a:cubicBezTo>
                    <a:pt x="4114829" y="2766050"/>
                    <a:pt x="4143404" y="2812866"/>
                    <a:pt x="4172779" y="2859176"/>
                  </a:cubicBezTo>
                  <a:cubicBezTo>
                    <a:pt x="4206374" y="2911735"/>
                    <a:pt x="4239139" y="2964790"/>
                    <a:pt x="4269810" y="3019016"/>
                  </a:cubicBezTo>
                  <a:close/>
                  <a:moveTo>
                    <a:pt x="4043125" y="2685221"/>
                  </a:moveTo>
                  <a:cubicBezTo>
                    <a:pt x="4043363" y="2693870"/>
                    <a:pt x="4035857" y="2693661"/>
                    <a:pt x="4029618" y="2694432"/>
                  </a:cubicBezTo>
                  <a:cubicBezTo>
                    <a:pt x="4017750" y="2697404"/>
                    <a:pt x="4005529" y="2696947"/>
                    <a:pt x="3993556" y="2694556"/>
                  </a:cubicBezTo>
                  <a:cubicBezTo>
                    <a:pt x="3981964" y="2692299"/>
                    <a:pt x="3974916" y="2687231"/>
                    <a:pt x="3985555" y="2675525"/>
                  </a:cubicBezTo>
                  <a:cubicBezTo>
                    <a:pt x="4001548" y="2670305"/>
                    <a:pt x="4017874" y="2674458"/>
                    <a:pt x="4034057" y="2673582"/>
                  </a:cubicBezTo>
                  <a:cubicBezTo>
                    <a:pt x="4042105" y="2673039"/>
                    <a:pt x="4042982" y="2680164"/>
                    <a:pt x="4043125" y="2685221"/>
                  </a:cubicBezTo>
                  <a:close/>
                  <a:moveTo>
                    <a:pt x="4243197" y="2482006"/>
                  </a:moveTo>
                  <a:cubicBezTo>
                    <a:pt x="4240787" y="2484815"/>
                    <a:pt x="4238454" y="2487673"/>
                    <a:pt x="4236044" y="2490492"/>
                  </a:cubicBezTo>
                  <a:cubicBezTo>
                    <a:pt x="4235873" y="2495684"/>
                    <a:pt x="4230834" y="2497531"/>
                    <a:pt x="4228738" y="2501113"/>
                  </a:cubicBezTo>
                  <a:lnTo>
                    <a:pt x="4228129" y="2500941"/>
                  </a:lnTo>
                  <a:cubicBezTo>
                    <a:pt x="4224909" y="2514381"/>
                    <a:pt x="4232348" y="2524211"/>
                    <a:pt x="4240159" y="2534050"/>
                  </a:cubicBezTo>
                  <a:cubicBezTo>
                    <a:pt x="4245045" y="2534669"/>
                    <a:pt x="4248626" y="2537070"/>
                    <a:pt x="4250751" y="2541623"/>
                  </a:cubicBezTo>
                  <a:lnTo>
                    <a:pt x="4250751" y="2542918"/>
                  </a:lnTo>
                  <a:cubicBezTo>
                    <a:pt x="4267086" y="2557310"/>
                    <a:pt x="4263009" y="2575350"/>
                    <a:pt x="4258132" y="2592296"/>
                  </a:cubicBezTo>
                  <a:cubicBezTo>
                    <a:pt x="4254313" y="2606021"/>
                    <a:pt x="4247626" y="2618851"/>
                    <a:pt x="4239473" y="2631481"/>
                  </a:cubicBezTo>
                  <a:cubicBezTo>
                    <a:pt x="4241711" y="2614508"/>
                    <a:pt x="4244188" y="2597649"/>
                    <a:pt x="4246540" y="2580466"/>
                  </a:cubicBezTo>
                  <a:cubicBezTo>
                    <a:pt x="4247036" y="2572131"/>
                    <a:pt x="4242340" y="2568664"/>
                    <a:pt x="4235187" y="2572131"/>
                  </a:cubicBezTo>
                  <a:cubicBezTo>
                    <a:pt x="4220766" y="2578970"/>
                    <a:pt x="4220852" y="2570607"/>
                    <a:pt x="4220852" y="2560701"/>
                  </a:cubicBezTo>
                  <a:cubicBezTo>
                    <a:pt x="4220909" y="2504161"/>
                    <a:pt x="4220852" y="2447754"/>
                    <a:pt x="4220756" y="2391356"/>
                  </a:cubicBezTo>
                  <a:cubicBezTo>
                    <a:pt x="4220756" y="2389318"/>
                    <a:pt x="4220375" y="2387394"/>
                    <a:pt x="4220099" y="2382536"/>
                  </a:cubicBezTo>
                  <a:cubicBezTo>
                    <a:pt x="4210831" y="2395833"/>
                    <a:pt x="4207631" y="2408892"/>
                    <a:pt x="4202440" y="2420826"/>
                  </a:cubicBezTo>
                  <a:cubicBezTo>
                    <a:pt x="4201259" y="2423636"/>
                    <a:pt x="4201001" y="2427904"/>
                    <a:pt x="4197963" y="2428075"/>
                  </a:cubicBezTo>
                  <a:cubicBezTo>
                    <a:pt x="4195639" y="2428075"/>
                    <a:pt x="4192400" y="2425132"/>
                    <a:pt x="4190857" y="2422770"/>
                  </a:cubicBezTo>
                  <a:cubicBezTo>
                    <a:pt x="4165578" y="2385670"/>
                    <a:pt x="4148214" y="2345655"/>
                    <a:pt x="4145223" y="2300383"/>
                  </a:cubicBezTo>
                  <a:cubicBezTo>
                    <a:pt x="4144042" y="2279542"/>
                    <a:pt x="4140918" y="2258892"/>
                    <a:pt x="4138546" y="2238127"/>
                  </a:cubicBezTo>
                  <a:cubicBezTo>
                    <a:pt x="4133355" y="2234013"/>
                    <a:pt x="4130392" y="2235356"/>
                    <a:pt x="4126668" y="2240947"/>
                  </a:cubicBezTo>
                  <a:cubicBezTo>
                    <a:pt x="4116476" y="2255930"/>
                    <a:pt x="4122030" y="2272551"/>
                    <a:pt x="4119925" y="2289496"/>
                  </a:cubicBezTo>
                  <a:cubicBezTo>
                    <a:pt x="4115152" y="2288619"/>
                    <a:pt x="4112790" y="2285067"/>
                    <a:pt x="4110600" y="2281552"/>
                  </a:cubicBezTo>
                  <a:cubicBezTo>
                    <a:pt x="4097722" y="2275151"/>
                    <a:pt x="4093788" y="2262645"/>
                    <a:pt x="4088664" y="2250815"/>
                  </a:cubicBezTo>
                  <a:cubicBezTo>
                    <a:pt x="4078996" y="2228574"/>
                    <a:pt x="4075776" y="2203971"/>
                    <a:pt x="4062718" y="2182978"/>
                  </a:cubicBezTo>
                  <a:cubicBezTo>
                    <a:pt x="4058002" y="2175339"/>
                    <a:pt x="4052059" y="2169747"/>
                    <a:pt x="4044953" y="2164842"/>
                  </a:cubicBezTo>
                  <a:cubicBezTo>
                    <a:pt x="4034714" y="2163699"/>
                    <a:pt x="4038629" y="2171338"/>
                    <a:pt x="4039524" y="2175034"/>
                  </a:cubicBezTo>
                  <a:cubicBezTo>
                    <a:pt x="4041610" y="2186073"/>
                    <a:pt x="4044953" y="2196932"/>
                    <a:pt x="4047696" y="2207905"/>
                  </a:cubicBezTo>
                  <a:cubicBezTo>
                    <a:pt x="4048173" y="2208695"/>
                    <a:pt x="4048239" y="2209467"/>
                    <a:pt x="4048239" y="2210305"/>
                  </a:cubicBezTo>
                  <a:cubicBezTo>
                    <a:pt x="4050259" y="2210829"/>
                    <a:pt x="4051202" y="2211800"/>
                    <a:pt x="4050849" y="2213924"/>
                  </a:cubicBezTo>
                  <a:cubicBezTo>
                    <a:pt x="4051326" y="2214620"/>
                    <a:pt x="4051469" y="2215287"/>
                    <a:pt x="4051326" y="2216058"/>
                  </a:cubicBezTo>
                  <a:cubicBezTo>
                    <a:pt x="4055593" y="2225574"/>
                    <a:pt x="4059803" y="2235051"/>
                    <a:pt x="4064099" y="2244347"/>
                  </a:cubicBezTo>
                  <a:cubicBezTo>
                    <a:pt x="4073033" y="2250224"/>
                    <a:pt x="4074071" y="2261169"/>
                    <a:pt x="4079777" y="2268998"/>
                  </a:cubicBezTo>
                  <a:cubicBezTo>
                    <a:pt x="4083672" y="2272236"/>
                    <a:pt x="4085663" y="2276361"/>
                    <a:pt x="4085873" y="2281361"/>
                  </a:cubicBezTo>
                  <a:lnTo>
                    <a:pt x="4085873" y="2281419"/>
                  </a:lnTo>
                  <a:cubicBezTo>
                    <a:pt x="4092321" y="2284752"/>
                    <a:pt x="4095236" y="2289782"/>
                    <a:pt x="4092674" y="2296897"/>
                  </a:cubicBezTo>
                  <a:cubicBezTo>
                    <a:pt x="4093378" y="2296897"/>
                    <a:pt x="4093921" y="2297030"/>
                    <a:pt x="4094350" y="2297459"/>
                  </a:cubicBezTo>
                  <a:cubicBezTo>
                    <a:pt x="4102808" y="2297697"/>
                    <a:pt x="4101218" y="2304031"/>
                    <a:pt x="4101599" y="2309146"/>
                  </a:cubicBezTo>
                  <a:cubicBezTo>
                    <a:pt x="4102808" y="2310213"/>
                    <a:pt x="4103799" y="2311232"/>
                    <a:pt x="4104732" y="2312165"/>
                  </a:cubicBezTo>
                  <a:cubicBezTo>
                    <a:pt x="4109333" y="2315899"/>
                    <a:pt x="4110771" y="2321195"/>
                    <a:pt x="4112743" y="2326453"/>
                  </a:cubicBezTo>
                  <a:cubicBezTo>
                    <a:pt x="4107333" y="2329653"/>
                    <a:pt x="4102951" y="2327586"/>
                    <a:pt x="4098741" y="2324110"/>
                  </a:cubicBezTo>
                  <a:cubicBezTo>
                    <a:pt x="4097503" y="2323376"/>
                    <a:pt x="4096360" y="2322681"/>
                    <a:pt x="4095083" y="2321919"/>
                  </a:cubicBezTo>
                  <a:cubicBezTo>
                    <a:pt x="4092531" y="2321576"/>
                    <a:pt x="4089559" y="2321757"/>
                    <a:pt x="4088664" y="2318423"/>
                  </a:cubicBezTo>
                  <a:cubicBezTo>
                    <a:pt x="4087616" y="2317585"/>
                    <a:pt x="4086701" y="2316594"/>
                    <a:pt x="4085796" y="2315709"/>
                  </a:cubicBezTo>
                  <a:cubicBezTo>
                    <a:pt x="4083234" y="2315366"/>
                    <a:pt x="4080415" y="2315699"/>
                    <a:pt x="4079396" y="2312603"/>
                  </a:cubicBezTo>
                  <a:cubicBezTo>
                    <a:pt x="4072290" y="2305926"/>
                    <a:pt x="4065537" y="2298906"/>
                    <a:pt x="4057841" y="2292953"/>
                  </a:cubicBezTo>
                  <a:cubicBezTo>
                    <a:pt x="4053354" y="2289362"/>
                    <a:pt x="4047858" y="2285876"/>
                    <a:pt x="4040019" y="2288600"/>
                  </a:cubicBezTo>
                  <a:cubicBezTo>
                    <a:pt x="4043429" y="2307517"/>
                    <a:pt x="4052440" y="2322309"/>
                    <a:pt x="4070137" y="2331520"/>
                  </a:cubicBezTo>
                  <a:cubicBezTo>
                    <a:pt x="4076510" y="2338092"/>
                    <a:pt x="4090016" y="2336225"/>
                    <a:pt x="4091702" y="2348665"/>
                  </a:cubicBezTo>
                  <a:cubicBezTo>
                    <a:pt x="4106504" y="2355656"/>
                    <a:pt x="4120887" y="2363334"/>
                    <a:pt x="4133088" y="2374449"/>
                  </a:cubicBezTo>
                  <a:cubicBezTo>
                    <a:pt x="4154967" y="2394576"/>
                    <a:pt x="4172988" y="2417245"/>
                    <a:pt x="4179056" y="2447173"/>
                  </a:cubicBezTo>
                  <a:cubicBezTo>
                    <a:pt x="4179437" y="2448602"/>
                    <a:pt x="4180123" y="2450001"/>
                    <a:pt x="4180666" y="2451249"/>
                  </a:cubicBezTo>
                  <a:cubicBezTo>
                    <a:pt x="4186047" y="2459412"/>
                    <a:pt x="4187085" y="2468471"/>
                    <a:pt x="4187085" y="2479396"/>
                  </a:cubicBezTo>
                  <a:cubicBezTo>
                    <a:pt x="4181075" y="2475891"/>
                    <a:pt x="4175722" y="2472776"/>
                    <a:pt x="4170388" y="2469718"/>
                  </a:cubicBezTo>
                  <a:cubicBezTo>
                    <a:pt x="4169540" y="2469718"/>
                    <a:pt x="4168654" y="2469490"/>
                    <a:pt x="4168016" y="2469128"/>
                  </a:cubicBezTo>
                  <a:cubicBezTo>
                    <a:pt x="4165721" y="2469861"/>
                    <a:pt x="4164540" y="2468471"/>
                    <a:pt x="4164054" y="2466661"/>
                  </a:cubicBezTo>
                  <a:cubicBezTo>
                    <a:pt x="4160796" y="2464718"/>
                    <a:pt x="4157596" y="2462641"/>
                    <a:pt x="4154300" y="2460479"/>
                  </a:cubicBezTo>
                  <a:cubicBezTo>
                    <a:pt x="4152338" y="2459536"/>
                    <a:pt x="4150443" y="2458536"/>
                    <a:pt x="4148423" y="2457536"/>
                  </a:cubicBezTo>
                  <a:lnTo>
                    <a:pt x="4148452" y="2457564"/>
                  </a:lnTo>
                  <a:cubicBezTo>
                    <a:pt x="4138251" y="2457307"/>
                    <a:pt x="4127507" y="2455831"/>
                    <a:pt x="4117401" y="2459889"/>
                  </a:cubicBezTo>
                  <a:cubicBezTo>
                    <a:pt x="4116343" y="2461146"/>
                    <a:pt x="4115067" y="2462422"/>
                    <a:pt x="4113705" y="2463775"/>
                  </a:cubicBezTo>
                  <a:cubicBezTo>
                    <a:pt x="4123211" y="2474490"/>
                    <a:pt x="4140241" y="2472757"/>
                    <a:pt x="4148871" y="2484939"/>
                  </a:cubicBezTo>
                  <a:cubicBezTo>
                    <a:pt x="4153700" y="2485539"/>
                    <a:pt x="4158424" y="2486882"/>
                    <a:pt x="4161215" y="2491169"/>
                  </a:cubicBezTo>
                  <a:cubicBezTo>
                    <a:pt x="4168921" y="2495960"/>
                    <a:pt x="4175227" y="2501789"/>
                    <a:pt x="4179456" y="2509800"/>
                  </a:cubicBezTo>
                  <a:cubicBezTo>
                    <a:pt x="4180123" y="2510619"/>
                    <a:pt x="4180408" y="2511533"/>
                    <a:pt x="4180237" y="2512628"/>
                  </a:cubicBezTo>
                  <a:cubicBezTo>
                    <a:pt x="4190476" y="2520525"/>
                    <a:pt x="4192772" y="2532326"/>
                    <a:pt x="4195496" y="2543680"/>
                  </a:cubicBezTo>
                  <a:cubicBezTo>
                    <a:pt x="4195877" y="2545623"/>
                    <a:pt x="4195925" y="2547566"/>
                    <a:pt x="4196096" y="2549366"/>
                  </a:cubicBezTo>
                  <a:cubicBezTo>
                    <a:pt x="4199935" y="2552100"/>
                    <a:pt x="4199039" y="2555691"/>
                    <a:pt x="4198611" y="2559463"/>
                  </a:cubicBezTo>
                  <a:cubicBezTo>
                    <a:pt x="4198754" y="2561130"/>
                    <a:pt x="4198935" y="2562873"/>
                    <a:pt x="4199039" y="2564463"/>
                  </a:cubicBezTo>
                  <a:cubicBezTo>
                    <a:pt x="4205907" y="2574636"/>
                    <a:pt x="4201021" y="2585638"/>
                    <a:pt x="4201573" y="2596296"/>
                  </a:cubicBezTo>
                  <a:cubicBezTo>
                    <a:pt x="4202230" y="2597182"/>
                    <a:pt x="4202230" y="2597963"/>
                    <a:pt x="4201573" y="2599049"/>
                  </a:cubicBezTo>
                  <a:cubicBezTo>
                    <a:pt x="4201811" y="2605354"/>
                    <a:pt x="4204764" y="2613603"/>
                    <a:pt x="4192419" y="2611003"/>
                  </a:cubicBezTo>
                  <a:cubicBezTo>
                    <a:pt x="4177208" y="2614956"/>
                    <a:pt x="4182942" y="2624481"/>
                    <a:pt x="4187924" y="2632072"/>
                  </a:cubicBezTo>
                  <a:cubicBezTo>
                    <a:pt x="4195306" y="2643597"/>
                    <a:pt x="4205478" y="2653684"/>
                    <a:pt x="4201944" y="2669096"/>
                  </a:cubicBezTo>
                  <a:cubicBezTo>
                    <a:pt x="4201564" y="2671039"/>
                    <a:pt x="4200592" y="2672582"/>
                    <a:pt x="4199192" y="2675849"/>
                  </a:cubicBezTo>
                  <a:cubicBezTo>
                    <a:pt x="4185628" y="2661133"/>
                    <a:pt x="4180103" y="2643426"/>
                    <a:pt x="4171283" y="2627471"/>
                  </a:cubicBezTo>
                  <a:cubicBezTo>
                    <a:pt x="4169302" y="2619242"/>
                    <a:pt x="4167254" y="2611003"/>
                    <a:pt x="4165168" y="2602744"/>
                  </a:cubicBezTo>
                  <a:cubicBezTo>
                    <a:pt x="4162987" y="2592886"/>
                    <a:pt x="4160215" y="2582885"/>
                    <a:pt x="4161215" y="2572579"/>
                  </a:cubicBezTo>
                  <a:cubicBezTo>
                    <a:pt x="4161949" y="2567473"/>
                    <a:pt x="4159701" y="2564273"/>
                    <a:pt x="4154729" y="2561863"/>
                  </a:cubicBezTo>
                  <a:cubicBezTo>
                    <a:pt x="4116791" y="2543680"/>
                    <a:pt x="4101294" y="2508780"/>
                    <a:pt x="4086254" y="2473424"/>
                  </a:cubicBezTo>
                  <a:cubicBezTo>
                    <a:pt x="4083120" y="2465956"/>
                    <a:pt x="4080605" y="2458184"/>
                    <a:pt x="4076681" y="2451249"/>
                  </a:cubicBezTo>
                  <a:cubicBezTo>
                    <a:pt x="4066651" y="2432771"/>
                    <a:pt x="4067432" y="2413540"/>
                    <a:pt x="4070261" y="2393699"/>
                  </a:cubicBezTo>
                  <a:cubicBezTo>
                    <a:pt x="4071271" y="2386089"/>
                    <a:pt x="4068737" y="2380907"/>
                    <a:pt x="4061412" y="2374935"/>
                  </a:cubicBezTo>
                  <a:cubicBezTo>
                    <a:pt x="4047087" y="2363762"/>
                    <a:pt x="4031990" y="2351846"/>
                    <a:pt x="4025541" y="2333635"/>
                  </a:cubicBezTo>
                  <a:cubicBezTo>
                    <a:pt x="4019264" y="2325719"/>
                    <a:pt x="4016512" y="2316804"/>
                    <a:pt x="4016759" y="2306917"/>
                  </a:cubicBezTo>
                  <a:cubicBezTo>
                    <a:pt x="4006806" y="2284762"/>
                    <a:pt x="4010787" y="2262426"/>
                    <a:pt x="4014645" y="2240004"/>
                  </a:cubicBezTo>
                  <a:cubicBezTo>
                    <a:pt x="4018607" y="2217363"/>
                    <a:pt x="4019026" y="2196275"/>
                    <a:pt x="4003101" y="2176339"/>
                  </a:cubicBezTo>
                  <a:cubicBezTo>
                    <a:pt x="3986117" y="2155165"/>
                    <a:pt x="3989861" y="2119627"/>
                    <a:pt x="4008158" y="2097748"/>
                  </a:cubicBezTo>
                  <a:cubicBezTo>
                    <a:pt x="4010492" y="2094843"/>
                    <a:pt x="4012540" y="2092471"/>
                    <a:pt x="4017207" y="2095081"/>
                  </a:cubicBezTo>
                  <a:cubicBezTo>
                    <a:pt x="4037743" y="2106425"/>
                    <a:pt x="4060251" y="2114064"/>
                    <a:pt x="4079377" y="2127885"/>
                  </a:cubicBezTo>
                  <a:cubicBezTo>
                    <a:pt x="4085654" y="2137029"/>
                    <a:pt x="4089302" y="2146992"/>
                    <a:pt x="4088483" y="2158270"/>
                  </a:cubicBezTo>
                  <a:cubicBezTo>
                    <a:pt x="4088978" y="2159156"/>
                    <a:pt x="4089111" y="2160080"/>
                    <a:pt x="4089111" y="2161051"/>
                  </a:cubicBezTo>
                  <a:cubicBezTo>
                    <a:pt x="4100818" y="2182663"/>
                    <a:pt x="4119915" y="2182349"/>
                    <a:pt x="4139508" y="2175843"/>
                  </a:cubicBezTo>
                  <a:cubicBezTo>
                    <a:pt x="4148423" y="2172738"/>
                    <a:pt x="4151262" y="2176244"/>
                    <a:pt x="4154033" y="2182921"/>
                  </a:cubicBezTo>
                  <a:cubicBezTo>
                    <a:pt x="4156815" y="2187683"/>
                    <a:pt x="4160949" y="2191903"/>
                    <a:pt x="4161073" y="2197856"/>
                  </a:cubicBezTo>
                  <a:cubicBezTo>
                    <a:pt x="4176903" y="2222535"/>
                    <a:pt x="4186476" y="2249843"/>
                    <a:pt x="4192724" y="2278171"/>
                  </a:cubicBezTo>
                  <a:cubicBezTo>
                    <a:pt x="4197963" y="2282504"/>
                    <a:pt x="4195287" y="2289401"/>
                    <a:pt x="4197963" y="2294382"/>
                  </a:cubicBezTo>
                  <a:cubicBezTo>
                    <a:pt x="4198344" y="2296392"/>
                    <a:pt x="4198439" y="2298392"/>
                    <a:pt x="4198630" y="2300383"/>
                  </a:cubicBezTo>
                  <a:cubicBezTo>
                    <a:pt x="4202897" y="2312108"/>
                    <a:pt x="4206402" y="2323872"/>
                    <a:pt x="4204697" y="2336578"/>
                  </a:cubicBezTo>
                  <a:cubicBezTo>
                    <a:pt x="4206193" y="2337692"/>
                    <a:pt x="4207707" y="2339702"/>
                    <a:pt x="4209479" y="2339845"/>
                  </a:cubicBezTo>
                  <a:cubicBezTo>
                    <a:pt x="4222823" y="2341464"/>
                    <a:pt x="4232329" y="2348875"/>
                    <a:pt x="4240140" y="2359114"/>
                  </a:cubicBezTo>
                  <a:cubicBezTo>
                    <a:pt x="4246522" y="2361933"/>
                    <a:pt x="4248912" y="2368001"/>
                    <a:pt x="4248912" y="2373725"/>
                  </a:cubicBezTo>
                  <a:cubicBezTo>
                    <a:pt x="4248264" y="2400129"/>
                    <a:pt x="4257628" y="2424608"/>
                    <a:pt x="4263809" y="2449640"/>
                  </a:cubicBezTo>
                  <a:cubicBezTo>
                    <a:pt x="4268477" y="2468851"/>
                    <a:pt x="4261085" y="2480396"/>
                    <a:pt x="4243197" y="2482006"/>
                  </a:cubicBezTo>
                  <a:close/>
                  <a:moveTo>
                    <a:pt x="4263381" y="2340883"/>
                  </a:moveTo>
                  <a:cubicBezTo>
                    <a:pt x="4255418" y="2343969"/>
                    <a:pt x="4247398" y="2332406"/>
                    <a:pt x="4239359" y="2327281"/>
                  </a:cubicBezTo>
                  <a:cubicBezTo>
                    <a:pt x="4231653" y="2322347"/>
                    <a:pt x="4231653" y="2314928"/>
                    <a:pt x="4236044" y="2307012"/>
                  </a:cubicBezTo>
                  <a:cubicBezTo>
                    <a:pt x="4241464" y="2297487"/>
                    <a:pt x="4247703" y="2289096"/>
                    <a:pt x="4259828" y="2288638"/>
                  </a:cubicBezTo>
                  <a:cubicBezTo>
                    <a:pt x="4264600" y="2288543"/>
                    <a:pt x="4266943" y="2292744"/>
                    <a:pt x="4266943" y="2297278"/>
                  </a:cubicBezTo>
                  <a:cubicBezTo>
                    <a:pt x="4267391" y="2303383"/>
                    <a:pt x="4267267" y="2309393"/>
                    <a:pt x="4267267" y="2319576"/>
                  </a:cubicBezTo>
                  <a:cubicBezTo>
                    <a:pt x="4266533" y="2324395"/>
                    <a:pt x="4271601" y="2337645"/>
                    <a:pt x="4263381" y="2340883"/>
                  </a:cubicBezTo>
                  <a:close/>
                  <a:moveTo>
                    <a:pt x="4277392" y="2091738"/>
                  </a:moveTo>
                  <a:cubicBezTo>
                    <a:pt x="4272810" y="2093081"/>
                    <a:pt x="4270420" y="2087794"/>
                    <a:pt x="4268619" y="2083775"/>
                  </a:cubicBezTo>
                  <a:cubicBezTo>
                    <a:pt x="4267819" y="2075098"/>
                    <a:pt x="4265800" y="2066201"/>
                    <a:pt x="4273782" y="2059286"/>
                  </a:cubicBezTo>
                  <a:cubicBezTo>
                    <a:pt x="4274420" y="2049771"/>
                    <a:pt x="4280592" y="2053828"/>
                    <a:pt x="4281840" y="2057486"/>
                  </a:cubicBezTo>
                  <a:cubicBezTo>
                    <a:pt x="4284717" y="2065115"/>
                    <a:pt x="4289689" y="2073507"/>
                    <a:pt x="4283802" y="2082175"/>
                  </a:cubicBezTo>
                  <a:cubicBezTo>
                    <a:pt x="4281773" y="2085499"/>
                    <a:pt x="4280307" y="2091147"/>
                    <a:pt x="4277392" y="2091738"/>
                  </a:cubicBezTo>
                  <a:close/>
                  <a:moveTo>
                    <a:pt x="4704455" y="2438048"/>
                  </a:moveTo>
                  <a:cubicBezTo>
                    <a:pt x="4703312" y="2439191"/>
                    <a:pt x="4702150" y="2440324"/>
                    <a:pt x="4701131" y="2441534"/>
                  </a:cubicBezTo>
                  <a:cubicBezTo>
                    <a:pt x="4696959" y="2447754"/>
                    <a:pt x="4691301" y="2452611"/>
                    <a:pt x="4685300" y="2457012"/>
                  </a:cubicBezTo>
                  <a:cubicBezTo>
                    <a:pt x="4675947" y="2469156"/>
                    <a:pt x="4675470" y="2480396"/>
                    <a:pt x="4685538" y="2493045"/>
                  </a:cubicBezTo>
                  <a:cubicBezTo>
                    <a:pt x="4691348" y="2500113"/>
                    <a:pt x="4690186" y="2508780"/>
                    <a:pt x="4681900" y="2515038"/>
                  </a:cubicBezTo>
                  <a:cubicBezTo>
                    <a:pt x="4678690" y="2516153"/>
                    <a:pt x="4679080" y="2519410"/>
                    <a:pt x="4678175" y="2521944"/>
                  </a:cubicBezTo>
                  <a:cubicBezTo>
                    <a:pt x="4676108" y="2534222"/>
                    <a:pt x="4670336" y="2545594"/>
                    <a:pt x="4664174" y="2556120"/>
                  </a:cubicBezTo>
                  <a:cubicBezTo>
                    <a:pt x="4652725" y="2575389"/>
                    <a:pt x="4630932" y="2580399"/>
                    <a:pt x="4603185" y="2571369"/>
                  </a:cubicBezTo>
                  <a:cubicBezTo>
                    <a:pt x="4580725" y="2570636"/>
                    <a:pt x="4580725" y="2570636"/>
                    <a:pt x="4582087" y="2598715"/>
                  </a:cubicBezTo>
                  <a:cubicBezTo>
                    <a:pt x="4587116" y="2606754"/>
                    <a:pt x="4584250" y="2615556"/>
                    <a:pt x="4584954" y="2624014"/>
                  </a:cubicBezTo>
                  <a:cubicBezTo>
                    <a:pt x="4585269" y="2628995"/>
                    <a:pt x="4581906" y="2629376"/>
                    <a:pt x="4577944" y="2629624"/>
                  </a:cubicBezTo>
                  <a:cubicBezTo>
                    <a:pt x="4554274" y="2631081"/>
                    <a:pt x="4530424" y="2627243"/>
                    <a:pt x="4506954" y="2632024"/>
                  </a:cubicBezTo>
                  <a:cubicBezTo>
                    <a:pt x="4501563" y="2633091"/>
                    <a:pt x="4497391" y="2626614"/>
                    <a:pt x="4496648" y="2620556"/>
                  </a:cubicBezTo>
                  <a:cubicBezTo>
                    <a:pt x="4485846" y="2608364"/>
                    <a:pt x="4479617" y="2591772"/>
                    <a:pt x="4462110" y="2586009"/>
                  </a:cubicBezTo>
                  <a:cubicBezTo>
                    <a:pt x="4453785" y="2585523"/>
                    <a:pt x="4444956" y="2583123"/>
                    <a:pt x="4437755" y="2589857"/>
                  </a:cubicBezTo>
                  <a:cubicBezTo>
                    <a:pt x="4436545" y="2592886"/>
                    <a:pt x="4434431" y="2594810"/>
                    <a:pt x="4431335" y="2596086"/>
                  </a:cubicBezTo>
                  <a:cubicBezTo>
                    <a:pt x="4426725" y="2610098"/>
                    <a:pt x="4416466" y="2610479"/>
                    <a:pt x="4404884" y="2605754"/>
                  </a:cubicBezTo>
                  <a:cubicBezTo>
                    <a:pt x="4393378" y="2600954"/>
                    <a:pt x="4382453" y="2595258"/>
                    <a:pt x="4371023" y="2589886"/>
                  </a:cubicBezTo>
                  <a:cubicBezTo>
                    <a:pt x="4347706" y="2587371"/>
                    <a:pt x="4324474" y="2589143"/>
                    <a:pt x="4301128" y="2592724"/>
                  </a:cubicBezTo>
                  <a:cubicBezTo>
                    <a:pt x="4295566" y="2593429"/>
                    <a:pt x="4287479" y="2596372"/>
                    <a:pt x="4284193" y="2589876"/>
                  </a:cubicBezTo>
                  <a:cubicBezTo>
                    <a:pt x="4280869" y="2581656"/>
                    <a:pt x="4285679" y="2573884"/>
                    <a:pt x="4291841" y="2568016"/>
                  </a:cubicBezTo>
                  <a:cubicBezTo>
                    <a:pt x="4296509" y="2563711"/>
                    <a:pt x="4302366" y="2561416"/>
                    <a:pt x="4308853" y="2561606"/>
                  </a:cubicBezTo>
                  <a:cubicBezTo>
                    <a:pt x="4324083" y="2555719"/>
                    <a:pt x="4340438" y="2557948"/>
                    <a:pt x="4355506" y="2559672"/>
                  </a:cubicBezTo>
                  <a:cubicBezTo>
                    <a:pt x="4369366" y="2561263"/>
                    <a:pt x="4383062" y="2560739"/>
                    <a:pt x="4396645" y="2562597"/>
                  </a:cubicBezTo>
                  <a:cubicBezTo>
                    <a:pt x="4400626" y="2559796"/>
                    <a:pt x="4400855" y="2558425"/>
                    <a:pt x="4395816" y="2555548"/>
                  </a:cubicBezTo>
                  <a:cubicBezTo>
                    <a:pt x="4383510" y="2548233"/>
                    <a:pt x="4371975" y="2539889"/>
                    <a:pt x="4359536" y="2531593"/>
                  </a:cubicBezTo>
                  <a:cubicBezTo>
                    <a:pt x="4384148" y="2517534"/>
                    <a:pt x="4409228" y="2508409"/>
                    <a:pt x="4437469" y="2521420"/>
                  </a:cubicBezTo>
                  <a:cubicBezTo>
                    <a:pt x="4443870" y="2522887"/>
                    <a:pt x="4450004" y="2524544"/>
                    <a:pt x="4453157" y="2531040"/>
                  </a:cubicBezTo>
                  <a:cubicBezTo>
                    <a:pt x="4464025" y="2535650"/>
                    <a:pt x="4471702" y="2544032"/>
                    <a:pt x="4479122" y="2552614"/>
                  </a:cubicBezTo>
                  <a:cubicBezTo>
                    <a:pt x="4485132" y="2558796"/>
                    <a:pt x="4490971" y="2564940"/>
                    <a:pt x="4497039" y="2571150"/>
                  </a:cubicBezTo>
                  <a:cubicBezTo>
                    <a:pt x="4505744" y="2570636"/>
                    <a:pt x="4512221" y="2580466"/>
                    <a:pt x="4521842" y="2576941"/>
                  </a:cubicBezTo>
                  <a:lnTo>
                    <a:pt x="4521956" y="2576941"/>
                  </a:lnTo>
                  <a:cubicBezTo>
                    <a:pt x="4521051" y="2572865"/>
                    <a:pt x="4520270" y="2568692"/>
                    <a:pt x="4519403" y="2564511"/>
                  </a:cubicBezTo>
                  <a:cubicBezTo>
                    <a:pt x="4519022" y="2563740"/>
                    <a:pt x="4518879" y="2563092"/>
                    <a:pt x="4519022" y="2562387"/>
                  </a:cubicBezTo>
                  <a:cubicBezTo>
                    <a:pt x="4516841" y="2559234"/>
                    <a:pt x="4514660" y="2556148"/>
                    <a:pt x="4512574" y="2552995"/>
                  </a:cubicBezTo>
                  <a:cubicBezTo>
                    <a:pt x="4501839" y="2543518"/>
                    <a:pt x="4487294" y="2538508"/>
                    <a:pt x="4479617" y="2525325"/>
                  </a:cubicBezTo>
                  <a:cubicBezTo>
                    <a:pt x="4473083" y="2513905"/>
                    <a:pt x="4474245" y="2510781"/>
                    <a:pt x="4487418" y="2509361"/>
                  </a:cubicBezTo>
                  <a:cubicBezTo>
                    <a:pt x="4494810" y="2508428"/>
                    <a:pt x="4502106" y="2507771"/>
                    <a:pt x="4509431" y="2506990"/>
                  </a:cubicBezTo>
                  <a:cubicBezTo>
                    <a:pt x="4526413" y="2507313"/>
                    <a:pt x="4543597" y="2502951"/>
                    <a:pt x="4560265" y="2509361"/>
                  </a:cubicBezTo>
                  <a:cubicBezTo>
                    <a:pt x="4576363" y="2505066"/>
                    <a:pt x="4590050" y="2516372"/>
                    <a:pt x="4605814" y="2515781"/>
                  </a:cubicBezTo>
                  <a:cubicBezTo>
                    <a:pt x="4613415" y="2515429"/>
                    <a:pt x="4618940" y="2513886"/>
                    <a:pt x="4622511" y="2505447"/>
                  </a:cubicBezTo>
                  <a:cubicBezTo>
                    <a:pt x="4607281" y="2499160"/>
                    <a:pt x="4592098" y="2492769"/>
                    <a:pt x="4576125" y="2486177"/>
                  </a:cubicBezTo>
                  <a:cubicBezTo>
                    <a:pt x="4591050" y="2469347"/>
                    <a:pt x="4611453" y="2458631"/>
                    <a:pt x="4628693" y="2444639"/>
                  </a:cubicBezTo>
                  <a:cubicBezTo>
                    <a:pt x="4641847" y="2433809"/>
                    <a:pt x="4655116" y="2423455"/>
                    <a:pt x="4667393" y="2411663"/>
                  </a:cubicBezTo>
                  <a:cubicBezTo>
                    <a:pt x="4672537" y="2406710"/>
                    <a:pt x="4669946" y="2402919"/>
                    <a:pt x="4669212" y="2398395"/>
                  </a:cubicBezTo>
                  <a:cubicBezTo>
                    <a:pt x="4650353" y="2401214"/>
                    <a:pt x="4634475" y="2410349"/>
                    <a:pt x="4619149" y="2420512"/>
                  </a:cubicBezTo>
                  <a:cubicBezTo>
                    <a:pt x="4618492" y="2421465"/>
                    <a:pt x="4617854" y="2422236"/>
                    <a:pt x="4617092" y="2422998"/>
                  </a:cubicBezTo>
                  <a:cubicBezTo>
                    <a:pt x="4610738" y="2428170"/>
                    <a:pt x="4604099" y="2433504"/>
                    <a:pt x="4597584" y="2438648"/>
                  </a:cubicBezTo>
                  <a:cubicBezTo>
                    <a:pt x="4594365" y="2440896"/>
                    <a:pt x="4595555" y="2447992"/>
                    <a:pt x="4590545" y="2447058"/>
                  </a:cubicBezTo>
                  <a:cubicBezTo>
                    <a:pt x="4582802" y="2445849"/>
                    <a:pt x="4585926" y="2436581"/>
                    <a:pt x="4581544" y="2432580"/>
                  </a:cubicBezTo>
                  <a:cubicBezTo>
                    <a:pt x="4576925" y="2431647"/>
                    <a:pt x="4573096" y="2433123"/>
                    <a:pt x="4569371" y="2435638"/>
                  </a:cubicBezTo>
                  <a:cubicBezTo>
                    <a:pt x="4560818" y="2449430"/>
                    <a:pt x="4551903" y="2463089"/>
                    <a:pt x="4538053" y="2472566"/>
                  </a:cubicBezTo>
                  <a:cubicBezTo>
                    <a:pt x="4534777" y="2478472"/>
                    <a:pt x="4529024" y="2480786"/>
                    <a:pt x="4522794" y="2481758"/>
                  </a:cubicBezTo>
                  <a:cubicBezTo>
                    <a:pt x="4508078" y="2484015"/>
                    <a:pt x="4493391" y="2486482"/>
                    <a:pt x="4478646" y="2487921"/>
                  </a:cubicBezTo>
                  <a:cubicBezTo>
                    <a:pt x="4464816" y="2489111"/>
                    <a:pt x="4463463" y="2486854"/>
                    <a:pt x="4462101" y="2465051"/>
                  </a:cubicBezTo>
                  <a:cubicBezTo>
                    <a:pt x="4452766" y="2466804"/>
                    <a:pt x="4445261" y="2470604"/>
                    <a:pt x="4439955" y="2478491"/>
                  </a:cubicBezTo>
                  <a:cubicBezTo>
                    <a:pt x="4434155" y="2489426"/>
                    <a:pt x="4424534" y="2494160"/>
                    <a:pt x="4412390" y="2494798"/>
                  </a:cubicBezTo>
                  <a:cubicBezTo>
                    <a:pt x="4398436" y="2502856"/>
                    <a:pt x="4381738" y="2503237"/>
                    <a:pt x="4366670" y="2505209"/>
                  </a:cubicBezTo>
                  <a:cubicBezTo>
                    <a:pt x="4346248" y="2507790"/>
                    <a:pt x="4332808" y="2521734"/>
                    <a:pt x="4316006" y="2529688"/>
                  </a:cubicBezTo>
                  <a:cubicBezTo>
                    <a:pt x="4304805" y="2534955"/>
                    <a:pt x="4293765" y="2539251"/>
                    <a:pt x="4282240" y="2543251"/>
                  </a:cubicBezTo>
                  <a:cubicBezTo>
                    <a:pt x="4274592" y="2516181"/>
                    <a:pt x="4286860" y="2500675"/>
                    <a:pt x="4319950" y="2490254"/>
                  </a:cubicBezTo>
                  <a:cubicBezTo>
                    <a:pt x="4361841" y="2477072"/>
                    <a:pt x="4408894" y="2481615"/>
                    <a:pt x="4446356" y="2453202"/>
                  </a:cubicBezTo>
                  <a:cubicBezTo>
                    <a:pt x="4456567" y="2445753"/>
                    <a:pt x="4468949" y="2445877"/>
                    <a:pt x="4482646" y="2446706"/>
                  </a:cubicBezTo>
                  <a:cubicBezTo>
                    <a:pt x="4520270" y="2448887"/>
                    <a:pt x="4531719" y="2454697"/>
                    <a:pt x="4553665" y="2414045"/>
                  </a:cubicBezTo>
                  <a:cubicBezTo>
                    <a:pt x="4554874" y="2411511"/>
                    <a:pt x="4557732" y="2409606"/>
                    <a:pt x="4559637" y="2407425"/>
                  </a:cubicBezTo>
                  <a:cubicBezTo>
                    <a:pt x="4559608" y="2403043"/>
                    <a:pt x="4561408" y="2399910"/>
                    <a:pt x="4565609" y="2398328"/>
                  </a:cubicBezTo>
                  <a:cubicBezTo>
                    <a:pt x="4572029" y="2390004"/>
                    <a:pt x="4579563" y="2392356"/>
                    <a:pt x="4587421" y="2395785"/>
                  </a:cubicBezTo>
                  <a:cubicBezTo>
                    <a:pt x="4595546" y="2393918"/>
                    <a:pt x="4598070" y="2402405"/>
                    <a:pt x="4604081" y="2404339"/>
                  </a:cubicBezTo>
                  <a:cubicBezTo>
                    <a:pt x="4605119" y="2404339"/>
                    <a:pt x="4605995" y="2404510"/>
                    <a:pt x="4606995" y="2404777"/>
                  </a:cubicBezTo>
                  <a:cubicBezTo>
                    <a:pt x="4607747" y="2404396"/>
                    <a:pt x="4608633" y="2404396"/>
                    <a:pt x="4609653" y="2404777"/>
                  </a:cubicBezTo>
                  <a:cubicBezTo>
                    <a:pt x="4612701" y="2404720"/>
                    <a:pt x="4615615" y="2404510"/>
                    <a:pt x="4618768" y="2404224"/>
                  </a:cubicBezTo>
                  <a:cubicBezTo>
                    <a:pt x="4619673" y="2400548"/>
                    <a:pt x="4622654" y="2401500"/>
                    <a:pt x="4625235" y="2401424"/>
                  </a:cubicBezTo>
                  <a:cubicBezTo>
                    <a:pt x="4638837" y="2381260"/>
                    <a:pt x="4646781" y="2357790"/>
                    <a:pt x="4664383" y="2340150"/>
                  </a:cubicBezTo>
                  <a:cubicBezTo>
                    <a:pt x="4671746" y="2332787"/>
                    <a:pt x="4677089" y="2331082"/>
                    <a:pt x="4687605" y="2338550"/>
                  </a:cubicBezTo>
                  <a:cubicBezTo>
                    <a:pt x="4699073" y="2346798"/>
                    <a:pt x="4709684" y="2354685"/>
                    <a:pt x="4716599" y="2366867"/>
                  </a:cubicBezTo>
                  <a:cubicBezTo>
                    <a:pt x="4743384" y="2400319"/>
                    <a:pt x="4736297" y="2412425"/>
                    <a:pt x="4704455" y="2438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7" name="Полилиния: фигура 1416">
              <a:extLst>
                <a:ext uri="{FF2B5EF4-FFF2-40B4-BE49-F238E27FC236}">
                  <a16:creationId xmlns:a16="http://schemas.microsoft.com/office/drawing/2014/main" id="{CED51FD1-BAFF-4E6D-AAEE-947BF2B28CF1}"/>
                </a:ext>
              </a:extLst>
            </p:cNvPr>
            <p:cNvSpPr/>
            <p:nvPr/>
          </p:nvSpPr>
          <p:spPr>
            <a:xfrm>
              <a:off x="7957526" y="1702526"/>
              <a:ext cx="63766" cy="92182"/>
            </a:xfrm>
            <a:custGeom>
              <a:avLst/>
              <a:gdLst>
                <a:gd name="connsiteX0" fmla="*/ 14659 w 63766"/>
                <a:gd name="connsiteY0" fmla="*/ 21850 h 92182"/>
                <a:gd name="connsiteX1" fmla="*/ 37119 w 63766"/>
                <a:gd name="connsiteY1" fmla="*/ 39719 h 92182"/>
                <a:gd name="connsiteX2" fmla="*/ 48806 w 63766"/>
                <a:gd name="connsiteY2" fmla="*/ 49778 h 92182"/>
                <a:gd name="connsiteX3" fmla="*/ 49054 w 63766"/>
                <a:gd name="connsiteY3" fmla="*/ 49606 h 92182"/>
                <a:gd name="connsiteX4" fmla="*/ 44415 w 63766"/>
                <a:gd name="connsiteY4" fmla="*/ 34966 h 92182"/>
                <a:gd name="connsiteX5" fmla="*/ 36633 w 63766"/>
                <a:gd name="connsiteY5" fmla="*/ 8372 h 92182"/>
                <a:gd name="connsiteX6" fmla="*/ 50283 w 63766"/>
                <a:gd name="connsiteY6" fmla="*/ 0 h 92182"/>
                <a:gd name="connsiteX7" fmla="*/ 58988 w 63766"/>
                <a:gd name="connsiteY7" fmla="*/ 38300 h 92182"/>
                <a:gd name="connsiteX8" fmla="*/ 63684 w 63766"/>
                <a:gd name="connsiteY8" fmla="*/ 71342 h 92182"/>
                <a:gd name="connsiteX9" fmla="*/ 53731 w 63766"/>
                <a:gd name="connsiteY9" fmla="*/ 89335 h 92182"/>
                <a:gd name="connsiteX10" fmla="*/ 46692 w 63766"/>
                <a:gd name="connsiteY10" fmla="*/ 92183 h 92182"/>
                <a:gd name="connsiteX11" fmla="*/ 40357 w 63766"/>
                <a:gd name="connsiteY11" fmla="*/ 79781 h 92182"/>
                <a:gd name="connsiteX12" fmla="*/ 44910 w 63766"/>
                <a:gd name="connsiteY12" fmla="*/ 77657 h 92182"/>
                <a:gd name="connsiteX13" fmla="*/ 48920 w 63766"/>
                <a:gd name="connsiteY13" fmla="*/ 66780 h 92182"/>
                <a:gd name="connsiteX14" fmla="*/ 46911 w 63766"/>
                <a:gd name="connsiteY14" fmla="*/ 63884 h 92182"/>
                <a:gd name="connsiteX15" fmla="*/ 0 w 63766"/>
                <a:gd name="connsiteY15" fmla="*/ 30842 h 92182"/>
                <a:gd name="connsiteX16" fmla="*/ 14659 w 63766"/>
                <a:gd name="connsiteY16" fmla="*/ 21850 h 92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766" h="92182">
                  <a:moveTo>
                    <a:pt x="14659" y="21850"/>
                  </a:moveTo>
                  <a:lnTo>
                    <a:pt x="37119" y="39719"/>
                  </a:lnTo>
                  <a:cubicBezTo>
                    <a:pt x="41520" y="43434"/>
                    <a:pt x="45082" y="46577"/>
                    <a:pt x="48806" y="49778"/>
                  </a:cubicBezTo>
                  <a:lnTo>
                    <a:pt x="49054" y="49606"/>
                  </a:lnTo>
                  <a:cubicBezTo>
                    <a:pt x="48101" y="46330"/>
                    <a:pt x="46349" y="41396"/>
                    <a:pt x="44415" y="34966"/>
                  </a:cubicBezTo>
                  <a:lnTo>
                    <a:pt x="36633" y="8372"/>
                  </a:lnTo>
                  <a:lnTo>
                    <a:pt x="50283" y="0"/>
                  </a:lnTo>
                  <a:lnTo>
                    <a:pt x="58988" y="38300"/>
                  </a:lnTo>
                  <a:cubicBezTo>
                    <a:pt x="61760" y="50635"/>
                    <a:pt x="64256" y="62713"/>
                    <a:pt x="63684" y="71342"/>
                  </a:cubicBezTo>
                  <a:cubicBezTo>
                    <a:pt x="63198" y="78972"/>
                    <a:pt x="60455" y="85211"/>
                    <a:pt x="53731" y="89335"/>
                  </a:cubicBezTo>
                  <a:cubicBezTo>
                    <a:pt x="50749" y="91164"/>
                    <a:pt x="48711" y="91878"/>
                    <a:pt x="46692" y="92183"/>
                  </a:cubicBezTo>
                  <a:lnTo>
                    <a:pt x="40357" y="79781"/>
                  </a:lnTo>
                  <a:cubicBezTo>
                    <a:pt x="41558" y="79448"/>
                    <a:pt x="43044" y="78800"/>
                    <a:pt x="44910" y="77657"/>
                  </a:cubicBezTo>
                  <a:cubicBezTo>
                    <a:pt x="48920" y="75190"/>
                    <a:pt x="49730" y="70428"/>
                    <a:pt x="48920" y="66780"/>
                  </a:cubicBezTo>
                  <a:cubicBezTo>
                    <a:pt x="48768" y="65408"/>
                    <a:pt x="47977" y="64684"/>
                    <a:pt x="46911" y="63884"/>
                  </a:cubicBezTo>
                  <a:lnTo>
                    <a:pt x="0" y="30842"/>
                  </a:lnTo>
                  <a:lnTo>
                    <a:pt x="14659" y="218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8" name="Полилиния: фигура 1417">
              <a:extLst>
                <a:ext uri="{FF2B5EF4-FFF2-40B4-BE49-F238E27FC236}">
                  <a16:creationId xmlns:a16="http://schemas.microsoft.com/office/drawing/2014/main" id="{C2D4A876-8300-404C-BAA7-E5B95CE3FE26}"/>
                </a:ext>
              </a:extLst>
            </p:cNvPr>
            <p:cNvSpPr/>
            <p:nvPr/>
          </p:nvSpPr>
          <p:spPr>
            <a:xfrm>
              <a:off x="8015410" y="1670951"/>
              <a:ext cx="85972" cy="94097"/>
            </a:xfrm>
            <a:custGeom>
              <a:avLst/>
              <a:gdLst>
                <a:gd name="connsiteX0" fmla="*/ 13335 w 85972"/>
                <a:gd name="connsiteY0" fmla="*/ 19669 h 94097"/>
                <a:gd name="connsiteX1" fmla="*/ 27737 w 85972"/>
                <a:gd name="connsiteY1" fmla="*/ 45406 h 94097"/>
                <a:gd name="connsiteX2" fmla="*/ 49635 w 85972"/>
                <a:gd name="connsiteY2" fmla="*/ 33157 h 94097"/>
                <a:gd name="connsiteX3" fmla="*/ 35242 w 85972"/>
                <a:gd name="connsiteY3" fmla="*/ 7420 h 94097"/>
                <a:gd name="connsiteX4" fmla="*/ 48511 w 85972"/>
                <a:gd name="connsiteY4" fmla="*/ 0 h 94097"/>
                <a:gd name="connsiteX5" fmla="*/ 85973 w 85972"/>
                <a:gd name="connsiteY5" fmla="*/ 66951 h 94097"/>
                <a:gd name="connsiteX6" fmla="*/ 72714 w 85972"/>
                <a:gd name="connsiteY6" fmla="*/ 74381 h 94097"/>
                <a:gd name="connsiteX7" fmla="*/ 57026 w 85972"/>
                <a:gd name="connsiteY7" fmla="*/ 46358 h 94097"/>
                <a:gd name="connsiteX8" fmla="*/ 35147 w 85972"/>
                <a:gd name="connsiteY8" fmla="*/ 58607 h 94097"/>
                <a:gd name="connsiteX9" fmla="*/ 50797 w 85972"/>
                <a:gd name="connsiteY9" fmla="*/ 86620 h 94097"/>
                <a:gd name="connsiteX10" fmla="*/ 37452 w 85972"/>
                <a:gd name="connsiteY10" fmla="*/ 94098 h 94097"/>
                <a:gd name="connsiteX11" fmla="*/ 0 w 85972"/>
                <a:gd name="connsiteY11" fmla="*/ 27137 h 94097"/>
                <a:gd name="connsiteX12" fmla="*/ 13335 w 85972"/>
                <a:gd name="connsiteY12" fmla="*/ 19669 h 94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972" h="94097">
                  <a:moveTo>
                    <a:pt x="13335" y="19669"/>
                  </a:moveTo>
                  <a:lnTo>
                    <a:pt x="27737" y="45406"/>
                  </a:lnTo>
                  <a:lnTo>
                    <a:pt x="49635" y="33157"/>
                  </a:lnTo>
                  <a:lnTo>
                    <a:pt x="35242" y="7420"/>
                  </a:lnTo>
                  <a:lnTo>
                    <a:pt x="48511" y="0"/>
                  </a:lnTo>
                  <a:lnTo>
                    <a:pt x="85973" y="66951"/>
                  </a:lnTo>
                  <a:lnTo>
                    <a:pt x="72714" y="74381"/>
                  </a:lnTo>
                  <a:lnTo>
                    <a:pt x="57026" y="46358"/>
                  </a:lnTo>
                  <a:lnTo>
                    <a:pt x="35147" y="58607"/>
                  </a:lnTo>
                  <a:lnTo>
                    <a:pt x="50797" y="86620"/>
                  </a:lnTo>
                  <a:lnTo>
                    <a:pt x="37452" y="94098"/>
                  </a:lnTo>
                  <a:lnTo>
                    <a:pt x="0" y="27137"/>
                  </a:lnTo>
                  <a:lnTo>
                    <a:pt x="13335" y="196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9" name="Полилиния: фигура 1418">
              <a:extLst>
                <a:ext uri="{FF2B5EF4-FFF2-40B4-BE49-F238E27FC236}">
                  <a16:creationId xmlns:a16="http://schemas.microsoft.com/office/drawing/2014/main" id="{D1C24E79-FD9D-4063-AE82-A0E91493CEF8}"/>
                </a:ext>
              </a:extLst>
            </p:cNvPr>
            <p:cNvSpPr/>
            <p:nvPr/>
          </p:nvSpPr>
          <p:spPr>
            <a:xfrm>
              <a:off x="8078199" y="1638375"/>
              <a:ext cx="84229" cy="93525"/>
            </a:xfrm>
            <a:custGeom>
              <a:avLst/>
              <a:gdLst>
                <a:gd name="connsiteX0" fmla="*/ 12506 w 84229"/>
                <a:gd name="connsiteY0" fmla="*/ 18783 h 93525"/>
                <a:gd name="connsiteX1" fmla="*/ 22736 w 84229"/>
                <a:gd name="connsiteY1" fmla="*/ 39091 h 93525"/>
                <a:gd name="connsiteX2" fmla="*/ 37624 w 84229"/>
                <a:gd name="connsiteY2" fmla="*/ 70418 h 93525"/>
                <a:gd name="connsiteX3" fmla="*/ 37995 w 84229"/>
                <a:gd name="connsiteY3" fmla="*/ 70237 h 93525"/>
                <a:gd name="connsiteX4" fmla="*/ 36433 w 84229"/>
                <a:gd name="connsiteY4" fmla="*/ 40472 h 93525"/>
                <a:gd name="connsiteX5" fmla="*/ 35795 w 84229"/>
                <a:gd name="connsiteY5" fmla="*/ 7029 h 93525"/>
                <a:gd name="connsiteX6" fmla="*/ 49730 w 84229"/>
                <a:gd name="connsiteY6" fmla="*/ 0 h 93525"/>
                <a:gd name="connsiteX7" fmla="*/ 84230 w 84229"/>
                <a:gd name="connsiteY7" fmla="*/ 68447 h 93525"/>
                <a:gd name="connsiteX8" fmla="*/ 71723 w 84229"/>
                <a:gd name="connsiteY8" fmla="*/ 74743 h 93525"/>
                <a:gd name="connsiteX9" fmla="*/ 61551 w 84229"/>
                <a:gd name="connsiteY9" fmla="*/ 54540 h 93525"/>
                <a:gd name="connsiteX10" fmla="*/ 47996 w 84229"/>
                <a:gd name="connsiteY10" fmla="*/ 25213 h 93525"/>
                <a:gd name="connsiteX11" fmla="*/ 47720 w 84229"/>
                <a:gd name="connsiteY11" fmla="*/ 25346 h 93525"/>
                <a:gd name="connsiteX12" fmla="*/ 49825 w 84229"/>
                <a:gd name="connsiteY12" fmla="*/ 54855 h 93525"/>
                <a:gd name="connsiteX13" fmla="*/ 50035 w 84229"/>
                <a:gd name="connsiteY13" fmla="*/ 85696 h 93525"/>
                <a:gd name="connsiteX14" fmla="*/ 34490 w 84229"/>
                <a:gd name="connsiteY14" fmla="*/ 93526 h 93525"/>
                <a:gd name="connsiteX15" fmla="*/ 0 w 84229"/>
                <a:gd name="connsiteY15" fmla="*/ 25079 h 93525"/>
                <a:gd name="connsiteX16" fmla="*/ 12506 w 84229"/>
                <a:gd name="connsiteY16" fmla="*/ 18783 h 9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4229" h="93525">
                  <a:moveTo>
                    <a:pt x="12506" y="18783"/>
                  </a:moveTo>
                  <a:lnTo>
                    <a:pt x="22736" y="39091"/>
                  </a:lnTo>
                  <a:cubicBezTo>
                    <a:pt x="28261" y="50054"/>
                    <a:pt x="33566" y="61017"/>
                    <a:pt x="37624" y="70418"/>
                  </a:cubicBezTo>
                  <a:lnTo>
                    <a:pt x="37995" y="70237"/>
                  </a:lnTo>
                  <a:cubicBezTo>
                    <a:pt x="37071" y="60646"/>
                    <a:pt x="36528" y="49578"/>
                    <a:pt x="36433" y="40472"/>
                  </a:cubicBezTo>
                  <a:lnTo>
                    <a:pt x="35795" y="7029"/>
                  </a:lnTo>
                  <a:lnTo>
                    <a:pt x="49730" y="0"/>
                  </a:lnTo>
                  <a:lnTo>
                    <a:pt x="84230" y="68447"/>
                  </a:lnTo>
                  <a:lnTo>
                    <a:pt x="71723" y="74743"/>
                  </a:lnTo>
                  <a:lnTo>
                    <a:pt x="61551" y="54540"/>
                  </a:lnTo>
                  <a:cubicBezTo>
                    <a:pt x="56216" y="43977"/>
                    <a:pt x="51692" y="34547"/>
                    <a:pt x="47996" y="25213"/>
                  </a:cubicBezTo>
                  <a:lnTo>
                    <a:pt x="47720" y="25346"/>
                  </a:lnTo>
                  <a:cubicBezTo>
                    <a:pt x="49063" y="34862"/>
                    <a:pt x="49759" y="45834"/>
                    <a:pt x="49825" y="54855"/>
                  </a:cubicBezTo>
                  <a:lnTo>
                    <a:pt x="50035" y="85696"/>
                  </a:lnTo>
                  <a:lnTo>
                    <a:pt x="34490" y="93526"/>
                  </a:lnTo>
                  <a:lnTo>
                    <a:pt x="0" y="25079"/>
                  </a:lnTo>
                  <a:lnTo>
                    <a:pt x="12506" y="187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0" name="Полилиния: фигура 1419">
              <a:extLst>
                <a:ext uri="{FF2B5EF4-FFF2-40B4-BE49-F238E27FC236}">
                  <a16:creationId xmlns:a16="http://schemas.microsoft.com/office/drawing/2014/main" id="{C2449688-9B02-4800-8179-31D3216035F8}"/>
                </a:ext>
              </a:extLst>
            </p:cNvPr>
            <p:cNvSpPr/>
            <p:nvPr/>
          </p:nvSpPr>
          <p:spPr>
            <a:xfrm>
              <a:off x="8142711" y="1618443"/>
              <a:ext cx="69640" cy="82730"/>
            </a:xfrm>
            <a:custGeom>
              <a:avLst/>
              <a:gdLst>
                <a:gd name="connsiteX0" fmla="*/ 0 w 69640"/>
                <a:gd name="connsiteY0" fmla="*/ 14141 h 82730"/>
                <a:gd name="connsiteX1" fmla="*/ 17317 w 69640"/>
                <a:gd name="connsiteY1" fmla="*/ 4569 h 82730"/>
                <a:gd name="connsiteX2" fmla="*/ 37243 w 69640"/>
                <a:gd name="connsiteY2" fmla="*/ 302 h 82730"/>
                <a:gd name="connsiteX3" fmla="*/ 50825 w 69640"/>
                <a:gd name="connsiteY3" fmla="*/ 10627 h 82730"/>
                <a:gd name="connsiteX4" fmla="*/ 47444 w 69640"/>
                <a:gd name="connsiteY4" fmla="*/ 30124 h 82730"/>
                <a:gd name="connsiteX5" fmla="*/ 47558 w 69640"/>
                <a:gd name="connsiteY5" fmla="*/ 30334 h 82730"/>
                <a:gd name="connsiteX6" fmla="*/ 67561 w 69640"/>
                <a:gd name="connsiteY6" fmla="*/ 42002 h 82730"/>
                <a:gd name="connsiteX7" fmla="*/ 67885 w 69640"/>
                <a:gd name="connsiteY7" fmla="*/ 59709 h 82730"/>
                <a:gd name="connsiteX8" fmla="*/ 46606 w 69640"/>
                <a:gd name="connsiteY8" fmla="*/ 76959 h 82730"/>
                <a:gd name="connsiteX9" fmla="*/ 31071 w 69640"/>
                <a:gd name="connsiteY9" fmla="*/ 82731 h 82730"/>
                <a:gd name="connsiteX10" fmla="*/ 0 w 69640"/>
                <a:gd name="connsiteY10" fmla="*/ 14141 h 82730"/>
                <a:gd name="connsiteX11" fmla="*/ 25880 w 69640"/>
                <a:gd name="connsiteY11" fmla="*/ 34649 h 82730"/>
                <a:gd name="connsiteX12" fmla="*/ 30432 w 69640"/>
                <a:gd name="connsiteY12" fmla="*/ 32582 h 82730"/>
                <a:gd name="connsiteX13" fmla="*/ 37748 w 69640"/>
                <a:gd name="connsiteY13" fmla="*/ 18913 h 82730"/>
                <a:gd name="connsiteX14" fmla="*/ 24241 w 69640"/>
                <a:gd name="connsiteY14" fmla="*/ 15294 h 82730"/>
                <a:gd name="connsiteX15" fmla="*/ 18488 w 69640"/>
                <a:gd name="connsiteY15" fmla="*/ 18380 h 82730"/>
                <a:gd name="connsiteX16" fmla="*/ 25880 w 69640"/>
                <a:gd name="connsiteY16" fmla="*/ 34649 h 82730"/>
                <a:gd name="connsiteX17" fmla="*/ 39910 w 69640"/>
                <a:gd name="connsiteY17" fmla="*/ 65624 h 82730"/>
                <a:gd name="connsiteX18" fmla="*/ 45358 w 69640"/>
                <a:gd name="connsiteY18" fmla="*/ 63395 h 82730"/>
                <a:gd name="connsiteX19" fmla="*/ 52692 w 69640"/>
                <a:gd name="connsiteY19" fmla="*/ 47984 h 82730"/>
                <a:gd name="connsiteX20" fmla="*/ 35728 w 69640"/>
                <a:gd name="connsiteY20" fmla="*/ 43793 h 82730"/>
                <a:gd name="connsiteX21" fmla="*/ 30975 w 69640"/>
                <a:gd name="connsiteY21" fmla="*/ 45936 h 82730"/>
                <a:gd name="connsiteX22" fmla="*/ 39910 w 69640"/>
                <a:gd name="connsiteY22" fmla="*/ 65624 h 82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9640" h="82730">
                  <a:moveTo>
                    <a:pt x="0" y="14141"/>
                  </a:moveTo>
                  <a:cubicBezTo>
                    <a:pt x="3267" y="11665"/>
                    <a:pt x="10382" y="7703"/>
                    <a:pt x="17317" y="4569"/>
                  </a:cubicBezTo>
                  <a:cubicBezTo>
                    <a:pt x="25784" y="730"/>
                    <a:pt x="31404" y="-679"/>
                    <a:pt x="37243" y="302"/>
                  </a:cubicBezTo>
                  <a:cubicBezTo>
                    <a:pt x="42701" y="949"/>
                    <a:pt x="47958" y="4312"/>
                    <a:pt x="50825" y="10627"/>
                  </a:cubicBezTo>
                  <a:cubicBezTo>
                    <a:pt x="53626" y="16847"/>
                    <a:pt x="53083" y="24095"/>
                    <a:pt x="47444" y="30124"/>
                  </a:cubicBezTo>
                  <a:lnTo>
                    <a:pt x="47558" y="30334"/>
                  </a:lnTo>
                  <a:cubicBezTo>
                    <a:pt x="55559" y="29334"/>
                    <a:pt x="63484" y="32991"/>
                    <a:pt x="67561" y="42002"/>
                  </a:cubicBezTo>
                  <a:cubicBezTo>
                    <a:pt x="70428" y="48317"/>
                    <a:pt x="70133" y="54451"/>
                    <a:pt x="67885" y="59709"/>
                  </a:cubicBezTo>
                  <a:cubicBezTo>
                    <a:pt x="65256" y="65767"/>
                    <a:pt x="58807" y="71434"/>
                    <a:pt x="46606" y="76959"/>
                  </a:cubicBezTo>
                  <a:cubicBezTo>
                    <a:pt x="39767" y="80045"/>
                    <a:pt x="34404" y="81845"/>
                    <a:pt x="31071" y="82731"/>
                  </a:cubicBezTo>
                  <a:lnTo>
                    <a:pt x="0" y="14141"/>
                  </a:lnTo>
                  <a:close/>
                  <a:moveTo>
                    <a:pt x="25880" y="34649"/>
                  </a:moveTo>
                  <a:lnTo>
                    <a:pt x="30432" y="32582"/>
                  </a:lnTo>
                  <a:cubicBezTo>
                    <a:pt x="37729" y="29277"/>
                    <a:pt x="40119" y="24095"/>
                    <a:pt x="37748" y="18913"/>
                  </a:cubicBezTo>
                  <a:cubicBezTo>
                    <a:pt x="35357" y="13627"/>
                    <a:pt x="30537" y="12446"/>
                    <a:pt x="24241" y="15294"/>
                  </a:cubicBezTo>
                  <a:cubicBezTo>
                    <a:pt x="21231" y="16637"/>
                    <a:pt x="19593" y="17628"/>
                    <a:pt x="18488" y="18380"/>
                  </a:cubicBezTo>
                  <a:lnTo>
                    <a:pt x="25880" y="34649"/>
                  </a:lnTo>
                  <a:close/>
                  <a:moveTo>
                    <a:pt x="39910" y="65624"/>
                  </a:moveTo>
                  <a:cubicBezTo>
                    <a:pt x="41377" y="65214"/>
                    <a:pt x="43005" y="64472"/>
                    <a:pt x="45358" y="63395"/>
                  </a:cubicBezTo>
                  <a:cubicBezTo>
                    <a:pt x="51673" y="60547"/>
                    <a:pt x="56016" y="55337"/>
                    <a:pt x="52692" y="47984"/>
                  </a:cubicBezTo>
                  <a:cubicBezTo>
                    <a:pt x="49473" y="40935"/>
                    <a:pt x="42672" y="40659"/>
                    <a:pt x="35728" y="43793"/>
                  </a:cubicBezTo>
                  <a:lnTo>
                    <a:pt x="30975" y="45936"/>
                  </a:lnTo>
                  <a:lnTo>
                    <a:pt x="39910" y="656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1" name="Полилиния: фигура 1420">
              <a:extLst>
                <a:ext uri="{FF2B5EF4-FFF2-40B4-BE49-F238E27FC236}">
                  <a16:creationId xmlns:a16="http://schemas.microsoft.com/office/drawing/2014/main" id="{8114CE16-BAEA-4E11-9115-4EDEA6560956}"/>
                </a:ext>
              </a:extLst>
            </p:cNvPr>
            <p:cNvSpPr/>
            <p:nvPr/>
          </p:nvSpPr>
          <p:spPr>
            <a:xfrm>
              <a:off x="8199795" y="1590150"/>
              <a:ext cx="68903" cy="86772"/>
            </a:xfrm>
            <a:custGeom>
              <a:avLst/>
              <a:gdLst>
                <a:gd name="connsiteX0" fmla="*/ 53902 w 68903"/>
                <a:gd name="connsiteY0" fmla="*/ 41539 h 86772"/>
                <a:gd name="connsiteX1" fmla="*/ 30947 w 68903"/>
                <a:gd name="connsiteY1" fmla="*/ 50949 h 86772"/>
                <a:gd name="connsiteX2" fmla="*/ 37862 w 68903"/>
                <a:gd name="connsiteY2" fmla="*/ 67799 h 86772"/>
                <a:gd name="connsiteX3" fmla="*/ 63503 w 68903"/>
                <a:gd name="connsiteY3" fmla="*/ 57283 h 86772"/>
                <a:gd name="connsiteX4" fmla="*/ 68904 w 68903"/>
                <a:gd name="connsiteY4" fmla="*/ 70466 h 86772"/>
                <a:gd name="connsiteX5" fmla="*/ 29070 w 68903"/>
                <a:gd name="connsiteY5" fmla="*/ 86773 h 86772"/>
                <a:gd name="connsiteX6" fmla="*/ 0 w 68903"/>
                <a:gd name="connsiteY6" fmla="*/ 15773 h 86772"/>
                <a:gd name="connsiteX7" fmla="*/ 38510 w 68903"/>
                <a:gd name="connsiteY7" fmla="*/ 0 h 86772"/>
                <a:gd name="connsiteX8" fmla="*/ 43901 w 68903"/>
                <a:gd name="connsiteY8" fmla="*/ 13164 h 86772"/>
                <a:gd name="connsiteX9" fmla="*/ 19564 w 68903"/>
                <a:gd name="connsiteY9" fmla="*/ 23146 h 86772"/>
                <a:gd name="connsiteX10" fmla="*/ 25584 w 68903"/>
                <a:gd name="connsiteY10" fmla="*/ 37890 h 86772"/>
                <a:gd name="connsiteX11" fmla="*/ 48568 w 68903"/>
                <a:gd name="connsiteY11" fmla="*/ 28480 h 86772"/>
                <a:gd name="connsiteX12" fmla="*/ 53902 w 68903"/>
                <a:gd name="connsiteY12" fmla="*/ 41539 h 86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903" h="86772">
                  <a:moveTo>
                    <a:pt x="53902" y="41539"/>
                  </a:moveTo>
                  <a:lnTo>
                    <a:pt x="30947" y="50949"/>
                  </a:lnTo>
                  <a:lnTo>
                    <a:pt x="37862" y="67799"/>
                  </a:lnTo>
                  <a:lnTo>
                    <a:pt x="63503" y="57283"/>
                  </a:lnTo>
                  <a:lnTo>
                    <a:pt x="68904" y="70466"/>
                  </a:lnTo>
                  <a:lnTo>
                    <a:pt x="29070" y="86773"/>
                  </a:lnTo>
                  <a:lnTo>
                    <a:pt x="0" y="15773"/>
                  </a:lnTo>
                  <a:lnTo>
                    <a:pt x="38510" y="0"/>
                  </a:lnTo>
                  <a:lnTo>
                    <a:pt x="43901" y="13164"/>
                  </a:lnTo>
                  <a:lnTo>
                    <a:pt x="19564" y="23146"/>
                  </a:lnTo>
                  <a:lnTo>
                    <a:pt x="25584" y="37890"/>
                  </a:lnTo>
                  <a:lnTo>
                    <a:pt x="48568" y="28480"/>
                  </a:lnTo>
                  <a:lnTo>
                    <a:pt x="53902" y="415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2" name="Полилиния: фигура 1421">
              <a:extLst>
                <a:ext uri="{FF2B5EF4-FFF2-40B4-BE49-F238E27FC236}">
                  <a16:creationId xmlns:a16="http://schemas.microsoft.com/office/drawing/2014/main" id="{0317CF4F-7B36-41F4-9B87-D179D9225469}"/>
                </a:ext>
              </a:extLst>
            </p:cNvPr>
            <p:cNvSpPr/>
            <p:nvPr/>
          </p:nvSpPr>
          <p:spPr>
            <a:xfrm>
              <a:off x="8251887" y="1574489"/>
              <a:ext cx="55228" cy="82441"/>
            </a:xfrm>
            <a:custGeom>
              <a:avLst/>
              <a:gdLst>
                <a:gd name="connsiteX0" fmla="*/ 0 w 55228"/>
                <a:gd name="connsiteY0" fmla="*/ 11452 h 82441"/>
                <a:gd name="connsiteX1" fmla="*/ 18793 w 55228"/>
                <a:gd name="connsiteY1" fmla="*/ 2822 h 82441"/>
                <a:gd name="connsiteX2" fmla="*/ 40262 w 55228"/>
                <a:gd name="connsiteY2" fmla="*/ 1450 h 82441"/>
                <a:gd name="connsiteX3" fmla="*/ 53169 w 55228"/>
                <a:gd name="connsiteY3" fmla="*/ 15604 h 82441"/>
                <a:gd name="connsiteX4" fmla="*/ 53645 w 55228"/>
                <a:gd name="connsiteY4" fmla="*/ 34835 h 82441"/>
                <a:gd name="connsiteX5" fmla="*/ 35881 w 55228"/>
                <a:gd name="connsiteY5" fmla="*/ 49999 h 82441"/>
                <a:gd name="connsiteX6" fmla="*/ 30880 w 55228"/>
                <a:gd name="connsiteY6" fmla="*/ 51485 h 82441"/>
                <a:gd name="connsiteX7" fmla="*/ 40376 w 55228"/>
                <a:gd name="connsiteY7" fmla="*/ 77212 h 82441"/>
                <a:gd name="connsiteX8" fmla="*/ 26184 w 55228"/>
                <a:gd name="connsiteY8" fmla="*/ 82441 h 82441"/>
                <a:gd name="connsiteX9" fmla="*/ 0 w 55228"/>
                <a:gd name="connsiteY9" fmla="*/ 11452 h 82441"/>
                <a:gd name="connsiteX10" fmla="*/ 26232 w 55228"/>
                <a:gd name="connsiteY10" fmla="*/ 38883 h 82441"/>
                <a:gd name="connsiteX11" fmla="*/ 31166 w 55228"/>
                <a:gd name="connsiteY11" fmla="*/ 37540 h 82441"/>
                <a:gd name="connsiteX12" fmla="*/ 39148 w 55228"/>
                <a:gd name="connsiteY12" fmla="*/ 21262 h 82441"/>
                <a:gd name="connsiteX13" fmla="*/ 24060 w 55228"/>
                <a:gd name="connsiteY13" fmla="*/ 14814 h 82441"/>
                <a:gd name="connsiteX14" fmla="*/ 18393 w 55228"/>
                <a:gd name="connsiteY14" fmla="*/ 17643 h 82441"/>
                <a:gd name="connsiteX15" fmla="*/ 26232 w 55228"/>
                <a:gd name="connsiteY15" fmla="*/ 38883 h 82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5228" h="82441">
                  <a:moveTo>
                    <a:pt x="0" y="11452"/>
                  </a:moveTo>
                  <a:cubicBezTo>
                    <a:pt x="4105" y="8975"/>
                    <a:pt x="10077" y="6041"/>
                    <a:pt x="18793" y="2822"/>
                  </a:cubicBezTo>
                  <a:cubicBezTo>
                    <a:pt x="27613" y="-436"/>
                    <a:pt x="34614" y="-845"/>
                    <a:pt x="40262" y="1450"/>
                  </a:cubicBezTo>
                  <a:cubicBezTo>
                    <a:pt x="45615" y="3584"/>
                    <a:pt x="50549" y="8556"/>
                    <a:pt x="53169" y="15604"/>
                  </a:cubicBezTo>
                  <a:cubicBezTo>
                    <a:pt x="55750" y="22653"/>
                    <a:pt x="55902" y="29397"/>
                    <a:pt x="53645" y="34835"/>
                  </a:cubicBezTo>
                  <a:cubicBezTo>
                    <a:pt x="50683" y="41865"/>
                    <a:pt x="44329" y="46884"/>
                    <a:pt x="35881" y="49999"/>
                  </a:cubicBezTo>
                  <a:cubicBezTo>
                    <a:pt x="33985" y="50704"/>
                    <a:pt x="32271" y="51209"/>
                    <a:pt x="30880" y="51485"/>
                  </a:cubicBezTo>
                  <a:lnTo>
                    <a:pt x="40376" y="77212"/>
                  </a:lnTo>
                  <a:lnTo>
                    <a:pt x="26184" y="82441"/>
                  </a:lnTo>
                  <a:lnTo>
                    <a:pt x="0" y="11452"/>
                  </a:lnTo>
                  <a:close/>
                  <a:moveTo>
                    <a:pt x="26232" y="38883"/>
                  </a:moveTo>
                  <a:cubicBezTo>
                    <a:pt x="27584" y="38750"/>
                    <a:pt x="29118" y="38302"/>
                    <a:pt x="31166" y="37540"/>
                  </a:cubicBezTo>
                  <a:cubicBezTo>
                    <a:pt x="38786" y="34740"/>
                    <a:pt x="41853" y="28625"/>
                    <a:pt x="39148" y="21262"/>
                  </a:cubicBezTo>
                  <a:cubicBezTo>
                    <a:pt x="36700" y="14652"/>
                    <a:pt x="31204" y="12194"/>
                    <a:pt x="24060" y="14814"/>
                  </a:cubicBezTo>
                  <a:cubicBezTo>
                    <a:pt x="21165" y="15881"/>
                    <a:pt x="19298" y="16938"/>
                    <a:pt x="18393" y="17643"/>
                  </a:cubicBezTo>
                  <a:lnTo>
                    <a:pt x="26232" y="388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3" name="Полилиния: фигура 1422">
              <a:extLst>
                <a:ext uri="{FF2B5EF4-FFF2-40B4-BE49-F238E27FC236}">
                  <a16:creationId xmlns:a16="http://schemas.microsoft.com/office/drawing/2014/main" id="{C0F8AE78-D9F7-4AAE-843C-EB1D93881D75}"/>
                </a:ext>
              </a:extLst>
            </p:cNvPr>
            <p:cNvSpPr/>
            <p:nvPr/>
          </p:nvSpPr>
          <p:spPr>
            <a:xfrm>
              <a:off x="8314567" y="1550435"/>
              <a:ext cx="63640" cy="80057"/>
            </a:xfrm>
            <a:custGeom>
              <a:avLst/>
              <a:gdLst>
                <a:gd name="connsiteX0" fmla="*/ 63641 w 63640"/>
                <a:gd name="connsiteY0" fmla="*/ 69386 h 80057"/>
                <a:gd name="connsiteX1" fmla="*/ 48220 w 63640"/>
                <a:gd name="connsiteY1" fmla="*/ 77920 h 80057"/>
                <a:gd name="connsiteX2" fmla="*/ 2710 w 63640"/>
                <a:gd name="connsiteY2" fmla="*/ 52469 h 80057"/>
                <a:gd name="connsiteX3" fmla="*/ 25027 w 63640"/>
                <a:gd name="connsiteY3" fmla="*/ 2273 h 80057"/>
                <a:gd name="connsiteX4" fmla="*/ 41876 w 63640"/>
                <a:gd name="connsiteY4" fmla="*/ 349 h 80057"/>
                <a:gd name="connsiteX5" fmla="*/ 43219 w 63640"/>
                <a:gd name="connsiteY5" fmla="*/ 14398 h 80057"/>
                <a:gd name="connsiteX6" fmla="*/ 30141 w 63640"/>
                <a:gd name="connsiteY6" fmla="*/ 15684 h 80057"/>
                <a:gd name="connsiteX7" fmla="*/ 17607 w 63640"/>
                <a:gd name="connsiteY7" fmla="*/ 46516 h 80057"/>
                <a:gd name="connsiteX8" fmla="*/ 45943 w 63640"/>
                <a:gd name="connsiteY8" fmla="*/ 63576 h 80057"/>
                <a:gd name="connsiteX9" fmla="*/ 57240 w 63640"/>
                <a:gd name="connsiteY9" fmla="*/ 57232 h 80057"/>
                <a:gd name="connsiteX10" fmla="*/ 63641 w 63640"/>
                <a:gd name="connsiteY10" fmla="*/ 69386 h 80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640" h="80057">
                  <a:moveTo>
                    <a:pt x="63641" y="69386"/>
                  </a:moveTo>
                  <a:cubicBezTo>
                    <a:pt x="61488" y="71777"/>
                    <a:pt x="56021" y="75358"/>
                    <a:pt x="48220" y="77920"/>
                  </a:cubicBezTo>
                  <a:cubicBezTo>
                    <a:pt x="26065" y="85188"/>
                    <a:pt x="9501" y="73234"/>
                    <a:pt x="2710" y="52469"/>
                  </a:cubicBezTo>
                  <a:cubicBezTo>
                    <a:pt x="-5444" y="27590"/>
                    <a:pt x="5615" y="8635"/>
                    <a:pt x="25027" y="2273"/>
                  </a:cubicBezTo>
                  <a:cubicBezTo>
                    <a:pt x="32532" y="-185"/>
                    <a:pt x="38809" y="-328"/>
                    <a:pt x="41876" y="349"/>
                  </a:cubicBezTo>
                  <a:lnTo>
                    <a:pt x="43219" y="14398"/>
                  </a:lnTo>
                  <a:cubicBezTo>
                    <a:pt x="39809" y="13960"/>
                    <a:pt x="35285" y="13998"/>
                    <a:pt x="30141" y="15684"/>
                  </a:cubicBezTo>
                  <a:cubicBezTo>
                    <a:pt x="18645" y="19456"/>
                    <a:pt x="12282" y="30286"/>
                    <a:pt x="17607" y="46516"/>
                  </a:cubicBezTo>
                  <a:cubicBezTo>
                    <a:pt x="22388" y="61109"/>
                    <a:pt x="32989" y="67814"/>
                    <a:pt x="45943" y="63576"/>
                  </a:cubicBezTo>
                  <a:cubicBezTo>
                    <a:pt x="50325" y="62137"/>
                    <a:pt x="54811" y="59470"/>
                    <a:pt x="57240" y="57232"/>
                  </a:cubicBezTo>
                  <a:lnTo>
                    <a:pt x="63641" y="6938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4" name="Полилиния: фигура 1423">
              <a:extLst>
                <a:ext uri="{FF2B5EF4-FFF2-40B4-BE49-F238E27FC236}">
                  <a16:creationId xmlns:a16="http://schemas.microsoft.com/office/drawing/2014/main" id="{9B919AD4-414D-40F9-817A-C9E2D5E6A486}"/>
                </a:ext>
              </a:extLst>
            </p:cNvPr>
            <p:cNvSpPr/>
            <p:nvPr/>
          </p:nvSpPr>
          <p:spPr>
            <a:xfrm>
              <a:off x="8367149" y="1530124"/>
              <a:ext cx="74514" cy="88925"/>
            </a:xfrm>
            <a:custGeom>
              <a:avLst/>
              <a:gdLst>
                <a:gd name="connsiteX0" fmla="*/ 13478 w 74514"/>
                <a:gd name="connsiteY0" fmla="*/ 11363 h 88925"/>
                <a:gd name="connsiteX1" fmla="*/ 19688 w 74514"/>
                <a:gd name="connsiteY1" fmla="*/ 33252 h 88925"/>
                <a:gd name="connsiteX2" fmla="*/ 28384 w 74514"/>
                <a:gd name="connsiteY2" fmla="*/ 66837 h 88925"/>
                <a:gd name="connsiteX3" fmla="*/ 28766 w 74514"/>
                <a:gd name="connsiteY3" fmla="*/ 66732 h 88925"/>
                <a:gd name="connsiteX4" fmla="*/ 32861 w 74514"/>
                <a:gd name="connsiteY4" fmla="*/ 37195 h 88925"/>
                <a:gd name="connsiteX5" fmla="*/ 38595 w 74514"/>
                <a:gd name="connsiteY5" fmla="*/ 4248 h 88925"/>
                <a:gd name="connsiteX6" fmla="*/ 53616 w 74514"/>
                <a:gd name="connsiteY6" fmla="*/ 0 h 88925"/>
                <a:gd name="connsiteX7" fmla="*/ 74514 w 74514"/>
                <a:gd name="connsiteY7" fmla="*/ 73762 h 88925"/>
                <a:gd name="connsiteX8" fmla="*/ 61027 w 74514"/>
                <a:gd name="connsiteY8" fmla="*/ 77572 h 88925"/>
                <a:gd name="connsiteX9" fmla="*/ 54864 w 74514"/>
                <a:gd name="connsiteY9" fmla="*/ 55797 h 88925"/>
                <a:gd name="connsiteX10" fmla="*/ 47101 w 74514"/>
                <a:gd name="connsiteY10" fmla="*/ 24413 h 88925"/>
                <a:gd name="connsiteX11" fmla="*/ 46815 w 74514"/>
                <a:gd name="connsiteY11" fmla="*/ 24498 h 88925"/>
                <a:gd name="connsiteX12" fmla="*/ 43310 w 74514"/>
                <a:gd name="connsiteY12" fmla="*/ 53864 h 88925"/>
                <a:gd name="connsiteX13" fmla="*/ 37652 w 74514"/>
                <a:gd name="connsiteY13" fmla="*/ 84191 h 88925"/>
                <a:gd name="connsiteX14" fmla="*/ 20917 w 74514"/>
                <a:gd name="connsiteY14" fmla="*/ 88925 h 88925"/>
                <a:gd name="connsiteX15" fmla="*/ 0 w 74514"/>
                <a:gd name="connsiteY15" fmla="*/ 15183 h 88925"/>
                <a:gd name="connsiteX16" fmla="*/ 13478 w 74514"/>
                <a:gd name="connsiteY16" fmla="*/ 11363 h 8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4514" h="88925">
                  <a:moveTo>
                    <a:pt x="13478" y="11363"/>
                  </a:moveTo>
                  <a:lnTo>
                    <a:pt x="19688" y="33252"/>
                  </a:lnTo>
                  <a:cubicBezTo>
                    <a:pt x="23031" y="45063"/>
                    <a:pt x="26156" y="56826"/>
                    <a:pt x="28384" y="66837"/>
                  </a:cubicBezTo>
                  <a:lnTo>
                    <a:pt x="28766" y="66732"/>
                  </a:lnTo>
                  <a:cubicBezTo>
                    <a:pt x="29680" y="57131"/>
                    <a:pt x="31271" y="46168"/>
                    <a:pt x="32861" y="37195"/>
                  </a:cubicBezTo>
                  <a:lnTo>
                    <a:pt x="38595" y="4248"/>
                  </a:lnTo>
                  <a:lnTo>
                    <a:pt x="53616" y="0"/>
                  </a:lnTo>
                  <a:lnTo>
                    <a:pt x="74514" y="73762"/>
                  </a:lnTo>
                  <a:lnTo>
                    <a:pt x="61027" y="77572"/>
                  </a:lnTo>
                  <a:lnTo>
                    <a:pt x="54864" y="55797"/>
                  </a:lnTo>
                  <a:cubicBezTo>
                    <a:pt x="51625" y="44415"/>
                    <a:pt x="48968" y="34290"/>
                    <a:pt x="47101" y="24413"/>
                  </a:cubicBezTo>
                  <a:lnTo>
                    <a:pt x="46815" y="24498"/>
                  </a:lnTo>
                  <a:cubicBezTo>
                    <a:pt x="46339" y="34090"/>
                    <a:pt x="44939" y="45006"/>
                    <a:pt x="43310" y="53864"/>
                  </a:cubicBezTo>
                  <a:lnTo>
                    <a:pt x="37652" y="84191"/>
                  </a:lnTo>
                  <a:lnTo>
                    <a:pt x="20917" y="88925"/>
                  </a:lnTo>
                  <a:lnTo>
                    <a:pt x="0" y="15183"/>
                  </a:lnTo>
                  <a:lnTo>
                    <a:pt x="13478" y="113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5" name="Полилиния: фигура 1424">
              <a:extLst>
                <a:ext uri="{FF2B5EF4-FFF2-40B4-BE49-F238E27FC236}">
                  <a16:creationId xmlns:a16="http://schemas.microsoft.com/office/drawing/2014/main" id="{076A1167-F79F-4D90-BA78-5D4850185A45}"/>
                </a:ext>
              </a:extLst>
            </p:cNvPr>
            <p:cNvSpPr/>
            <p:nvPr/>
          </p:nvSpPr>
          <p:spPr>
            <a:xfrm>
              <a:off x="8431367" y="1515160"/>
              <a:ext cx="53835" cy="82505"/>
            </a:xfrm>
            <a:custGeom>
              <a:avLst/>
              <a:gdLst>
                <a:gd name="connsiteX0" fmla="*/ 21022 w 53835"/>
                <a:gd name="connsiteY0" fmla="*/ 22079 h 82505"/>
                <a:gd name="connsiteX1" fmla="*/ 3400 w 53835"/>
                <a:gd name="connsiteY1" fmla="*/ 26337 h 82505"/>
                <a:gd name="connsiteX2" fmla="*/ 0 w 53835"/>
                <a:gd name="connsiteY2" fmla="*/ 12173 h 82505"/>
                <a:gd name="connsiteX3" fmla="*/ 50425 w 53835"/>
                <a:gd name="connsiteY3" fmla="*/ 0 h 82505"/>
                <a:gd name="connsiteX4" fmla="*/ 53835 w 53835"/>
                <a:gd name="connsiteY4" fmla="*/ 14173 h 82505"/>
                <a:gd name="connsiteX5" fmla="*/ 35928 w 53835"/>
                <a:gd name="connsiteY5" fmla="*/ 18488 h 82505"/>
                <a:gd name="connsiteX6" fmla="*/ 50454 w 53835"/>
                <a:gd name="connsiteY6" fmla="*/ 78934 h 82505"/>
                <a:gd name="connsiteX7" fmla="*/ 35566 w 53835"/>
                <a:gd name="connsiteY7" fmla="*/ 82506 h 82505"/>
                <a:gd name="connsiteX8" fmla="*/ 21022 w 53835"/>
                <a:gd name="connsiteY8" fmla="*/ 22079 h 8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835" h="82505">
                  <a:moveTo>
                    <a:pt x="21022" y="22079"/>
                  </a:moveTo>
                  <a:lnTo>
                    <a:pt x="3400" y="26337"/>
                  </a:lnTo>
                  <a:lnTo>
                    <a:pt x="0" y="12173"/>
                  </a:lnTo>
                  <a:lnTo>
                    <a:pt x="50425" y="0"/>
                  </a:lnTo>
                  <a:lnTo>
                    <a:pt x="53835" y="14173"/>
                  </a:lnTo>
                  <a:lnTo>
                    <a:pt x="35928" y="18488"/>
                  </a:lnTo>
                  <a:lnTo>
                    <a:pt x="50454" y="78934"/>
                  </a:lnTo>
                  <a:lnTo>
                    <a:pt x="35566" y="82506"/>
                  </a:lnTo>
                  <a:lnTo>
                    <a:pt x="21022" y="220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6" name="Полилиния: фигура 1425">
              <a:extLst>
                <a:ext uri="{FF2B5EF4-FFF2-40B4-BE49-F238E27FC236}">
                  <a16:creationId xmlns:a16="http://schemas.microsoft.com/office/drawing/2014/main" id="{9EE94569-F00A-44CD-A4E1-68D54812BBBE}"/>
                </a:ext>
              </a:extLst>
            </p:cNvPr>
            <p:cNvSpPr/>
            <p:nvPr/>
          </p:nvSpPr>
          <p:spPr>
            <a:xfrm>
              <a:off x="8491707" y="1504806"/>
              <a:ext cx="57540" cy="83439"/>
            </a:xfrm>
            <a:custGeom>
              <a:avLst/>
              <a:gdLst>
                <a:gd name="connsiteX0" fmla="*/ 48168 w 57540"/>
                <a:gd name="connsiteY0" fmla="*/ 43653 h 83439"/>
                <a:gd name="connsiteX1" fmla="*/ 23879 w 57540"/>
                <a:gd name="connsiteY1" fmla="*/ 48606 h 83439"/>
                <a:gd name="connsiteX2" fmla="*/ 27527 w 57540"/>
                <a:gd name="connsiteY2" fmla="*/ 66446 h 83439"/>
                <a:gd name="connsiteX3" fmla="*/ 54674 w 57540"/>
                <a:gd name="connsiteY3" fmla="*/ 60903 h 83439"/>
                <a:gd name="connsiteX4" fmla="*/ 57541 w 57540"/>
                <a:gd name="connsiteY4" fmla="*/ 74847 h 83439"/>
                <a:gd name="connsiteX5" fmla="*/ 15412 w 57540"/>
                <a:gd name="connsiteY5" fmla="*/ 83439 h 83439"/>
                <a:gd name="connsiteX6" fmla="*/ 0 w 57540"/>
                <a:gd name="connsiteY6" fmla="*/ 8315 h 83439"/>
                <a:gd name="connsiteX7" fmla="*/ 40767 w 57540"/>
                <a:gd name="connsiteY7" fmla="*/ 0 h 83439"/>
                <a:gd name="connsiteX8" fmla="*/ 43615 w 57540"/>
                <a:gd name="connsiteY8" fmla="*/ 13926 h 83439"/>
                <a:gd name="connsiteX9" fmla="*/ 17859 w 57540"/>
                <a:gd name="connsiteY9" fmla="*/ 19183 h 83439"/>
                <a:gd name="connsiteX10" fmla="*/ 21041 w 57540"/>
                <a:gd name="connsiteY10" fmla="*/ 34795 h 83439"/>
                <a:gd name="connsiteX11" fmla="*/ 45349 w 57540"/>
                <a:gd name="connsiteY11" fmla="*/ 29832 h 83439"/>
                <a:gd name="connsiteX12" fmla="*/ 48168 w 57540"/>
                <a:gd name="connsiteY12" fmla="*/ 43653 h 83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540" h="83439">
                  <a:moveTo>
                    <a:pt x="48168" y="43653"/>
                  </a:moveTo>
                  <a:lnTo>
                    <a:pt x="23879" y="48606"/>
                  </a:lnTo>
                  <a:lnTo>
                    <a:pt x="27527" y="66446"/>
                  </a:lnTo>
                  <a:lnTo>
                    <a:pt x="54674" y="60903"/>
                  </a:lnTo>
                  <a:lnTo>
                    <a:pt x="57541" y="74847"/>
                  </a:lnTo>
                  <a:lnTo>
                    <a:pt x="15412" y="83439"/>
                  </a:lnTo>
                  <a:lnTo>
                    <a:pt x="0" y="8315"/>
                  </a:lnTo>
                  <a:lnTo>
                    <a:pt x="40767" y="0"/>
                  </a:lnTo>
                  <a:lnTo>
                    <a:pt x="43615" y="13926"/>
                  </a:lnTo>
                  <a:lnTo>
                    <a:pt x="17859" y="19183"/>
                  </a:lnTo>
                  <a:lnTo>
                    <a:pt x="21041" y="34795"/>
                  </a:lnTo>
                  <a:lnTo>
                    <a:pt x="45349" y="29832"/>
                  </a:lnTo>
                  <a:lnTo>
                    <a:pt x="48168" y="4365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7" name="Полилиния: фигура 1426">
              <a:extLst>
                <a:ext uri="{FF2B5EF4-FFF2-40B4-BE49-F238E27FC236}">
                  <a16:creationId xmlns:a16="http://schemas.microsoft.com/office/drawing/2014/main" id="{F78C5A9A-6CBF-40AD-A200-CA49875DD19B}"/>
                </a:ext>
              </a:extLst>
            </p:cNvPr>
            <p:cNvSpPr/>
            <p:nvPr/>
          </p:nvSpPr>
          <p:spPr>
            <a:xfrm>
              <a:off x="8541390" y="1494362"/>
              <a:ext cx="53492" cy="81281"/>
            </a:xfrm>
            <a:custGeom>
              <a:avLst/>
              <a:gdLst>
                <a:gd name="connsiteX0" fmla="*/ 20260 w 53492"/>
                <a:gd name="connsiteY0" fmla="*/ 19988 h 81281"/>
                <a:gd name="connsiteX1" fmla="*/ 2419 w 53492"/>
                <a:gd name="connsiteY1" fmla="*/ 23008 h 81281"/>
                <a:gd name="connsiteX2" fmla="*/ 0 w 53492"/>
                <a:gd name="connsiteY2" fmla="*/ 8636 h 81281"/>
                <a:gd name="connsiteX3" fmla="*/ 51064 w 53492"/>
                <a:gd name="connsiteY3" fmla="*/ 0 h 81281"/>
                <a:gd name="connsiteX4" fmla="*/ 53492 w 53492"/>
                <a:gd name="connsiteY4" fmla="*/ 14359 h 81281"/>
                <a:gd name="connsiteX5" fmla="*/ 35347 w 53492"/>
                <a:gd name="connsiteY5" fmla="*/ 17426 h 81281"/>
                <a:gd name="connsiteX6" fmla="*/ 45672 w 53492"/>
                <a:gd name="connsiteY6" fmla="*/ 78729 h 81281"/>
                <a:gd name="connsiteX7" fmla="*/ 30585 w 53492"/>
                <a:gd name="connsiteY7" fmla="*/ 81282 h 81281"/>
                <a:gd name="connsiteX8" fmla="*/ 20260 w 53492"/>
                <a:gd name="connsiteY8" fmla="*/ 19988 h 8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492" h="81281">
                  <a:moveTo>
                    <a:pt x="20260" y="19988"/>
                  </a:moveTo>
                  <a:lnTo>
                    <a:pt x="2419" y="23008"/>
                  </a:lnTo>
                  <a:lnTo>
                    <a:pt x="0" y="8636"/>
                  </a:lnTo>
                  <a:lnTo>
                    <a:pt x="51064" y="0"/>
                  </a:lnTo>
                  <a:lnTo>
                    <a:pt x="53492" y="14359"/>
                  </a:lnTo>
                  <a:lnTo>
                    <a:pt x="35347" y="17426"/>
                  </a:lnTo>
                  <a:lnTo>
                    <a:pt x="45672" y="78729"/>
                  </a:lnTo>
                  <a:lnTo>
                    <a:pt x="30585" y="81282"/>
                  </a:lnTo>
                  <a:lnTo>
                    <a:pt x="20260" y="199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8" name="Полилиния: фигура 1427">
              <a:extLst>
                <a:ext uri="{FF2B5EF4-FFF2-40B4-BE49-F238E27FC236}">
                  <a16:creationId xmlns:a16="http://schemas.microsoft.com/office/drawing/2014/main" id="{D6D2C5F3-880A-42F6-A472-C40D9B0F5AEA}"/>
                </a:ext>
              </a:extLst>
            </p:cNvPr>
            <p:cNvSpPr/>
            <p:nvPr/>
          </p:nvSpPr>
          <p:spPr>
            <a:xfrm>
              <a:off x="8624362" y="1483558"/>
              <a:ext cx="64065" cy="82503"/>
            </a:xfrm>
            <a:custGeom>
              <a:avLst/>
              <a:gdLst>
                <a:gd name="connsiteX0" fmla="*/ 13926 w 64065"/>
                <a:gd name="connsiteY0" fmla="*/ 4725 h 82503"/>
                <a:gd name="connsiteX1" fmla="*/ 16507 w 64065"/>
                <a:gd name="connsiteY1" fmla="*/ 27335 h 82503"/>
                <a:gd name="connsiteX2" fmla="*/ 19660 w 64065"/>
                <a:gd name="connsiteY2" fmla="*/ 61911 h 82503"/>
                <a:gd name="connsiteX3" fmla="*/ 20060 w 64065"/>
                <a:gd name="connsiteY3" fmla="*/ 61863 h 82503"/>
                <a:gd name="connsiteX4" fmla="*/ 28880 w 64065"/>
                <a:gd name="connsiteY4" fmla="*/ 33374 h 82503"/>
                <a:gd name="connsiteX5" fmla="*/ 39853 w 64065"/>
                <a:gd name="connsiteY5" fmla="*/ 1766 h 82503"/>
                <a:gd name="connsiteX6" fmla="*/ 55369 w 64065"/>
                <a:gd name="connsiteY6" fmla="*/ 0 h 82503"/>
                <a:gd name="connsiteX7" fmla="*/ 64065 w 64065"/>
                <a:gd name="connsiteY7" fmla="*/ 76189 h 82503"/>
                <a:gd name="connsiteX8" fmla="*/ 50140 w 64065"/>
                <a:gd name="connsiteY8" fmla="*/ 77779 h 82503"/>
                <a:gd name="connsiteX9" fmla="*/ 47577 w 64065"/>
                <a:gd name="connsiteY9" fmla="*/ 55272 h 82503"/>
                <a:gd name="connsiteX10" fmla="*/ 45015 w 64065"/>
                <a:gd name="connsiteY10" fmla="*/ 23049 h 82503"/>
                <a:gd name="connsiteX11" fmla="*/ 44710 w 64065"/>
                <a:gd name="connsiteY11" fmla="*/ 23087 h 82503"/>
                <a:gd name="connsiteX12" fmla="*/ 36490 w 64065"/>
                <a:gd name="connsiteY12" fmla="*/ 51509 h 82503"/>
                <a:gd name="connsiteX13" fmla="*/ 26013 w 64065"/>
                <a:gd name="connsiteY13" fmla="*/ 80532 h 82503"/>
                <a:gd name="connsiteX14" fmla="*/ 8715 w 64065"/>
                <a:gd name="connsiteY14" fmla="*/ 82504 h 82503"/>
                <a:gd name="connsiteX15" fmla="*/ 0 w 64065"/>
                <a:gd name="connsiteY15" fmla="*/ 6315 h 82503"/>
                <a:gd name="connsiteX16" fmla="*/ 13926 w 64065"/>
                <a:gd name="connsiteY16" fmla="*/ 4725 h 8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4065" h="82503">
                  <a:moveTo>
                    <a:pt x="13926" y="4725"/>
                  </a:moveTo>
                  <a:lnTo>
                    <a:pt x="16507" y="27335"/>
                  </a:lnTo>
                  <a:cubicBezTo>
                    <a:pt x="17907" y="39536"/>
                    <a:pt x="19088" y="51662"/>
                    <a:pt x="19660" y="61911"/>
                  </a:cubicBezTo>
                  <a:lnTo>
                    <a:pt x="20060" y="61863"/>
                  </a:lnTo>
                  <a:cubicBezTo>
                    <a:pt x="22508" y="52528"/>
                    <a:pt x="25841" y="41956"/>
                    <a:pt x="28880" y="33374"/>
                  </a:cubicBezTo>
                  <a:lnTo>
                    <a:pt x="39853" y="1766"/>
                  </a:lnTo>
                  <a:lnTo>
                    <a:pt x="55369" y="0"/>
                  </a:lnTo>
                  <a:lnTo>
                    <a:pt x="64065" y="76189"/>
                  </a:lnTo>
                  <a:lnTo>
                    <a:pt x="50140" y="77779"/>
                  </a:lnTo>
                  <a:lnTo>
                    <a:pt x="47577" y="55272"/>
                  </a:lnTo>
                  <a:cubicBezTo>
                    <a:pt x="46225" y="43527"/>
                    <a:pt x="45234" y="33097"/>
                    <a:pt x="45015" y="23049"/>
                  </a:cubicBezTo>
                  <a:lnTo>
                    <a:pt x="44710" y="23087"/>
                  </a:lnTo>
                  <a:cubicBezTo>
                    <a:pt x="42672" y="32478"/>
                    <a:pt x="39538" y="43032"/>
                    <a:pt x="36490" y="51509"/>
                  </a:cubicBezTo>
                  <a:lnTo>
                    <a:pt x="26013" y="80532"/>
                  </a:lnTo>
                  <a:lnTo>
                    <a:pt x="8715" y="82504"/>
                  </a:lnTo>
                  <a:lnTo>
                    <a:pt x="0" y="6315"/>
                  </a:lnTo>
                  <a:lnTo>
                    <a:pt x="13926" y="47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9" name="Полилиния: фигура 1428">
              <a:extLst>
                <a:ext uri="{FF2B5EF4-FFF2-40B4-BE49-F238E27FC236}">
                  <a16:creationId xmlns:a16="http://schemas.microsoft.com/office/drawing/2014/main" id="{CB5C4F04-0B93-42E1-838F-83C7ED6043AD}"/>
                </a:ext>
              </a:extLst>
            </p:cNvPr>
            <p:cNvSpPr/>
            <p:nvPr/>
          </p:nvSpPr>
          <p:spPr>
            <a:xfrm>
              <a:off x="8698619" y="1477440"/>
              <a:ext cx="74990" cy="81077"/>
            </a:xfrm>
            <a:custGeom>
              <a:avLst/>
              <a:gdLst>
                <a:gd name="connsiteX0" fmla="*/ 57198 w 74990"/>
                <a:gd name="connsiteY0" fmla="*/ 48007 h 81077"/>
                <a:gd name="connsiteX1" fmla="*/ 54540 w 74990"/>
                <a:gd name="connsiteY1" fmla="*/ 16613 h 81077"/>
                <a:gd name="connsiteX2" fmla="*/ 54235 w 74990"/>
                <a:gd name="connsiteY2" fmla="*/ 16622 h 81077"/>
                <a:gd name="connsiteX3" fmla="*/ 48692 w 74990"/>
                <a:gd name="connsiteY3" fmla="*/ 46731 h 81077"/>
                <a:gd name="connsiteX4" fmla="*/ 42453 w 74990"/>
                <a:gd name="connsiteY4" fmla="*/ 77115 h 81077"/>
                <a:gd name="connsiteX5" fmla="*/ 30585 w 74990"/>
                <a:gd name="connsiteY5" fmla="*/ 77896 h 81077"/>
                <a:gd name="connsiteX6" fmla="*/ 21460 w 74990"/>
                <a:gd name="connsiteY6" fmla="*/ 48721 h 81077"/>
                <a:gd name="connsiteX7" fmla="*/ 13411 w 74990"/>
                <a:gd name="connsiteY7" fmla="*/ 19264 h 81077"/>
                <a:gd name="connsiteX8" fmla="*/ 13221 w 74990"/>
                <a:gd name="connsiteY8" fmla="*/ 19274 h 81077"/>
                <a:gd name="connsiteX9" fmla="*/ 14078 w 74990"/>
                <a:gd name="connsiteY9" fmla="*/ 51026 h 81077"/>
                <a:gd name="connsiteX10" fmla="*/ 14783 w 74990"/>
                <a:gd name="connsiteY10" fmla="*/ 80163 h 81077"/>
                <a:gd name="connsiteX11" fmla="*/ 705 w 74990"/>
                <a:gd name="connsiteY11" fmla="*/ 81078 h 81077"/>
                <a:gd name="connsiteX12" fmla="*/ 0 w 74990"/>
                <a:gd name="connsiteY12" fmla="*/ 4281 h 81077"/>
                <a:gd name="connsiteX13" fmla="*/ 20279 w 74990"/>
                <a:gd name="connsiteY13" fmla="*/ 2971 h 81077"/>
                <a:gd name="connsiteX14" fmla="*/ 28546 w 74990"/>
                <a:gd name="connsiteY14" fmla="*/ 28090 h 81077"/>
                <a:gd name="connsiteX15" fmla="*/ 35995 w 74990"/>
                <a:gd name="connsiteY15" fmla="*/ 55084 h 81077"/>
                <a:gd name="connsiteX16" fmla="*/ 36300 w 74990"/>
                <a:gd name="connsiteY16" fmla="*/ 55065 h 81077"/>
                <a:gd name="connsiteX17" fmla="*/ 40900 w 74990"/>
                <a:gd name="connsiteY17" fmla="*/ 27176 h 81077"/>
                <a:gd name="connsiteX18" fmla="*/ 46444 w 74990"/>
                <a:gd name="connsiteY18" fmla="*/ 1290 h 81077"/>
                <a:gd name="connsiteX19" fmla="*/ 66313 w 74990"/>
                <a:gd name="connsiteY19" fmla="*/ 0 h 81077"/>
                <a:gd name="connsiteX20" fmla="*/ 74990 w 74990"/>
                <a:gd name="connsiteY20" fmla="*/ 76277 h 81077"/>
                <a:gd name="connsiteX21" fmla="*/ 60131 w 74990"/>
                <a:gd name="connsiteY21" fmla="*/ 77230 h 81077"/>
                <a:gd name="connsiteX22" fmla="*/ 57198 w 74990"/>
                <a:gd name="connsiteY22" fmla="*/ 48007 h 8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4990" h="81077">
                  <a:moveTo>
                    <a:pt x="57198" y="48007"/>
                  </a:moveTo>
                  <a:cubicBezTo>
                    <a:pt x="56293" y="38834"/>
                    <a:pt x="55254" y="27738"/>
                    <a:pt x="54540" y="16613"/>
                  </a:cubicBezTo>
                  <a:lnTo>
                    <a:pt x="54235" y="16622"/>
                  </a:lnTo>
                  <a:cubicBezTo>
                    <a:pt x="52768" y="26519"/>
                    <a:pt x="50702" y="37596"/>
                    <a:pt x="48692" y="46731"/>
                  </a:cubicBezTo>
                  <a:lnTo>
                    <a:pt x="42453" y="77115"/>
                  </a:lnTo>
                  <a:lnTo>
                    <a:pt x="30585" y="77896"/>
                  </a:lnTo>
                  <a:lnTo>
                    <a:pt x="21460" y="48721"/>
                  </a:lnTo>
                  <a:cubicBezTo>
                    <a:pt x="18669" y="39901"/>
                    <a:pt x="15678" y="29147"/>
                    <a:pt x="13411" y="19264"/>
                  </a:cubicBezTo>
                  <a:lnTo>
                    <a:pt x="13221" y="19274"/>
                  </a:lnTo>
                  <a:cubicBezTo>
                    <a:pt x="13497" y="29633"/>
                    <a:pt x="13954" y="41454"/>
                    <a:pt x="14078" y="51026"/>
                  </a:cubicBezTo>
                  <a:lnTo>
                    <a:pt x="14783" y="80163"/>
                  </a:lnTo>
                  <a:lnTo>
                    <a:pt x="705" y="81078"/>
                  </a:lnTo>
                  <a:lnTo>
                    <a:pt x="0" y="4281"/>
                  </a:lnTo>
                  <a:lnTo>
                    <a:pt x="20279" y="2971"/>
                  </a:lnTo>
                  <a:lnTo>
                    <a:pt x="28546" y="28090"/>
                  </a:lnTo>
                  <a:cubicBezTo>
                    <a:pt x="31204" y="36815"/>
                    <a:pt x="33928" y="46216"/>
                    <a:pt x="35995" y="55084"/>
                  </a:cubicBezTo>
                  <a:lnTo>
                    <a:pt x="36300" y="55065"/>
                  </a:lnTo>
                  <a:cubicBezTo>
                    <a:pt x="37643" y="46083"/>
                    <a:pt x="39262" y="35834"/>
                    <a:pt x="40900" y="27176"/>
                  </a:cubicBezTo>
                  <a:lnTo>
                    <a:pt x="46444" y="1290"/>
                  </a:lnTo>
                  <a:lnTo>
                    <a:pt x="66313" y="0"/>
                  </a:lnTo>
                  <a:lnTo>
                    <a:pt x="74990" y="76277"/>
                  </a:lnTo>
                  <a:lnTo>
                    <a:pt x="60131" y="77230"/>
                  </a:lnTo>
                  <a:lnTo>
                    <a:pt x="57198" y="4800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0" name="Полилиния: фигура 1429">
              <a:extLst>
                <a:ext uri="{FF2B5EF4-FFF2-40B4-BE49-F238E27FC236}">
                  <a16:creationId xmlns:a16="http://schemas.microsoft.com/office/drawing/2014/main" id="{1543BDE8-75FD-491F-9B76-EEA0569CECA5}"/>
                </a:ext>
              </a:extLst>
            </p:cNvPr>
            <p:cNvSpPr/>
            <p:nvPr/>
          </p:nvSpPr>
          <p:spPr>
            <a:xfrm>
              <a:off x="8783115" y="1476129"/>
              <a:ext cx="44595" cy="77473"/>
            </a:xfrm>
            <a:custGeom>
              <a:avLst/>
              <a:gdLst>
                <a:gd name="connsiteX0" fmla="*/ 41034 w 44595"/>
                <a:gd name="connsiteY0" fmla="*/ 44260 h 77473"/>
                <a:gd name="connsiteX1" fmla="*/ 16221 w 44595"/>
                <a:gd name="connsiteY1" fmla="*/ 44765 h 77473"/>
                <a:gd name="connsiteX2" fmla="*/ 16602 w 44595"/>
                <a:gd name="connsiteY2" fmla="*/ 62948 h 77473"/>
                <a:gd name="connsiteX3" fmla="*/ 44310 w 44595"/>
                <a:gd name="connsiteY3" fmla="*/ 62386 h 77473"/>
                <a:gd name="connsiteX4" fmla="*/ 44596 w 44595"/>
                <a:gd name="connsiteY4" fmla="*/ 76597 h 77473"/>
                <a:gd name="connsiteX5" fmla="*/ 1591 w 44595"/>
                <a:gd name="connsiteY5" fmla="*/ 77473 h 77473"/>
                <a:gd name="connsiteX6" fmla="*/ 0 w 44595"/>
                <a:gd name="connsiteY6" fmla="*/ 856 h 77473"/>
                <a:gd name="connsiteX7" fmla="*/ 41605 w 44595"/>
                <a:gd name="connsiteY7" fmla="*/ 0 h 77473"/>
                <a:gd name="connsiteX8" fmla="*/ 41910 w 44595"/>
                <a:gd name="connsiteY8" fmla="*/ 14208 h 77473"/>
                <a:gd name="connsiteX9" fmla="*/ 15611 w 44595"/>
                <a:gd name="connsiteY9" fmla="*/ 14754 h 77473"/>
                <a:gd name="connsiteX10" fmla="*/ 15926 w 44595"/>
                <a:gd name="connsiteY10" fmla="*/ 30668 h 77473"/>
                <a:gd name="connsiteX11" fmla="*/ 40729 w 44595"/>
                <a:gd name="connsiteY11" fmla="*/ 30163 h 77473"/>
                <a:gd name="connsiteX12" fmla="*/ 41034 w 44595"/>
                <a:gd name="connsiteY12" fmla="*/ 44260 h 7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4595" h="77473">
                  <a:moveTo>
                    <a:pt x="41034" y="44260"/>
                  </a:moveTo>
                  <a:lnTo>
                    <a:pt x="16221" y="44765"/>
                  </a:lnTo>
                  <a:lnTo>
                    <a:pt x="16602" y="62948"/>
                  </a:lnTo>
                  <a:lnTo>
                    <a:pt x="44310" y="62386"/>
                  </a:lnTo>
                  <a:lnTo>
                    <a:pt x="44596" y="76597"/>
                  </a:lnTo>
                  <a:lnTo>
                    <a:pt x="1591" y="77473"/>
                  </a:lnTo>
                  <a:lnTo>
                    <a:pt x="0" y="856"/>
                  </a:lnTo>
                  <a:lnTo>
                    <a:pt x="41605" y="0"/>
                  </a:lnTo>
                  <a:lnTo>
                    <a:pt x="41910" y="14208"/>
                  </a:lnTo>
                  <a:lnTo>
                    <a:pt x="15611" y="14754"/>
                  </a:lnTo>
                  <a:lnTo>
                    <a:pt x="15926" y="30668"/>
                  </a:lnTo>
                  <a:lnTo>
                    <a:pt x="40729" y="30163"/>
                  </a:lnTo>
                  <a:lnTo>
                    <a:pt x="41034" y="442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1" name="Полилиния: фигура 1430">
              <a:extLst>
                <a:ext uri="{FF2B5EF4-FFF2-40B4-BE49-F238E27FC236}">
                  <a16:creationId xmlns:a16="http://schemas.microsoft.com/office/drawing/2014/main" id="{D3C1A40F-4A6B-49C6-9372-D00542E27C10}"/>
                </a:ext>
              </a:extLst>
            </p:cNvPr>
            <p:cNvSpPr/>
            <p:nvPr/>
          </p:nvSpPr>
          <p:spPr>
            <a:xfrm>
              <a:off x="8837541" y="1476006"/>
              <a:ext cx="57197" cy="77749"/>
            </a:xfrm>
            <a:custGeom>
              <a:avLst/>
              <a:gdLst>
                <a:gd name="connsiteX0" fmla="*/ 16888 w 57197"/>
                <a:gd name="connsiteY0" fmla="*/ 311 h 77749"/>
                <a:gd name="connsiteX1" fmla="*/ 16278 w 57197"/>
                <a:gd name="connsiteY1" fmla="*/ 29753 h 77749"/>
                <a:gd name="connsiteX2" fmla="*/ 41386 w 57197"/>
                <a:gd name="connsiteY2" fmla="*/ 30258 h 77749"/>
                <a:gd name="connsiteX3" fmla="*/ 41986 w 57197"/>
                <a:gd name="connsiteY3" fmla="*/ 815 h 77749"/>
                <a:gd name="connsiteX4" fmla="*/ 57198 w 57197"/>
                <a:gd name="connsiteY4" fmla="*/ 1135 h 77749"/>
                <a:gd name="connsiteX5" fmla="*/ 55588 w 57197"/>
                <a:gd name="connsiteY5" fmla="*/ 77750 h 77749"/>
                <a:gd name="connsiteX6" fmla="*/ 40396 w 57197"/>
                <a:gd name="connsiteY6" fmla="*/ 77445 h 77749"/>
                <a:gd name="connsiteX7" fmla="*/ 41062 w 57197"/>
                <a:gd name="connsiteY7" fmla="*/ 45384 h 77749"/>
                <a:gd name="connsiteX8" fmla="*/ 15964 w 57197"/>
                <a:gd name="connsiteY8" fmla="*/ 44860 h 77749"/>
                <a:gd name="connsiteX9" fmla="*/ 15288 w 57197"/>
                <a:gd name="connsiteY9" fmla="*/ 76912 h 77749"/>
                <a:gd name="connsiteX10" fmla="*/ 0 w 57197"/>
                <a:gd name="connsiteY10" fmla="*/ 76616 h 77749"/>
                <a:gd name="connsiteX11" fmla="*/ 1591 w 57197"/>
                <a:gd name="connsiteY11" fmla="*/ 0 h 77749"/>
                <a:gd name="connsiteX12" fmla="*/ 16888 w 57197"/>
                <a:gd name="connsiteY12" fmla="*/ 311 h 77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197" h="77749">
                  <a:moveTo>
                    <a:pt x="16888" y="311"/>
                  </a:moveTo>
                  <a:lnTo>
                    <a:pt x="16278" y="29753"/>
                  </a:lnTo>
                  <a:lnTo>
                    <a:pt x="41386" y="30258"/>
                  </a:lnTo>
                  <a:lnTo>
                    <a:pt x="41986" y="815"/>
                  </a:lnTo>
                  <a:lnTo>
                    <a:pt x="57198" y="1135"/>
                  </a:lnTo>
                  <a:lnTo>
                    <a:pt x="55588" y="77750"/>
                  </a:lnTo>
                  <a:lnTo>
                    <a:pt x="40396" y="77445"/>
                  </a:lnTo>
                  <a:lnTo>
                    <a:pt x="41062" y="45384"/>
                  </a:lnTo>
                  <a:lnTo>
                    <a:pt x="15964" y="44860"/>
                  </a:lnTo>
                  <a:lnTo>
                    <a:pt x="15288" y="76912"/>
                  </a:lnTo>
                  <a:lnTo>
                    <a:pt x="0" y="76616"/>
                  </a:lnTo>
                  <a:lnTo>
                    <a:pt x="1591" y="0"/>
                  </a:lnTo>
                  <a:lnTo>
                    <a:pt x="16888" y="3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2" name="Полилиния: фигура 1431">
              <a:extLst>
                <a:ext uri="{FF2B5EF4-FFF2-40B4-BE49-F238E27FC236}">
                  <a16:creationId xmlns:a16="http://schemas.microsoft.com/office/drawing/2014/main" id="{CFDDAC14-D540-4588-9951-77148C0B1B8B}"/>
                </a:ext>
              </a:extLst>
            </p:cNvPr>
            <p:cNvSpPr/>
            <p:nvPr/>
          </p:nvSpPr>
          <p:spPr>
            <a:xfrm>
              <a:off x="8905826" y="1477822"/>
              <a:ext cx="60826" cy="80276"/>
            </a:xfrm>
            <a:custGeom>
              <a:avLst/>
              <a:gdLst>
                <a:gd name="connsiteX0" fmla="*/ 19174 w 60826"/>
                <a:gd name="connsiteY0" fmla="*/ 950 h 80276"/>
                <a:gd name="connsiteX1" fmla="*/ 17650 w 60826"/>
                <a:gd name="connsiteY1" fmla="*/ 23650 h 80276"/>
                <a:gd name="connsiteX2" fmla="*/ 14497 w 60826"/>
                <a:gd name="connsiteY2" fmla="*/ 58217 h 80276"/>
                <a:gd name="connsiteX3" fmla="*/ 14878 w 60826"/>
                <a:gd name="connsiteY3" fmla="*/ 58245 h 80276"/>
                <a:gd name="connsiteX4" fmla="*/ 28718 w 60826"/>
                <a:gd name="connsiteY4" fmla="*/ 31814 h 80276"/>
                <a:gd name="connsiteX5" fmla="*/ 45253 w 60826"/>
                <a:gd name="connsiteY5" fmla="*/ 2714 h 80276"/>
                <a:gd name="connsiteX6" fmla="*/ 60827 w 60826"/>
                <a:gd name="connsiteY6" fmla="*/ 3766 h 80276"/>
                <a:gd name="connsiteX7" fmla="*/ 55636 w 60826"/>
                <a:gd name="connsiteY7" fmla="*/ 80277 h 80276"/>
                <a:gd name="connsiteX8" fmla="*/ 41653 w 60826"/>
                <a:gd name="connsiteY8" fmla="*/ 79334 h 80276"/>
                <a:gd name="connsiteX9" fmla="*/ 43177 w 60826"/>
                <a:gd name="connsiteY9" fmla="*/ 56740 h 80276"/>
                <a:gd name="connsiteX10" fmla="*/ 46463 w 60826"/>
                <a:gd name="connsiteY10" fmla="*/ 24578 h 80276"/>
                <a:gd name="connsiteX11" fmla="*/ 46177 w 60826"/>
                <a:gd name="connsiteY11" fmla="*/ 24557 h 80276"/>
                <a:gd name="connsiteX12" fmla="*/ 32938 w 60826"/>
                <a:gd name="connsiteY12" fmla="*/ 51035 h 80276"/>
                <a:gd name="connsiteX13" fmla="*/ 17393 w 60826"/>
                <a:gd name="connsiteY13" fmla="*/ 77686 h 80276"/>
                <a:gd name="connsiteX14" fmla="*/ 0 w 60826"/>
                <a:gd name="connsiteY14" fmla="*/ 76514 h 80276"/>
                <a:gd name="connsiteX15" fmla="*/ 5229 w 60826"/>
                <a:gd name="connsiteY15" fmla="*/ 0 h 80276"/>
                <a:gd name="connsiteX16" fmla="*/ 19174 w 60826"/>
                <a:gd name="connsiteY16" fmla="*/ 950 h 80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0826" h="80276">
                  <a:moveTo>
                    <a:pt x="19174" y="950"/>
                  </a:moveTo>
                  <a:lnTo>
                    <a:pt x="17650" y="23650"/>
                  </a:lnTo>
                  <a:cubicBezTo>
                    <a:pt x="16802" y="35909"/>
                    <a:pt x="15783" y="48044"/>
                    <a:pt x="14497" y="58217"/>
                  </a:cubicBezTo>
                  <a:lnTo>
                    <a:pt x="14878" y="58245"/>
                  </a:lnTo>
                  <a:cubicBezTo>
                    <a:pt x="18983" y="49521"/>
                    <a:pt x="24165" y="39719"/>
                    <a:pt x="28718" y="31814"/>
                  </a:cubicBezTo>
                  <a:lnTo>
                    <a:pt x="45253" y="2714"/>
                  </a:lnTo>
                  <a:lnTo>
                    <a:pt x="60827" y="3766"/>
                  </a:lnTo>
                  <a:lnTo>
                    <a:pt x="55636" y="80277"/>
                  </a:lnTo>
                  <a:lnTo>
                    <a:pt x="41653" y="79334"/>
                  </a:lnTo>
                  <a:lnTo>
                    <a:pt x="43177" y="56740"/>
                  </a:lnTo>
                  <a:cubicBezTo>
                    <a:pt x="43996" y="44939"/>
                    <a:pt x="44901" y="34509"/>
                    <a:pt x="46463" y="24578"/>
                  </a:cubicBezTo>
                  <a:lnTo>
                    <a:pt x="46177" y="24557"/>
                  </a:lnTo>
                  <a:cubicBezTo>
                    <a:pt x="42463" y="33433"/>
                    <a:pt x="37481" y="43244"/>
                    <a:pt x="32938" y="51035"/>
                  </a:cubicBezTo>
                  <a:lnTo>
                    <a:pt x="17393" y="77686"/>
                  </a:lnTo>
                  <a:lnTo>
                    <a:pt x="0" y="76514"/>
                  </a:lnTo>
                  <a:lnTo>
                    <a:pt x="5229" y="0"/>
                  </a:lnTo>
                  <a:lnTo>
                    <a:pt x="19174" y="9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3" name="Полилиния: фигура 1432">
              <a:extLst>
                <a:ext uri="{FF2B5EF4-FFF2-40B4-BE49-F238E27FC236}">
                  <a16:creationId xmlns:a16="http://schemas.microsoft.com/office/drawing/2014/main" id="{8EF46EE5-81C6-4F3B-8EFD-DA8851483021}"/>
                </a:ext>
              </a:extLst>
            </p:cNvPr>
            <p:cNvSpPr/>
            <p:nvPr/>
          </p:nvSpPr>
          <p:spPr>
            <a:xfrm>
              <a:off x="8994303" y="1485446"/>
              <a:ext cx="49825" cy="77948"/>
            </a:xfrm>
            <a:custGeom>
              <a:avLst/>
              <a:gdLst>
                <a:gd name="connsiteX0" fmla="*/ 49825 w 49825"/>
                <a:gd name="connsiteY0" fmla="*/ 4944 h 77948"/>
                <a:gd name="connsiteX1" fmla="*/ 48092 w 49825"/>
                <a:gd name="connsiteY1" fmla="*/ 19065 h 77948"/>
                <a:gd name="connsiteX2" fmla="*/ 22793 w 49825"/>
                <a:gd name="connsiteY2" fmla="*/ 15964 h 77948"/>
                <a:gd name="connsiteX3" fmla="*/ 15183 w 49825"/>
                <a:gd name="connsiteY3" fmla="*/ 77949 h 77948"/>
                <a:gd name="connsiteX4" fmla="*/ 0 w 49825"/>
                <a:gd name="connsiteY4" fmla="*/ 76091 h 77948"/>
                <a:gd name="connsiteX5" fmla="*/ 9335 w 49825"/>
                <a:gd name="connsiteY5" fmla="*/ 0 h 77948"/>
                <a:gd name="connsiteX6" fmla="*/ 49825 w 49825"/>
                <a:gd name="connsiteY6" fmla="*/ 4944 h 77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825" h="77948">
                  <a:moveTo>
                    <a:pt x="49825" y="4944"/>
                  </a:moveTo>
                  <a:lnTo>
                    <a:pt x="48092" y="19065"/>
                  </a:lnTo>
                  <a:lnTo>
                    <a:pt x="22793" y="15964"/>
                  </a:lnTo>
                  <a:lnTo>
                    <a:pt x="15183" y="77949"/>
                  </a:lnTo>
                  <a:lnTo>
                    <a:pt x="0" y="76091"/>
                  </a:lnTo>
                  <a:lnTo>
                    <a:pt x="9335" y="0"/>
                  </a:lnTo>
                  <a:lnTo>
                    <a:pt x="49825" y="49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4" name="Полилиния: фигура 1433">
              <a:extLst>
                <a:ext uri="{FF2B5EF4-FFF2-40B4-BE49-F238E27FC236}">
                  <a16:creationId xmlns:a16="http://schemas.microsoft.com/office/drawing/2014/main" id="{B708AFD7-4BA7-47A7-9EA1-54E96479736B}"/>
                </a:ext>
              </a:extLst>
            </p:cNvPr>
            <p:cNvSpPr/>
            <p:nvPr/>
          </p:nvSpPr>
          <p:spPr>
            <a:xfrm>
              <a:off x="9033536" y="1547892"/>
              <a:ext cx="18031" cy="20995"/>
            </a:xfrm>
            <a:custGeom>
              <a:avLst/>
              <a:gdLst>
                <a:gd name="connsiteX0" fmla="*/ 144 w 18031"/>
                <a:gd name="connsiteY0" fmla="*/ 9302 h 20995"/>
                <a:gd name="connsiteX1" fmla="*/ 10545 w 18031"/>
                <a:gd name="connsiteY1" fmla="*/ 91 h 20995"/>
                <a:gd name="connsiteX2" fmla="*/ 17879 w 18031"/>
                <a:gd name="connsiteY2" fmla="*/ 11807 h 20995"/>
                <a:gd name="connsiteX3" fmla="*/ 7487 w 18031"/>
                <a:gd name="connsiteY3" fmla="*/ 20903 h 20995"/>
                <a:gd name="connsiteX4" fmla="*/ 144 w 18031"/>
                <a:gd name="connsiteY4" fmla="*/ 9302 h 20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31" h="20995">
                  <a:moveTo>
                    <a:pt x="144" y="9302"/>
                  </a:moveTo>
                  <a:cubicBezTo>
                    <a:pt x="1020" y="3225"/>
                    <a:pt x="5297" y="-652"/>
                    <a:pt x="10545" y="91"/>
                  </a:cubicBezTo>
                  <a:cubicBezTo>
                    <a:pt x="15803" y="834"/>
                    <a:pt x="18756" y="5615"/>
                    <a:pt x="17879" y="11807"/>
                  </a:cubicBezTo>
                  <a:cubicBezTo>
                    <a:pt x="17032" y="17769"/>
                    <a:pt x="12831" y="21656"/>
                    <a:pt x="7487" y="20903"/>
                  </a:cubicBezTo>
                  <a:cubicBezTo>
                    <a:pt x="2334" y="20179"/>
                    <a:pt x="-714" y="15264"/>
                    <a:pt x="144" y="93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5" name="Полилиния: фигура 1434">
              <a:extLst>
                <a:ext uri="{FF2B5EF4-FFF2-40B4-BE49-F238E27FC236}">
                  <a16:creationId xmlns:a16="http://schemas.microsoft.com/office/drawing/2014/main" id="{A496EADF-E32C-4C06-A909-9E60EC35101F}"/>
                </a:ext>
              </a:extLst>
            </p:cNvPr>
            <p:cNvSpPr/>
            <p:nvPr/>
          </p:nvSpPr>
          <p:spPr>
            <a:xfrm>
              <a:off x="9059502" y="1495509"/>
              <a:ext cx="57060" cy="79336"/>
            </a:xfrm>
            <a:custGeom>
              <a:avLst/>
              <a:gdLst>
                <a:gd name="connsiteX0" fmla="*/ 12745 w 57060"/>
                <a:gd name="connsiteY0" fmla="*/ 39 h 79336"/>
                <a:gd name="connsiteX1" fmla="*/ 32423 w 57060"/>
                <a:gd name="connsiteY1" fmla="*/ 1794 h 79336"/>
                <a:gd name="connsiteX2" fmla="*/ 51321 w 57060"/>
                <a:gd name="connsiteY2" fmla="*/ 9412 h 79336"/>
                <a:gd name="connsiteX3" fmla="*/ 56769 w 57060"/>
                <a:gd name="connsiteY3" fmla="*/ 25566 h 79336"/>
                <a:gd name="connsiteX4" fmla="*/ 43053 w 57060"/>
                <a:gd name="connsiteY4" fmla="*/ 39835 h 79336"/>
                <a:gd name="connsiteX5" fmla="*/ 43006 w 57060"/>
                <a:gd name="connsiteY5" fmla="*/ 40063 h 79336"/>
                <a:gd name="connsiteX6" fmla="*/ 53035 w 57060"/>
                <a:gd name="connsiteY6" fmla="*/ 60933 h 79336"/>
                <a:gd name="connsiteX7" fmla="*/ 43367 w 57060"/>
                <a:gd name="connsiteY7" fmla="*/ 75792 h 79336"/>
                <a:gd name="connsiteX8" fmla="*/ 16088 w 57060"/>
                <a:gd name="connsiteY8" fmla="*/ 78163 h 79336"/>
                <a:gd name="connsiteX9" fmla="*/ 0 w 57060"/>
                <a:gd name="connsiteY9" fmla="*/ 74258 h 79336"/>
                <a:gd name="connsiteX10" fmla="*/ 12745 w 57060"/>
                <a:gd name="connsiteY10" fmla="*/ 39 h 79336"/>
                <a:gd name="connsiteX11" fmla="*/ 16916 w 57060"/>
                <a:gd name="connsiteY11" fmla="*/ 65038 h 79336"/>
                <a:gd name="connsiteX12" fmla="*/ 22708 w 57060"/>
                <a:gd name="connsiteY12" fmla="*/ 66248 h 79336"/>
                <a:gd name="connsiteX13" fmla="*/ 37386 w 57060"/>
                <a:gd name="connsiteY13" fmla="*/ 57561 h 79336"/>
                <a:gd name="connsiteX14" fmla="*/ 25689 w 57060"/>
                <a:gd name="connsiteY14" fmla="*/ 44607 h 79336"/>
                <a:gd name="connsiteX15" fmla="*/ 20574 w 57060"/>
                <a:gd name="connsiteY15" fmla="*/ 43730 h 79336"/>
                <a:gd name="connsiteX16" fmla="*/ 16916 w 57060"/>
                <a:gd name="connsiteY16" fmla="*/ 65038 h 79336"/>
                <a:gd name="connsiteX17" fmla="*/ 22660 w 57060"/>
                <a:gd name="connsiteY17" fmla="*/ 31510 h 79336"/>
                <a:gd name="connsiteX18" fmla="*/ 27604 w 57060"/>
                <a:gd name="connsiteY18" fmla="*/ 32358 h 79336"/>
                <a:gd name="connsiteX19" fmla="*/ 41329 w 57060"/>
                <a:gd name="connsiteY19" fmla="*/ 25128 h 79336"/>
                <a:gd name="connsiteX20" fmla="*/ 32176 w 57060"/>
                <a:gd name="connsiteY20" fmla="*/ 14555 h 79336"/>
                <a:gd name="connsiteX21" fmla="*/ 25689 w 57060"/>
                <a:gd name="connsiteY21" fmla="*/ 13908 h 79336"/>
                <a:gd name="connsiteX22" fmla="*/ 22660 w 57060"/>
                <a:gd name="connsiteY22" fmla="*/ 31510 h 79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7060" h="79336">
                  <a:moveTo>
                    <a:pt x="12745" y="39"/>
                  </a:moveTo>
                  <a:cubicBezTo>
                    <a:pt x="16831" y="-177"/>
                    <a:pt x="24927" y="514"/>
                    <a:pt x="32423" y="1794"/>
                  </a:cubicBezTo>
                  <a:cubicBezTo>
                    <a:pt x="41586" y="3362"/>
                    <a:pt x="47054" y="5323"/>
                    <a:pt x="51321" y="9412"/>
                  </a:cubicBezTo>
                  <a:cubicBezTo>
                    <a:pt x="55464" y="13003"/>
                    <a:pt x="57941" y="18727"/>
                    <a:pt x="56769" y="25566"/>
                  </a:cubicBezTo>
                  <a:cubicBezTo>
                    <a:pt x="55607" y="32291"/>
                    <a:pt x="51083" y="37977"/>
                    <a:pt x="43053" y="39835"/>
                  </a:cubicBezTo>
                  <a:lnTo>
                    <a:pt x="43006" y="40063"/>
                  </a:lnTo>
                  <a:cubicBezTo>
                    <a:pt x="50207" y="43721"/>
                    <a:pt x="54712" y="51179"/>
                    <a:pt x="53035" y="60933"/>
                  </a:cubicBezTo>
                  <a:cubicBezTo>
                    <a:pt x="51864" y="67771"/>
                    <a:pt x="48178" y="72677"/>
                    <a:pt x="43367" y="75792"/>
                  </a:cubicBezTo>
                  <a:cubicBezTo>
                    <a:pt x="37814" y="79325"/>
                    <a:pt x="29309" y="80411"/>
                    <a:pt x="16088" y="78163"/>
                  </a:cubicBezTo>
                  <a:cubicBezTo>
                    <a:pt x="8697" y="76887"/>
                    <a:pt x="3267" y="75382"/>
                    <a:pt x="0" y="74258"/>
                  </a:cubicBezTo>
                  <a:lnTo>
                    <a:pt x="12745" y="39"/>
                  </a:lnTo>
                  <a:close/>
                  <a:moveTo>
                    <a:pt x="16916" y="65038"/>
                  </a:moveTo>
                  <a:cubicBezTo>
                    <a:pt x="18364" y="65495"/>
                    <a:pt x="20136" y="65809"/>
                    <a:pt x="22708" y="66248"/>
                  </a:cubicBezTo>
                  <a:cubicBezTo>
                    <a:pt x="29509" y="67410"/>
                    <a:pt x="36014" y="65524"/>
                    <a:pt x="37386" y="57561"/>
                  </a:cubicBezTo>
                  <a:cubicBezTo>
                    <a:pt x="38691" y="49941"/>
                    <a:pt x="33204" y="45883"/>
                    <a:pt x="25689" y="44607"/>
                  </a:cubicBezTo>
                  <a:lnTo>
                    <a:pt x="20574" y="43730"/>
                  </a:lnTo>
                  <a:lnTo>
                    <a:pt x="16916" y="65038"/>
                  </a:lnTo>
                  <a:close/>
                  <a:moveTo>
                    <a:pt x="22660" y="31510"/>
                  </a:moveTo>
                  <a:lnTo>
                    <a:pt x="27604" y="32358"/>
                  </a:lnTo>
                  <a:cubicBezTo>
                    <a:pt x="35490" y="33701"/>
                    <a:pt x="40357" y="30729"/>
                    <a:pt x="41329" y="25128"/>
                  </a:cubicBezTo>
                  <a:cubicBezTo>
                    <a:pt x="42301" y="19404"/>
                    <a:pt x="38976" y="15727"/>
                    <a:pt x="32176" y="14555"/>
                  </a:cubicBezTo>
                  <a:cubicBezTo>
                    <a:pt x="28928" y="14003"/>
                    <a:pt x="27013" y="13908"/>
                    <a:pt x="25689" y="13908"/>
                  </a:cubicBezTo>
                  <a:lnTo>
                    <a:pt x="22660" y="315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6" name="Полилиния: фигура 1435">
              <a:extLst>
                <a:ext uri="{FF2B5EF4-FFF2-40B4-BE49-F238E27FC236}">
                  <a16:creationId xmlns:a16="http://schemas.microsoft.com/office/drawing/2014/main" id="{7107B6B7-7811-45C8-BD54-47BC62160C4F}"/>
                </a:ext>
              </a:extLst>
            </p:cNvPr>
            <p:cNvSpPr/>
            <p:nvPr/>
          </p:nvSpPr>
          <p:spPr>
            <a:xfrm>
              <a:off x="9118667" y="1562561"/>
              <a:ext cx="18136" cy="20971"/>
            </a:xfrm>
            <a:custGeom>
              <a:avLst/>
              <a:gdLst>
                <a:gd name="connsiteX0" fmla="*/ 271 w 18136"/>
                <a:gd name="connsiteY0" fmla="*/ 8778 h 20971"/>
                <a:gd name="connsiteX1" fmla="*/ 11187 w 18136"/>
                <a:gd name="connsiteY1" fmla="*/ 177 h 20971"/>
                <a:gd name="connsiteX2" fmla="*/ 17845 w 18136"/>
                <a:gd name="connsiteY2" fmla="*/ 12293 h 20971"/>
                <a:gd name="connsiteX3" fmla="*/ 6948 w 18136"/>
                <a:gd name="connsiteY3" fmla="*/ 20789 h 20971"/>
                <a:gd name="connsiteX4" fmla="*/ 271 w 18136"/>
                <a:gd name="connsiteY4" fmla="*/ 8778 h 20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36" h="20971">
                  <a:moveTo>
                    <a:pt x="271" y="8778"/>
                  </a:moveTo>
                  <a:cubicBezTo>
                    <a:pt x="1481" y="2758"/>
                    <a:pt x="5986" y="-861"/>
                    <a:pt x="11187" y="177"/>
                  </a:cubicBezTo>
                  <a:cubicBezTo>
                    <a:pt x="16387" y="1225"/>
                    <a:pt x="19064" y="6178"/>
                    <a:pt x="17845" y="12293"/>
                  </a:cubicBezTo>
                  <a:cubicBezTo>
                    <a:pt x="16663" y="18208"/>
                    <a:pt x="12253" y="21846"/>
                    <a:pt x="6948" y="20789"/>
                  </a:cubicBezTo>
                  <a:cubicBezTo>
                    <a:pt x="1852" y="19751"/>
                    <a:pt x="-910" y="14693"/>
                    <a:pt x="271" y="877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7" name="Полилиния: фигура 1436">
              <a:extLst>
                <a:ext uri="{FF2B5EF4-FFF2-40B4-BE49-F238E27FC236}">
                  <a16:creationId xmlns:a16="http://schemas.microsoft.com/office/drawing/2014/main" id="{680BA6BC-D39C-4086-AE3A-C8CC836786F6}"/>
                </a:ext>
              </a:extLst>
            </p:cNvPr>
            <p:cNvSpPr/>
            <p:nvPr/>
          </p:nvSpPr>
          <p:spPr>
            <a:xfrm>
              <a:off x="9164001" y="1515570"/>
              <a:ext cx="71313" cy="87534"/>
            </a:xfrm>
            <a:custGeom>
              <a:avLst/>
              <a:gdLst>
                <a:gd name="connsiteX0" fmla="*/ 71314 w 71313"/>
                <a:gd name="connsiteY0" fmla="*/ 13040 h 87534"/>
                <a:gd name="connsiteX1" fmla="*/ 52949 w 71313"/>
                <a:gd name="connsiteY1" fmla="*/ 87535 h 87534"/>
                <a:gd name="connsiteX2" fmla="*/ 38090 w 71313"/>
                <a:gd name="connsiteY2" fmla="*/ 83877 h 87534"/>
                <a:gd name="connsiteX3" fmla="*/ 53026 w 71313"/>
                <a:gd name="connsiteY3" fmla="*/ 23193 h 87534"/>
                <a:gd name="connsiteX4" fmla="*/ 29804 w 71313"/>
                <a:gd name="connsiteY4" fmla="*/ 17478 h 87534"/>
                <a:gd name="connsiteX5" fmla="*/ 14869 w 71313"/>
                <a:gd name="connsiteY5" fmla="*/ 78162 h 87534"/>
                <a:gd name="connsiteX6" fmla="*/ 0 w 71313"/>
                <a:gd name="connsiteY6" fmla="*/ 74495 h 87534"/>
                <a:gd name="connsiteX7" fmla="*/ 18374 w 71313"/>
                <a:gd name="connsiteY7" fmla="*/ 0 h 87534"/>
                <a:gd name="connsiteX8" fmla="*/ 71314 w 71313"/>
                <a:gd name="connsiteY8" fmla="*/ 13040 h 87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313" h="87534">
                  <a:moveTo>
                    <a:pt x="71314" y="13040"/>
                  </a:moveTo>
                  <a:lnTo>
                    <a:pt x="52949" y="87535"/>
                  </a:lnTo>
                  <a:lnTo>
                    <a:pt x="38090" y="83877"/>
                  </a:lnTo>
                  <a:lnTo>
                    <a:pt x="53026" y="23193"/>
                  </a:lnTo>
                  <a:lnTo>
                    <a:pt x="29804" y="17478"/>
                  </a:lnTo>
                  <a:lnTo>
                    <a:pt x="14869" y="78162"/>
                  </a:lnTo>
                  <a:lnTo>
                    <a:pt x="0" y="74495"/>
                  </a:lnTo>
                  <a:lnTo>
                    <a:pt x="18374" y="0"/>
                  </a:lnTo>
                  <a:lnTo>
                    <a:pt x="71314" y="1304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8" name="Полилиния: фигура 1437">
              <a:extLst>
                <a:ext uri="{FF2B5EF4-FFF2-40B4-BE49-F238E27FC236}">
                  <a16:creationId xmlns:a16="http://schemas.microsoft.com/office/drawing/2014/main" id="{543C70EB-BEFB-4090-96D8-018630DCA3E2}"/>
                </a:ext>
              </a:extLst>
            </p:cNvPr>
            <p:cNvSpPr/>
            <p:nvPr/>
          </p:nvSpPr>
          <p:spPr>
            <a:xfrm>
              <a:off x="9223799" y="1534401"/>
              <a:ext cx="75961" cy="86363"/>
            </a:xfrm>
            <a:custGeom>
              <a:avLst/>
              <a:gdLst>
                <a:gd name="connsiteX0" fmla="*/ 75962 w 75961"/>
                <a:gd name="connsiteY0" fmla="*/ 12716 h 86363"/>
                <a:gd name="connsiteX1" fmla="*/ 54407 w 75961"/>
                <a:gd name="connsiteY1" fmla="*/ 86363 h 86363"/>
                <a:gd name="connsiteX2" fmla="*/ 39805 w 75961"/>
                <a:gd name="connsiteY2" fmla="*/ 82115 h 86363"/>
                <a:gd name="connsiteX3" fmla="*/ 57360 w 75961"/>
                <a:gd name="connsiteY3" fmla="*/ 22117 h 86363"/>
                <a:gd name="connsiteX4" fmla="*/ 42653 w 75961"/>
                <a:gd name="connsiteY4" fmla="*/ 17831 h 86363"/>
                <a:gd name="connsiteX5" fmla="*/ 37538 w 75961"/>
                <a:gd name="connsiteY5" fmla="*/ 35309 h 86363"/>
                <a:gd name="connsiteX6" fmla="*/ 13916 w 75961"/>
                <a:gd name="connsiteY6" fmla="*/ 71838 h 86363"/>
                <a:gd name="connsiteX7" fmla="*/ 0 w 75961"/>
                <a:gd name="connsiteY7" fmla="*/ 71676 h 86363"/>
                <a:gd name="connsiteX8" fmla="*/ 2105 w 75961"/>
                <a:gd name="connsiteY8" fmla="*/ 57712 h 86363"/>
                <a:gd name="connsiteX9" fmla="*/ 10639 w 75961"/>
                <a:gd name="connsiteY9" fmla="*/ 55931 h 86363"/>
                <a:gd name="connsiteX10" fmla="*/ 22908 w 75961"/>
                <a:gd name="connsiteY10" fmla="*/ 32233 h 86363"/>
                <a:gd name="connsiteX11" fmla="*/ 32337 w 75961"/>
                <a:gd name="connsiteY11" fmla="*/ 0 h 86363"/>
                <a:gd name="connsiteX12" fmla="*/ 75962 w 75961"/>
                <a:gd name="connsiteY12" fmla="*/ 12716 h 8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5961" h="86363">
                  <a:moveTo>
                    <a:pt x="75962" y="12716"/>
                  </a:moveTo>
                  <a:lnTo>
                    <a:pt x="54407" y="86363"/>
                  </a:lnTo>
                  <a:lnTo>
                    <a:pt x="39805" y="82115"/>
                  </a:lnTo>
                  <a:lnTo>
                    <a:pt x="57360" y="22117"/>
                  </a:lnTo>
                  <a:lnTo>
                    <a:pt x="42653" y="17831"/>
                  </a:lnTo>
                  <a:lnTo>
                    <a:pt x="37538" y="35309"/>
                  </a:lnTo>
                  <a:cubicBezTo>
                    <a:pt x="32013" y="54207"/>
                    <a:pt x="25660" y="68132"/>
                    <a:pt x="13916" y="71838"/>
                  </a:cubicBezTo>
                  <a:cubicBezTo>
                    <a:pt x="10049" y="72952"/>
                    <a:pt x="5191" y="73200"/>
                    <a:pt x="0" y="71676"/>
                  </a:cubicBezTo>
                  <a:lnTo>
                    <a:pt x="2105" y="57712"/>
                  </a:lnTo>
                  <a:cubicBezTo>
                    <a:pt x="5401" y="58198"/>
                    <a:pt x="8439" y="57417"/>
                    <a:pt x="10639" y="55931"/>
                  </a:cubicBezTo>
                  <a:cubicBezTo>
                    <a:pt x="15926" y="52483"/>
                    <a:pt x="19640" y="43377"/>
                    <a:pt x="22908" y="32233"/>
                  </a:cubicBezTo>
                  <a:lnTo>
                    <a:pt x="32337" y="0"/>
                  </a:lnTo>
                  <a:lnTo>
                    <a:pt x="75962" y="127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9" name="Полилиния: фигура 1438">
              <a:extLst>
                <a:ext uri="{FF2B5EF4-FFF2-40B4-BE49-F238E27FC236}">
                  <a16:creationId xmlns:a16="http://schemas.microsoft.com/office/drawing/2014/main" id="{2C83FD7E-A1F8-4CEC-B07C-6E177332CDA8}"/>
                </a:ext>
              </a:extLst>
            </p:cNvPr>
            <p:cNvSpPr/>
            <p:nvPr/>
          </p:nvSpPr>
          <p:spPr>
            <a:xfrm>
              <a:off x="9290474" y="1552050"/>
              <a:ext cx="63807" cy="86296"/>
            </a:xfrm>
            <a:custGeom>
              <a:avLst/>
              <a:gdLst>
                <a:gd name="connsiteX0" fmla="*/ 48358 w 63807"/>
                <a:gd name="connsiteY0" fmla="*/ 54645 h 86296"/>
                <a:gd name="connsiteX1" fmla="*/ 24803 w 63807"/>
                <a:gd name="connsiteY1" fmla="*/ 46796 h 86296"/>
                <a:gd name="connsiteX2" fmla="*/ 19031 w 63807"/>
                <a:gd name="connsiteY2" fmla="*/ 64056 h 86296"/>
                <a:gd name="connsiteX3" fmla="*/ 45348 w 63807"/>
                <a:gd name="connsiteY3" fmla="*/ 72819 h 86296"/>
                <a:gd name="connsiteX4" fmla="*/ 40824 w 63807"/>
                <a:gd name="connsiteY4" fmla="*/ 86297 h 86296"/>
                <a:gd name="connsiteX5" fmla="*/ 0 w 63807"/>
                <a:gd name="connsiteY5" fmla="*/ 72695 h 86296"/>
                <a:gd name="connsiteX6" fmla="*/ 24308 w 63807"/>
                <a:gd name="connsiteY6" fmla="*/ 0 h 86296"/>
                <a:gd name="connsiteX7" fmla="*/ 63808 w 63807"/>
                <a:gd name="connsiteY7" fmla="*/ 13164 h 86296"/>
                <a:gd name="connsiteX8" fmla="*/ 59312 w 63807"/>
                <a:gd name="connsiteY8" fmla="*/ 26651 h 86296"/>
                <a:gd name="connsiteX9" fmla="*/ 34337 w 63807"/>
                <a:gd name="connsiteY9" fmla="*/ 18326 h 86296"/>
                <a:gd name="connsiteX10" fmla="*/ 29270 w 63807"/>
                <a:gd name="connsiteY10" fmla="*/ 33423 h 86296"/>
                <a:gd name="connsiteX11" fmla="*/ 52835 w 63807"/>
                <a:gd name="connsiteY11" fmla="*/ 41272 h 86296"/>
                <a:gd name="connsiteX12" fmla="*/ 48358 w 63807"/>
                <a:gd name="connsiteY12" fmla="*/ 54645 h 86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807" h="86296">
                  <a:moveTo>
                    <a:pt x="48358" y="54645"/>
                  </a:moveTo>
                  <a:lnTo>
                    <a:pt x="24803" y="46796"/>
                  </a:lnTo>
                  <a:lnTo>
                    <a:pt x="19031" y="64056"/>
                  </a:lnTo>
                  <a:lnTo>
                    <a:pt x="45348" y="72819"/>
                  </a:lnTo>
                  <a:lnTo>
                    <a:pt x="40824" y="86297"/>
                  </a:lnTo>
                  <a:lnTo>
                    <a:pt x="0" y="72695"/>
                  </a:lnTo>
                  <a:lnTo>
                    <a:pt x="24308" y="0"/>
                  </a:lnTo>
                  <a:lnTo>
                    <a:pt x="63808" y="13164"/>
                  </a:lnTo>
                  <a:lnTo>
                    <a:pt x="59312" y="26651"/>
                  </a:lnTo>
                  <a:lnTo>
                    <a:pt x="34337" y="18326"/>
                  </a:lnTo>
                  <a:lnTo>
                    <a:pt x="29270" y="33423"/>
                  </a:lnTo>
                  <a:lnTo>
                    <a:pt x="52835" y="41272"/>
                  </a:lnTo>
                  <a:lnTo>
                    <a:pt x="48358" y="546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0" name="Полилиния: фигура 1439">
              <a:extLst>
                <a:ext uri="{FF2B5EF4-FFF2-40B4-BE49-F238E27FC236}">
                  <a16:creationId xmlns:a16="http://schemas.microsoft.com/office/drawing/2014/main" id="{E29320A7-BA80-4120-BF10-BD71D956C3E2}"/>
                </a:ext>
              </a:extLst>
            </p:cNvPr>
            <p:cNvSpPr/>
            <p:nvPr/>
          </p:nvSpPr>
          <p:spPr>
            <a:xfrm>
              <a:off x="9335946" y="1568281"/>
              <a:ext cx="80371" cy="92002"/>
            </a:xfrm>
            <a:custGeom>
              <a:avLst/>
              <a:gdLst>
                <a:gd name="connsiteX0" fmla="*/ 37948 w 80371"/>
                <a:gd name="connsiteY0" fmla="*/ 85820 h 92002"/>
                <a:gd name="connsiteX1" fmla="*/ 37100 w 80371"/>
                <a:gd name="connsiteY1" fmla="*/ 70675 h 92002"/>
                <a:gd name="connsiteX2" fmla="*/ 36300 w 80371"/>
                <a:gd name="connsiteY2" fmla="*/ 55674 h 92002"/>
                <a:gd name="connsiteX3" fmla="*/ 36100 w 80371"/>
                <a:gd name="connsiteY3" fmla="*/ 55597 h 92002"/>
                <a:gd name="connsiteX4" fmla="*/ 26413 w 80371"/>
                <a:gd name="connsiteY4" fmla="*/ 66665 h 92002"/>
                <a:gd name="connsiteX5" fmla="*/ 16316 w 80371"/>
                <a:gd name="connsiteY5" fmla="*/ 77715 h 92002"/>
                <a:gd name="connsiteX6" fmla="*/ 0 w 80371"/>
                <a:gd name="connsiteY6" fmla="*/ 71599 h 92002"/>
                <a:gd name="connsiteX7" fmla="*/ 31871 w 80371"/>
                <a:gd name="connsiteY7" fmla="*/ 42100 h 92002"/>
                <a:gd name="connsiteX8" fmla="*/ 27508 w 80371"/>
                <a:gd name="connsiteY8" fmla="*/ 0 h 92002"/>
                <a:gd name="connsiteX9" fmla="*/ 43920 w 80371"/>
                <a:gd name="connsiteY9" fmla="*/ 6153 h 92002"/>
                <a:gd name="connsiteX10" fmla="*/ 44539 w 80371"/>
                <a:gd name="connsiteY10" fmla="*/ 21326 h 92002"/>
                <a:gd name="connsiteX11" fmla="*/ 44872 w 80371"/>
                <a:gd name="connsiteY11" fmla="*/ 35062 h 92002"/>
                <a:gd name="connsiteX12" fmla="*/ 45044 w 80371"/>
                <a:gd name="connsiteY12" fmla="*/ 35128 h 92002"/>
                <a:gd name="connsiteX13" fmla="*/ 53835 w 80371"/>
                <a:gd name="connsiteY13" fmla="*/ 24813 h 92002"/>
                <a:gd name="connsiteX14" fmla="*/ 64084 w 80371"/>
                <a:gd name="connsiteY14" fmla="*/ 13697 h 92002"/>
                <a:gd name="connsiteX15" fmla="*/ 80372 w 80371"/>
                <a:gd name="connsiteY15" fmla="*/ 19802 h 92002"/>
                <a:gd name="connsiteX16" fmla="*/ 49473 w 80371"/>
                <a:gd name="connsiteY16" fmla="*/ 48196 h 92002"/>
                <a:gd name="connsiteX17" fmla="*/ 54464 w 80371"/>
                <a:gd name="connsiteY17" fmla="*/ 92002 h 92002"/>
                <a:gd name="connsiteX18" fmla="*/ 37948 w 80371"/>
                <a:gd name="connsiteY18" fmla="*/ 85820 h 92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0371" h="92002">
                  <a:moveTo>
                    <a:pt x="37948" y="85820"/>
                  </a:moveTo>
                  <a:lnTo>
                    <a:pt x="37100" y="70675"/>
                  </a:lnTo>
                  <a:cubicBezTo>
                    <a:pt x="36624" y="64780"/>
                    <a:pt x="36509" y="60493"/>
                    <a:pt x="36300" y="55674"/>
                  </a:cubicBezTo>
                  <a:lnTo>
                    <a:pt x="36100" y="55597"/>
                  </a:lnTo>
                  <a:cubicBezTo>
                    <a:pt x="33242" y="59265"/>
                    <a:pt x="30251" y="62398"/>
                    <a:pt x="26413" y="66665"/>
                  </a:cubicBezTo>
                  <a:lnTo>
                    <a:pt x="16316" y="77715"/>
                  </a:lnTo>
                  <a:lnTo>
                    <a:pt x="0" y="71599"/>
                  </a:lnTo>
                  <a:lnTo>
                    <a:pt x="31871" y="42100"/>
                  </a:lnTo>
                  <a:lnTo>
                    <a:pt x="27508" y="0"/>
                  </a:lnTo>
                  <a:lnTo>
                    <a:pt x="43920" y="6153"/>
                  </a:lnTo>
                  <a:lnTo>
                    <a:pt x="44539" y="21326"/>
                  </a:lnTo>
                  <a:cubicBezTo>
                    <a:pt x="44777" y="26403"/>
                    <a:pt x="44872" y="30442"/>
                    <a:pt x="44872" y="35062"/>
                  </a:cubicBezTo>
                  <a:lnTo>
                    <a:pt x="45044" y="35128"/>
                  </a:lnTo>
                  <a:cubicBezTo>
                    <a:pt x="48263" y="31109"/>
                    <a:pt x="50683" y="28365"/>
                    <a:pt x="53835" y="24813"/>
                  </a:cubicBezTo>
                  <a:lnTo>
                    <a:pt x="64084" y="13697"/>
                  </a:lnTo>
                  <a:lnTo>
                    <a:pt x="80372" y="19802"/>
                  </a:lnTo>
                  <a:lnTo>
                    <a:pt x="49473" y="48196"/>
                  </a:lnTo>
                  <a:lnTo>
                    <a:pt x="54464" y="92002"/>
                  </a:lnTo>
                  <a:lnTo>
                    <a:pt x="37948" y="8582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1" name="Полилиния: фигура 1440">
              <a:extLst>
                <a:ext uri="{FF2B5EF4-FFF2-40B4-BE49-F238E27FC236}">
                  <a16:creationId xmlns:a16="http://schemas.microsoft.com/office/drawing/2014/main" id="{58038305-CED7-4201-BE79-56D3D22A9CE5}"/>
                </a:ext>
              </a:extLst>
            </p:cNvPr>
            <p:cNvSpPr/>
            <p:nvPr/>
          </p:nvSpPr>
          <p:spPr>
            <a:xfrm>
              <a:off x="9393192" y="1598609"/>
              <a:ext cx="67189" cy="86515"/>
            </a:xfrm>
            <a:custGeom>
              <a:avLst/>
              <a:gdLst>
                <a:gd name="connsiteX0" fmla="*/ 26632 w 67189"/>
                <a:gd name="connsiteY0" fmla="*/ 52540 h 86515"/>
                <a:gd name="connsiteX1" fmla="*/ 14573 w 67189"/>
                <a:gd name="connsiteY1" fmla="*/ 68818 h 86515"/>
                <a:gd name="connsiteX2" fmla="*/ 0 w 67189"/>
                <a:gd name="connsiteY2" fmla="*/ 62694 h 86515"/>
                <a:gd name="connsiteX3" fmla="*/ 48720 w 67189"/>
                <a:gd name="connsiteY3" fmla="*/ 0 h 86515"/>
                <a:gd name="connsiteX4" fmla="*/ 67189 w 67189"/>
                <a:gd name="connsiteY4" fmla="*/ 7753 h 86515"/>
                <a:gd name="connsiteX5" fmla="*/ 56750 w 67189"/>
                <a:gd name="connsiteY5" fmla="*/ 86516 h 86515"/>
                <a:gd name="connsiteX6" fmla="*/ 41605 w 67189"/>
                <a:gd name="connsiteY6" fmla="*/ 80162 h 86515"/>
                <a:gd name="connsiteX7" fmla="*/ 44444 w 67189"/>
                <a:gd name="connsiteY7" fmla="*/ 60008 h 86515"/>
                <a:gd name="connsiteX8" fmla="*/ 26632 w 67189"/>
                <a:gd name="connsiteY8" fmla="*/ 52540 h 86515"/>
                <a:gd name="connsiteX9" fmla="*/ 47434 w 67189"/>
                <a:gd name="connsiteY9" fmla="*/ 47206 h 86515"/>
                <a:gd name="connsiteX10" fmla="*/ 49854 w 67189"/>
                <a:gd name="connsiteY10" fmla="*/ 30585 h 86515"/>
                <a:gd name="connsiteX11" fmla="*/ 52454 w 67189"/>
                <a:gd name="connsiteY11" fmla="*/ 15631 h 86515"/>
                <a:gd name="connsiteX12" fmla="*/ 52264 w 67189"/>
                <a:gd name="connsiteY12" fmla="*/ 15564 h 86515"/>
                <a:gd name="connsiteX13" fmla="*/ 43672 w 67189"/>
                <a:gd name="connsiteY13" fmla="*/ 27994 h 86515"/>
                <a:gd name="connsiteX14" fmla="*/ 33671 w 67189"/>
                <a:gd name="connsiteY14" fmla="*/ 41434 h 86515"/>
                <a:gd name="connsiteX15" fmla="*/ 47434 w 67189"/>
                <a:gd name="connsiteY15" fmla="*/ 47206 h 8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189" h="86515">
                  <a:moveTo>
                    <a:pt x="26632" y="52540"/>
                  </a:moveTo>
                  <a:lnTo>
                    <a:pt x="14573" y="68818"/>
                  </a:lnTo>
                  <a:lnTo>
                    <a:pt x="0" y="62694"/>
                  </a:lnTo>
                  <a:lnTo>
                    <a:pt x="48720" y="0"/>
                  </a:lnTo>
                  <a:lnTo>
                    <a:pt x="67189" y="7753"/>
                  </a:lnTo>
                  <a:lnTo>
                    <a:pt x="56750" y="86516"/>
                  </a:lnTo>
                  <a:lnTo>
                    <a:pt x="41605" y="80162"/>
                  </a:lnTo>
                  <a:lnTo>
                    <a:pt x="44444" y="60008"/>
                  </a:lnTo>
                  <a:lnTo>
                    <a:pt x="26632" y="52540"/>
                  </a:lnTo>
                  <a:close/>
                  <a:moveTo>
                    <a:pt x="47434" y="47206"/>
                  </a:moveTo>
                  <a:lnTo>
                    <a:pt x="49854" y="30585"/>
                  </a:lnTo>
                  <a:cubicBezTo>
                    <a:pt x="50511" y="25918"/>
                    <a:pt x="51606" y="20212"/>
                    <a:pt x="52454" y="15631"/>
                  </a:cubicBezTo>
                  <a:lnTo>
                    <a:pt x="52264" y="15564"/>
                  </a:lnTo>
                  <a:cubicBezTo>
                    <a:pt x="49587" y="19364"/>
                    <a:pt x="46415" y="24317"/>
                    <a:pt x="43672" y="27994"/>
                  </a:cubicBezTo>
                  <a:lnTo>
                    <a:pt x="33671" y="41434"/>
                  </a:lnTo>
                  <a:lnTo>
                    <a:pt x="47434" y="472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2" name="Полилиния: фигура 1441">
              <a:extLst>
                <a:ext uri="{FF2B5EF4-FFF2-40B4-BE49-F238E27FC236}">
                  <a16:creationId xmlns:a16="http://schemas.microsoft.com/office/drawing/2014/main" id="{57E88F0E-B579-47C7-9A70-07D4D4260974}"/>
                </a:ext>
              </a:extLst>
            </p:cNvPr>
            <p:cNvSpPr/>
            <p:nvPr/>
          </p:nvSpPr>
          <p:spPr>
            <a:xfrm>
              <a:off x="9457628" y="1619230"/>
              <a:ext cx="82934" cy="93011"/>
            </a:xfrm>
            <a:custGeom>
              <a:avLst/>
              <a:gdLst>
                <a:gd name="connsiteX0" fmla="*/ 46444 w 82934"/>
                <a:gd name="connsiteY0" fmla="*/ 6496 h 93011"/>
                <a:gd name="connsiteX1" fmla="*/ 33909 w 82934"/>
                <a:gd name="connsiteY1" fmla="*/ 33157 h 93011"/>
                <a:gd name="connsiteX2" fmla="*/ 56636 w 82934"/>
                <a:gd name="connsiteY2" fmla="*/ 43834 h 93011"/>
                <a:gd name="connsiteX3" fmla="*/ 69170 w 82934"/>
                <a:gd name="connsiteY3" fmla="*/ 17164 h 93011"/>
                <a:gd name="connsiteX4" fmla="*/ 82934 w 82934"/>
                <a:gd name="connsiteY4" fmla="*/ 23622 h 93011"/>
                <a:gd name="connsiteX5" fmla="*/ 50349 w 82934"/>
                <a:gd name="connsiteY5" fmla="*/ 93012 h 93011"/>
                <a:gd name="connsiteX6" fmla="*/ 36586 w 82934"/>
                <a:gd name="connsiteY6" fmla="*/ 86554 h 93011"/>
                <a:gd name="connsiteX7" fmla="*/ 50216 w 82934"/>
                <a:gd name="connsiteY7" fmla="*/ 57521 h 93011"/>
                <a:gd name="connsiteX8" fmla="*/ 27489 w 82934"/>
                <a:gd name="connsiteY8" fmla="*/ 46863 h 93011"/>
                <a:gd name="connsiteX9" fmla="*/ 13849 w 82934"/>
                <a:gd name="connsiteY9" fmla="*/ 75895 h 93011"/>
                <a:gd name="connsiteX10" fmla="*/ 0 w 82934"/>
                <a:gd name="connsiteY10" fmla="*/ 69399 h 93011"/>
                <a:gd name="connsiteX11" fmla="*/ 32585 w 82934"/>
                <a:gd name="connsiteY11" fmla="*/ 0 h 93011"/>
                <a:gd name="connsiteX12" fmla="*/ 46444 w 82934"/>
                <a:gd name="connsiteY12" fmla="*/ 6496 h 93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2934" h="93011">
                  <a:moveTo>
                    <a:pt x="46444" y="6496"/>
                  </a:moveTo>
                  <a:lnTo>
                    <a:pt x="33909" y="33157"/>
                  </a:lnTo>
                  <a:lnTo>
                    <a:pt x="56636" y="43834"/>
                  </a:lnTo>
                  <a:lnTo>
                    <a:pt x="69170" y="17164"/>
                  </a:lnTo>
                  <a:lnTo>
                    <a:pt x="82934" y="23622"/>
                  </a:lnTo>
                  <a:lnTo>
                    <a:pt x="50349" y="93012"/>
                  </a:lnTo>
                  <a:lnTo>
                    <a:pt x="36586" y="86554"/>
                  </a:lnTo>
                  <a:lnTo>
                    <a:pt x="50216" y="57521"/>
                  </a:lnTo>
                  <a:lnTo>
                    <a:pt x="27489" y="46863"/>
                  </a:lnTo>
                  <a:lnTo>
                    <a:pt x="13849" y="75895"/>
                  </a:lnTo>
                  <a:lnTo>
                    <a:pt x="0" y="69399"/>
                  </a:lnTo>
                  <a:lnTo>
                    <a:pt x="32585" y="0"/>
                  </a:lnTo>
                  <a:lnTo>
                    <a:pt x="46444" y="64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3" name="Полилиния: фигура 1442">
              <a:extLst>
                <a:ext uri="{FF2B5EF4-FFF2-40B4-BE49-F238E27FC236}">
                  <a16:creationId xmlns:a16="http://schemas.microsoft.com/office/drawing/2014/main" id="{D04B8A51-6E95-4F86-8540-80DEA623298F}"/>
                </a:ext>
              </a:extLst>
            </p:cNvPr>
            <p:cNvSpPr/>
            <p:nvPr/>
          </p:nvSpPr>
          <p:spPr>
            <a:xfrm>
              <a:off x="9528013" y="1658992"/>
              <a:ext cx="69918" cy="77070"/>
            </a:xfrm>
            <a:custGeom>
              <a:avLst/>
              <a:gdLst>
                <a:gd name="connsiteX0" fmla="*/ 64041 w 69918"/>
                <a:gd name="connsiteY0" fmla="*/ 52821 h 77070"/>
                <a:gd name="connsiteX1" fmla="*/ 15969 w 69918"/>
                <a:gd name="connsiteY1" fmla="*/ 73214 h 77070"/>
                <a:gd name="connsiteX2" fmla="*/ 5958 w 69918"/>
                <a:gd name="connsiteY2" fmla="*/ 23942 h 77070"/>
                <a:gd name="connsiteX3" fmla="*/ 53659 w 69918"/>
                <a:gd name="connsiteY3" fmla="*/ 3587 h 77070"/>
                <a:gd name="connsiteX4" fmla="*/ 64041 w 69918"/>
                <a:gd name="connsiteY4" fmla="*/ 52821 h 77070"/>
                <a:gd name="connsiteX5" fmla="*/ 20398 w 69918"/>
                <a:gd name="connsiteY5" fmla="*/ 31114 h 77070"/>
                <a:gd name="connsiteX6" fmla="*/ 23074 w 69918"/>
                <a:gd name="connsiteY6" fmla="*/ 61403 h 77070"/>
                <a:gd name="connsiteX7" fmla="*/ 49516 w 69918"/>
                <a:gd name="connsiteY7" fmla="*/ 45849 h 77070"/>
                <a:gd name="connsiteX8" fmla="*/ 46934 w 69918"/>
                <a:gd name="connsiteY8" fmla="*/ 15617 h 77070"/>
                <a:gd name="connsiteX9" fmla="*/ 20398 w 69918"/>
                <a:gd name="connsiteY9" fmla="*/ 31114 h 77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918" h="77070">
                  <a:moveTo>
                    <a:pt x="64041" y="52821"/>
                  </a:moveTo>
                  <a:cubicBezTo>
                    <a:pt x="52383" y="75091"/>
                    <a:pt x="33428" y="82368"/>
                    <a:pt x="15969" y="73214"/>
                  </a:cubicBezTo>
                  <a:cubicBezTo>
                    <a:pt x="-1757" y="63937"/>
                    <a:pt x="-4158" y="43287"/>
                    <a:pt x="5958" y="23942"/>
                  </a:cubicBezTo>
                  <a:cubicBezTo>
                    <a:pt x="16607" y="3577"/>
                    <a:pt x="36009" y="-5643"/>
                    <a:pt x="53659" y="3587"/>
                  </a:cubicBezTo>
                  <a:cubicBezTo>
                    <a:pt x="72023" y="13226"/>
                    <a:pt x="73852" y="34086"/>
                    <a:pt x="64041" y="52821"/>
                  </a:cubicBezTo>
                  <a:close/>
                  <a:moveTo>
                    <a:pt x="20398" y="31114"/>
                  </a:moveTo>
                  <a:cubicBezTo>
                    <a:pt x="13435" y="44411"/>
                    <a:pt x="14016" y="56660"/>
                    <a:pt x="23074" y="61403"/>
                  </a:cubicBezTo>
                  <a:cubicBezTo>
                    <a:pt x="32199" y="66185"/>
                    <a:pt x="42600" y="59051"/>
                    <a:pt x="49516" y="45849"/>
                  </a:cubicBezTo>
                  <a:cubicBezTo>
                    <a:pt x="55907" y="33657"/>
                    <a:pt x="56240" y="20484"/>
                    <a:pt x="46934" y="15617"/>
                  </a:cubicBezTo>
                  <a:cubicBezTo>
                    <a:pt x="37790" y="10835"/>
                    <a:pt x="27294" y="17922"/>
                    <a:pt x="20398" y="311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4" name="Полилиния: фигура 1443">
              <a:extLst>
                <a:ext uri="{FF2B5EF4-FFF2-40B4-BE49-F238E27FC236}">
                  <a16:creationId xmlns:a16="http://schemas.microsoft.com/office/drawing/2014/main" id="{7679396D-2E5D-4BD6-A58C-AECD6D5A6638}"/>
                </a:ext>
              </a:extLst>
            </p:cNvPr>
            <p:cNvSpPr/>
            <p:nvPr/>
          </p:nvSpPr>
          <p:spPr>
            <a:xfrm>
              <a:off x="9582415" y="1685734"/>
              <a:ext cx="72648" cy="82116"/>
            </a:xfrm>
            <a:custGeom>
              <a:avLst/>
              <a:gdLst>
                <a:gd name="connsiteX0" fmla="*/ 37652 w 72648"/>
                <a:gd name="connsiteY0" fmla="*/ 0 h 82116"/>
                <a:gd name="connsiteX1" fmla="*/ 55512 w 72648"/>
                <a:gd name="connsiteY1" fmla="*/ 8458 h 82116"/>
                <a:gd name="connsiteX2" fmla="*/ 70599 w 72648"/>
                <a:gd name="connsiteY2" fmla="*/ 22136 h 82116"/>
                <a:gd name="connsiteX3" fmla="*/ 70104 w 72648"/>
                <a:gd name="connsiteY3" fmla="*/ 39195 h 82116"/>
                <a:gd name="connsiteX4" fmla="*/ 52292 w 72648"/>
                <a:gd name="connsiteY4" fmla="*/ 47844 h 82116"/>
                <a:gd name="connsiteX5" fmla="*/ 52178 w 72648"/>
                <a:gd name="connsiteY5" fmla="*/ 48035 h 82116"/>
                <a:gd name="connsiteX6" fmla="*/ 54350 w 72648"/>
                <a:gd name="connsiteY6" fmla="*/ 71085 h 82116"/>
                <a:gd name="connsiteX7" fmla="*/ 40157 w 72648"/>
                <a:gd name="connsiteY7" fmla="*/ 81686 h 82116"/>
                <a:gd name="connsiteX8" fmla="*/ 13735 w 72648"/>
                <a:gd name="connsiteY8" fmla="*/ 74476 h 82116"/>
                <a:gd name="connsiteX9" fmla="*/ 0 w 72648"/>
                <a:gd name="connsiteY9" fmla="*/ 65246 h 82116"/>
                <a:gd name="connsiteX10" fmla="*/ 37652 w 72648"/>
                <a:gd name="connsiteY10" fmla="*/ 0 h 82116"/>
                <a:gd name="connsiteX11" fmla="*/ 19069 w 72648"/>
                <a:gd name="connsiteY11" fmla="*/ 62436 h 82116"/>
                <a:gd name="connsiteX12" fmla="*/ 24051 w 72648"/>
                <a:gd name="connsiteY12" fmla="*/ 65589 h 82116"/>
                <a:gd name="connsiteX13" fmla="*/ 40824 w 72648"/>
                <a:gd name="connsiteY13" fmla="*/ 62513 h 82116"/>
                <a:gd name="connsiteX14" fmla="*/ 34376 w 72648"/>
                <a:gd name="connsiteY14" fmla="*/ 46301 h 82116"/>
                <a:gd name="connsiteX15" fmla="*/ 29870 w 72648"/>
                <a:gd name="connsiteY15" fmla="*/ 43710 h 82116"/>
                <a:gd name="connsiteX16" fmla="*/ 19069 w 72648"/>
                <a:gd name="connsiteY16" fmla="*/ 62436 h 82116"/>
                <a:gd name="connsiteX17" fmla="*/ 36081 w 72648"/>
                <a:gd name="connsiteY17" fmla="*/ 32966 h 82116"/>
                <a:gd name="connsiteX18" fmla="*/ 40396 w 72648"/>
                <a:gd name="connsiteY18" fmla="*/ 35471 h 82116"/>
                <a:gd name="connsiteX19" fmla="*/ 55769 w 72648"/>
                <a:gd name="connsiteY19" fmla="*/ 33423 h 82116"/>
                <a:gd name="connsiteX20" fmla="*/ 50844 w 72648"/>
                <a:gd name="connsiteY20" fmla="*/ 20345 h 82116"/>
                <a:gd name="connsiteX21" fmla="*/ 44996 w 72648"/>
                <a:gd name="connsiteY21" fmla="*/ 17497 h 82116"/>
                <a:gd name="connsiteX22" fmla="*/ 36081 w 72648"/>
                <a:gd name="connsiteY22" fmla="*/ 32966 h 82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2648" h="82116">
                  <a:moveTo>
                    <a:pt x="37652" y="0"/>
                  </a:moveTo>
                  <a:cubicBezTo>
                    <a:pt x="41577" y="1210"/>
                    <a:pt x="48930" y="4667"/>
                    <a:pt x="55512" y="8458"/>
                  </a:cubicBezTo>
                  <a:cubicBezTo>
                    <a:pt x="63551" y="13097"/>
                    <a:pt x="67980" y="16831"/>
                    <a:pt x="70599" y="22136"/>
                  </a:cubicBezTo>
                  <a:cubicBezTo>
                    <a:pt x="73257" y="26946"/>
                    <a:pt x="73571" y="33176"/>
                    <a:pt x="70104" y="39195"/>
                  </a:cubicBezTo>
                  <a:cubicBezTo>
                    <a:pt x="66694" y="45110"/>
                    <a:pt x="60465" y="48873"/>
                    <a:pt x="52292" y="47844"/>
                  </a:cubicBezTo>
                  <a:lnTo>
                    <a:pt x="52178" y="48035"/>
                  </a:lnTo>
                  <a:cubicBezTo>
                    <a:pt x="57645" y="53950"/>
                    <a:pt x="59284" y="62513"/>
                    <a:pt x="54350" y="71085"/>
                  </a:cubicBezTo>
                  <a:cubicBezTo>
                    <a:pt x="50892" y="77095"/>
                    <a:pt x="45729" y="80439"/>
                    <a:pt x="40157" y="81686"/>
                  </a:cubicBezTo>
                  <a:cubicBezTo>
                    <a:pt x="33709" y="83087"/>
                    <a:pt x="25327" y="81163"/>
                    <a:pt x="13735" y="74476"/>
                  </a:cubicBezTo>
                  <a:cubicBezTo>
                    <a:pt x="7230" y="70723"/>
                    <a:pt x="2657" y="67447"/>
                    <a:pt x="0" y="65246"/>
                  </a:cubicBezTo>
                  <a:lnTo>
                    <a:pt x="37652" y="0"/>
                  </a:lnTo>
                  <a:close/>
                  <a:moveTo>
                    <a:pt x="19069" y="62436"/>
                  </a:moveTo>
                  <a:cubicBezTo>
                    <a:pt x="20250" y="63389"/>
                    <a:pt x="21812" y="64284"/>
                    <a:pt x="24051" y="65589"/>
                  </a:cubicBezTo>
                  <a:cubicBezTo>
                    <a:pt x="30042" y="69028"/>
                    <a:pt x="36795" y="69504"/>
                    <a:pt x="40824" y="62513"/>
                  </a:cubicBezTo>
                  <a:cubicBezTo>
                    <a:pt x="44701" y="55807"/>
                    <a:pt x="40957" y="50102"/>
                    <a:pt x="34376" y="46301"/>
                  </a:cubicBezTo>
                  <a:lnTo>
                    <a:pt x="29870" y="43710"/>
                  </a:lnTo>
                  <a:lnTo>
                    <a:pt x="19069" y="62436"/>
                  </a:lnTo>
                  <a:close/>
                  <a:moveTo>
                    <a:pt x="36081" y="32966"/>
                  </a:moveTo>
                  <a:lnTo>
                    <a:pt x="40396" y="35471"/>
                  </a:lnTo>
                  <a:cubicBezTo>
                    <a:pt x="47339" y="39462"/>
                    <a:pt x="52930" y="38348"/>
                    <a:pt x="55769" y="33423"/>
                  </a:cubicBezTo>
                  <a:cubicBezTo>
                    <a:pt x="58664" y="28404"/>
                    <a:pt x="56835" y="23784"/>
                    <a:pt x="50844" y="20345"/>
                  </a:cubicBezTo>
                  <a:cubicBezTo>
                    <a:pt x="47996" y="18698"/>
                    <a:pt x="46225" y="17945"/>
                    <a:pt x="44996" y="17497"/>
                  </a:cubicBezTo>
                  <a:lnTo>
                    <a:pt x="36081" y="3296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5" name="Полилиния: фигура 1444">
              <a:extLst>
                <a:ext uri="{FF2B5EF4-FFF2-40B4-BE49-F238E27FC236}">
                  <a16:creationId xmlns:a16="http://schemas.microsoft.com/office/drawing/2014/main" id="{A7505FC2-FA95-48C6-AD90-6EAA73BA77D0}"/>
                </a:ext>
              </a:extLst>
            </p:cNvPr>
            <p:cNvSpPr/>
            <p:nvPr/>
          </p:nvSpPr>
          <p:spPr>
            <a:xfrm>
              <a:off x="9629773" y="1724710"/>
              <a:ext cx="75257" cy="86706"/>
            </a:xfrm>
            <a:custGeom>
              <a:avLst/>
              <a:gdLst>
                <a:gd name="connsiteX0" fmla="*/ 27937 w 75257"/>
                <a:gd name="connsiteY0" fmla="*/ 48282 h 86706"/>
                <a:gd name="connsiteX1" fmla="*/ 13392 w 75257"/>
                <a:gd name="connsiteY1" fmla="*/ 62389 h 86706"/>
                <a:gd name="connsiteX2" fmla="*/ 0 w 75257"/>
                <a:gd name="connsiteY2" fmla="*/ 53988 h 86706"/>
                <a:gd name="connsiteX3" fmla="*/ 58312 w 75257"/>
                <a:gd name="connsiteY3" fmla="*/ 0 h 86706"/>
                <a:gd name="connsiteX4" fmla="*/ 75257 w 75257"/>
                <a:gd name="connsiteY4" fmla="*/ 10649 h 86706"/>
                <a:gd name="connsiteX5" fmla="*/ 52111 w 75257"/>
                <a:gd name="connsiteY5" fmla="*/ 86706 h 86706"/>
                <a:gd name="connsiteX6" fmla="*/ 38215 w 75257"/>
                <a:gd name="connsiteY6" fmla="*/ 77991 h 86706"/>
                <a:gd name="connsiteX7" fmla="*/ 44291 w 75257"/>
                <a:gd name="connsiteY7" fmla="*/ 58550 h 86706"/>
                <a:gd name="connsiteX8" fmla="*/ 27937 w 75257"/>
                <a:gd name="connsiteY8" fmla="*/ 48282 h 86706"/>
                <a:gd name="connsiteX9" fmla="*/ 49349 w 75257"/>
                <a:gd name="connsiteY9" fmla="*/ 46396 h 86706"/>
                <a:gd name="connsiteX10" fmla="*/ 54455 w 75257"/>
                <a:gd name="connsiteY10" fmla="*/ 30375 h 86706"/>
                <a:gd name="connsiteX11" fmla="*/ 59446 w 75257"/>
                <a:gd name="connsiteY11" fmla="*/ 16050 h 86706"/>
                <a:gd name="connsiteX12" fmla="*/ 59284 w 75257"/>
                <a:gd name="connsiteY12" fmla="*/ 15935 h 86706"/>
                <a:gd name="connsiteX13" fmla="*/ 48759 w 75257"/>
                <a:gd name="connsiteY13" fmla="*/ 26813 h 86706"/>
                <a:gd name="connsiteX14" fmla="*/ 36700 w 75257"/>
                <a:gd name="connsiteY14" fmla="*/ 38462 h 86706"/>
                <a:gd name="connsiteX15" fmla="*/ 49349 w 75257"/>
                <a:gd name="connsiteY15" fmla="*/ 46396 h 86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5257" h="86706">
                  <a:moveTo>
                    <a:pt x="27937" y="48282"/>
                  </a:moveTo>
                  <a:lnTo>
                    <a:pt x="13392" y="62389"/>
                  </a:lnTo>
                  <a:lnTo>
                    <a:pt x="0" y="53988"/>
                  </a:lnTo>
                  <a:lnTo>
                    <a:pt x="58312" y="0"/>
                  </a:lnTo>
                  <a:lnTo>
                    <a:pt x="75257" y="10649"/>
                  </a:lnTo>
                  <a:lnTo>
                    <a:pt x="52111" y="86706"/>
                  </a:lnTo>
                  <a:lnTo>
                    <a:pt x="38215" y="77991"/>
                  </a:lnTo>
                  <a:lnTo>
                    <a:pt x="44291" y="58550"/>
                  </a:lnTo>
                  <a:lnTo>
                    <a:pt x="27937" y="48282"/>
                  </a:lnTo>
                  <a:close/>
                  <a:moveTo>
                    <a:pt x="49349" y="46396"/>
                  </a:moveTo>
                  <a:lnTo>
                    <a:pt x="54455" y="30375"/>
                  </a:lnTo>
                  <a:cubicBezTo>
                    <a:pt x="55855" y="25889"/>
                    <a:pt x="57864" y="20422"/>
                    <a:pt x="59446" y="16050"/>
                  </a:cubicBezTo>
                  <a:lnTo>
                    <a:pt x="59284" y="15935"/>
                  </a:lnTo>
                  <a:cubicBezTo>
                    <a:pt x="56017" y="19250"/>
                    <a:pt x="52064" y="23641"/>
                    <a:pt x="48759" y="26813"/>
                  </a:cubicBezTo>
                  <a:lnTo>
                    <a:pt x="36700" y="38462"/>
                  </a:lnTo>
                  <a:lnTo>
                    <a:pt x="49349" y="463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6" name="Полилиния: фигура 1445">
              <a:extLst>
                <a:ext uri="{FF2B5EF4-FFF2-40B4-BE49-F238E27FC236}">
                  <a16:creationId xmlns:a16="http://schemas.microsoft.com/office/drawing/2014/main" id="{28E1BB1D-D69E-477F-B42D-FFB06C87D98D}"/>
                </a:ext>
              </a:extLst>
            </p:cNvPr>
            <p:cNvSpPr/>
            <p:nvPr/>
          </p:nvSpPr>
          <p:spPr>
            <a:xfrm>
              <a:off x="8046052" y="1436215"/>
              <a:ext cx="117161" cy="139364"/>
            </a:xfrm>
            <a:custGeom>
              <a:avLst/>
              <a:gdLst>
                <a:gd name="connsiteX0" fmla="*/ 31337 w 117161"/>
                <a:gd name="connsiteY0" fmla="*/ 66031 h 139364"/>
                <a:gd name="connsiteX1" fmla="*/ 76714 w 117161"/>
                <a:gd name="connsiteY1" fmla="*/ 44051 h 139364"/>
                <a:gd name="connsiteX2" fmla="*/ 33576 w 117161"/>
                <a:gd name="connsiteY2" fmla="*/ 29451 h 139364"/>
                <a:gd name="connsiteX3" fmla="*/ 14497 w 117161"/>
                <a:gd name="connsiteY3" fmla="*/ 44867 h 139364"/>
                <a:gd name="connsiteX4" fmla="*/ 0 w 117161"/>
                <a:gd name="connsiteY4" fmla="*/ 26976 h 139364"/>
                <a:gd name="connsiteX5" fmla="*/ 24822 w 117161"/>
                <a:gd name="connsiteY5" fmla="*/ 6576 h 139364"/>
                <a:gd name="connsiteX6" fmla="*/ 108061 w 117161"/>
                <a:gd name="connsiteY6" fmla="*/ 43185 h 139364"/>
                <a:gd name="connsiteX7" fmla="*/ 82810 w 117161"/>
                <a:gd name="connsiteY7" fmla="*/ 131914 h 139364"/>
                <a:gd name="connsiteX8" fmla="*/ 52883 w 117161"/>
                <a:gd name="connsiteY8" fmla="*/ 139353 h 139364"/>
                <a:gd name="connsiteX9" fmla="*/ 46844 w 117161"/>
                <a:gd name="connsiteY9" fmla="*/ 116483 h 139364"/>
                <a:gd name="connsiteX10" fmla="*/ 70123 w 117161"/>
                <a:gd name="connsiteY10" fmla="*/ 110501 h 139364"/>
                <a:gd name="connsiteX11" fmla="*/ 86839 w 117161"/>
                <a:gd name="connsiteY11" fmla="*/ 65382 h 139364"/>
                <a:gd name="connsiteX12" fmla="*/ 41624 w 117161"/>
                <a:gd name="connsiteY12" fmla="*/ 87280 h 139364"/>
                <a:gd name="connsiteX13" fmla="*/ 31337 w 117161"/>
                <a:gd name="connsiteY13" fmla="*/ 66031 h 139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7161" h="139364">
                  <a:moveTo>
                    <a:pt x="31337" y="66031"/>
                  </a:moveTo>
                  <a:lnTo>
                    <a:pt x="76714" y="44051"/>
                  </a:lnTo>
                  <a:cubicBezTo>
                    <a:pt x="67361" y="28751"/>
                    <a:pt x="51321" y="20867"/>
                    <a:pt x="33576" y="29451"/>
                  </a:cubicBezTo>
                  <a:cubicBezTo>
                    <a:pt x="25270" y="33486"/>
                    <a:pt x="18640" y="39791"/>
                    <a:pt x="14497" y="44867"/>
                  </a:cubicBezTo>
                  <a:lnTo>
                    <a:pt x="0" y="26976"/>
                  </a:lnTo>
                  <a:cubicBezTo>
                    <a:pt x="4877" y="20650"/>
                    <a:pt x="13525" y="12055"/>
                    <a:pt x="24822" y="6576"/>
                  </a:cubicBezTo>
                  <a:cubicBezTo>
                    <a:pt x="62046" y="-11440"/>
                    <a:pt x="91907" y="9796"/>
                    <a:pt x="108061" y="43185"/>
                  </a:cubicBezTo>
                  <a:cubicBezTo>
                    <a:pt x="127683" y="83717"/>
                    <a:pt x="113890" y="116845"/>
                    <a:pt x="82810" y="131914"/>
                  </a:cubicBezTo>
                  <a:cubicBezTo>
                    <a:pt x="71818" y="137238"/>
                    <a:pt x="59750" y="139553"/>
                    <a:pt x="52883" y="139353"/>
                  </a:cubicBezTo>
                  <a:lnTo>
                    <a:pt x="46844" y="116483"/>
                  </a:lnTo>
                  <a:cubicBezTo>
                    <a:pt x="53540" y="116331"/>
                    <a:pt x="62570" y="114159"/>
                    <a:pt x="70123" y="110501"/>
                  </a:cubicBezTo>
                  <a:cubicBezTo>
                    <a:pt x="88182" y="101767"/>
                    <a:pt x="93440" y="83793"/>
                    <a:pt x="86839" y="65382"/>
                  </a:cubicBezTo>
                  <a:lnTo>
                    <a:pt x="41624" y="87280"/>
                  </a:lnTo>
                  <a:lnTo>
                    <a:pt x="31337" y="6603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7" name="Полилиния: фигура 1446">
              <a:extLst>
                <a:ext uri="{FF2B5EF4-FFF2-40B4-BE49-F238E27FC236}">
                  <a16:creationId xmlns:a16="http://schemas.microsoft.com/office/drawing/2014/main" id="{83E8EF60-4F7C-4B44-B9BD-246E2170BAC0}"/>
                </a:ext>
              </a:extLst>
            </p:cNvPr>
            <p:cNvSpPr/>
            <p:nvPr/>
          </p:nvSpPr>
          <p:spPr>
            <a:xfrm>
              <a:off x="8151055" y="1372729"/>
              <a:ext cx="136036" cy="158928"/>
            </a:xfrm>
            <a:custGeom>
              <a:avLst/>
              <a:gdLst>
                <a:gd name="connsiteX0" fmla="*/ 24432 w 136036"/>
                <a:gd name="connsiteY0" fmla="*/ 25032 h 158928"/>
                <a:gd name="connsiteX1" fmla="*/ 45206 w 136036"/>
                <a:gd name="connsiteY1" fmla="*/ 76561 h 158928"/>
                <a:gd name="connsiteX2" fmla="*/ 47292 w 136036"/>
                <a:gd name="connsiteY2" fmla="*/ 75716 h 158928"/>
                <a:gd name="connsiteX3" fmla="*/ 56626 w 136036"/>
                <a:gd name="connsiteY3" fmla="*/ 12061 h 158928"/>
                <a:gd name="connsiteX4" fmla="*/ 86535 w 136036"/>
                <a:gd name="connsiteY4" fmla="*/ 0 h 158928"/>
                <a:gd name="connsiteX5" fmla="*/ 70704 w 136036"/>
                <a:gd name="connsiteY5" fmla="*/ 70350 h 158928"/>
                <a:gd name="connsiteX6" fmla="*/ 107690 w 136036"/>
                <a:gd name="connsiteY6" fmla="*/ 90316 h 158928"/>
                <a:gd name="connsiteX7" fmla="*/ 136036 w 136036"/>
                <a:gd name="connsiteY7" fmla="*/ 124242 h 158928"/>
                <a:gd name="connsiteX8" fmla="*/ 109518 w 136036"/>
                <a:gd name="connsiteY8" fmla="*/ 134935 h 158928"/>
                <a:gd name="connsiteX9" fmla="*/ 90116 w 136036"/>
                <a:gd name="connsiteY9" fmla="*/ 111086 h 158928"/>
                <a:gd name="connsiteX10" fmla="*/ 58188 w 136036"/>
                <a:gd name="connsiteY10" fmla="*/ 95291 h 158928"/>
                <a:gd name="connsiteX11" fmla="*/ 53502 w 136036"/>
                <a:gd name="connsiteY11" fmla="*/ 97178 h 158928"/>
                <a:gd name="connsiteX12" fmla="*/ 74419 w 136036"/>
                <a:gd name="connsiteY12" fmla="*/ 149080 h 158928"/>
                <a:gd name="connsiteX13" fmla="*/ 49997 w 136036"/>
                <a:gd name="connsiteY13" fmla="*/ 158928 h 158928"/>
                <a:gd name="connsiteX14" fmla="*/ 0 w 136036"/>
                <a:gd name="connsiteY14" fmla="*/ 34875 h 158928"/>
                <a:gd name="connsiteX15" fmla="*/ 24432 w 136036"/>
                <a:gd name="connsiteY15" fmla="*/ 25032 h 158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6036" h="158928">
                  <a:moveTo>
                    <a:pt x="24432" y="25032"/>
                  </a:moveTo>
                  <a:lnTo>
                    <a:pt x="45206" y="76561"/>
                  </a:lnTo>
                  <a:lnTo>
                    <a:pt x="47292" y="75716"/>
                  </a:lnTo>
                  <a:lnTo>
                    <a:pt x="56626" y="12061"/>
                  </a:lnTo>
                  <a:lnTo>
                    <a:pt x="86535" y="0"/>
                  </a:lnTo>
                  <a:lnTo>
                    <a:pt x="70704" y="70350"/>
                  </a:lnTo>
                  <a:cubicBezTo>
                    <a:pt x="86411" y="68730"/>
                    <a:pt x="97155" y="77233"/>
                    <a:pt x="107690" y="90316"/>
                  </a:cubicBezTo>
                  <a:cubicBezTo>
                    <a:pt x="116929" y="101997"/>
                    <a:pt x="125911" y="114007"/>
                    <a:pt x="136036" y="124242"/>
                  </a:cubicBezTo>
                  <a:lnTo>
                    <a:pt x="109518" y="134935"/>
                  </a:lnTo>
                  <a:cubicBezTo>
                    <a:pt x="102384" y="127968"/>
                    <a:pt x="96431" y="119249"/>
                    <a:pt x="90116" y="111086"/>
                  </a:cubicBezTo>
                  <a:cubicBezTo>
                    <a:pt x="80772" y="98591"/>
                    <a:pt x="71447" y="89946"/>
                    <a:pt x="58188" y="95291"/>
                  </a:cubicBezTo>
                  <a:lnTo>
                    <a:pt x="53502" y="97178"/>
                  </a:lnTo>
                  <a:lnTo>
                    <a:pt x="74419" y="149080"/>
                  </a:lnTo>
                  <a:lnTo>
                    <a:pt x="49997" y="158928"/>
                  </a:lnTo>
                  <a:lnTo>
                    <a:pt x="0" y="34875"/>
                  </a:lnTo>
                  <a:lnTo>
                    <a:pt x="24432" y="250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8" name="Полилиния: фигура 1447">
              <a:extLst>
                <a:ext uri="{FF2B5EF4-FFF2-40B4-BE49-F238E27FC236}">
                  <a16:creationId xmlns:a16="http://schemas.microsoft.com/office/drawing/2014/main" id="{D7028E64-5167-475D-B991-4113F97D7602}"/>
                </a:ext>
              </a:extLst>
            </p:cNvPr>
            <p:cNvSpPr/>
            <p:nvPr/>
          </p:nvSpPr>
          <p:spPr>
            <a:xfrm>
              <a:off x="8267909" y="1345118"/>
              <a:ext cx="116604" cy="137502"/>
            </a:xfrm>
            <a:custGeom>
              <a:avLst/>
              <a:gdLst>
                <a:gd name="connsiteX0" fmla="*/ 111574 w 116604"/>
                <a:gd name="connsiteY0" fmla="*/ 50157 h 137502"/>
                <a:gd name="connsiteX1" fmla="*/ 78113 w 116604"/>
                <a:gd name="connsiteY1" fmla="*/ 134840 h 137502"/>
                <a:gd name="connsiteX2" fmla="*/ 4647 w 116604"/>
                <a:gd name="connsiteY2" fmla="*/ 86900 h 137502"/>
                <a:gd name="connsiteX3" fmla="*/ 37737 w 116604"/>
                <a:gd name="connsiteY3" fmla="*/ 2753 h 137502"/>
                <a:gd name="connsiteX4" fmla="*/ 111574 w 116604"/>
                <a:gd name="connsiteY4" fmla="*/ 50157 h 137502"/>
                <a:gd name="connsiteX5" fmla="*/ 31202 w 116604"/>
                <a:gd name="connsiteY5" fmla="*/ 77769 h 137502"/>
                <a:gd name="connsiteX6" fmla="*/ 72103 w 116604"/>
                <a:gd name="connsiteY6" fmla="*/ 111552 h 137502"/>
                <a:gd name="connsiteX7" fmla="*/ 85152 w 116604"/>
                <a:gd name="connsiteY7" fmla="*/ 59669 h 137502"/>
                <a:gd name="connsiteX8" fmla="*/ 44423 w 116604"/>
                <a:gd name="connsiteY8" fmla="*/ 25826 h 137502"/>
                <a:gd name="connsiteX9" fmla="*/ 31202 w 116604"/>
                <a:gd name="connsiteY9" fmla="*/ 77769 h 137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604" h="137502">
                  <a:moveTo>
                    <a:pt x="111574" y="50157"/>
                  </a:moveTo>
                  <a:cubicBezTo>
                    <a:pt x="124986" y="91906"/>
                    <a:pt x="110822" y="124356"/>
                    <a:pt x="78113" y="134840"/>
                  </a:cubicBezTo>
                  <a:cubicBezTo>
                    <a:pt x="44880" y="145478"/>
                    <a:pt x="16296" y="123181"/>
                    <a:pt x="4647" y="86900"/>
                  </a:cubicBezTo>
                  <a:cubicBezTo>
                    <a:pt x="-7602" y="48743"/>
                    <a:pt x="4685" y="13341"/>
                    <a:pt x="37737" y="2753"/>
                  </a:cubicBezTo>
                  <a:cubicBezTo>
                    <a:pt x="72122" y="-8256"/>
                    <a:pt x="100297" y="15012"/>
                    <a:pt x="111574" y="50157"/>
                  </a:cubicBezTo>
                  <a:close/>
                  <a:moveTo>
                    <a:pt x="31202" y="77769"/>
                  </a:moveTo>
                  <a:cubicBezTo>
                    <a:pt x="39213" y="102708"/>
                    <a:pt x="55139" y="116979"/>
                    <a:pt x="72103" y="111552"/>
                  </a:cubicBezTo>
                  <a:cubicBezTo>
                    <a:pt x="89229" y="106072"/>
                    <a:pt x="93067" y="84413"/>
                    <a:pt x="85152" y="59669"/>
                  </a:cubicBezTo>
                  <a:cubicBezTo>
                    <a:pt x="77808" y="36804"/>
                    <a:pt x="61863" y="20243"/>
                    <a:pt x="44423" y="25826"/>
                  </a:cubicBezTo>
                  <a:cubicBezTo>
                    <a:pt x="27297" y="31314"/>
                    <a:pt x="23249" y="53025"/>
                    <a:pt x="31202" y="777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9" name="Полилиния: фигура 1448">
              <a:extLst>
                <a:ext uri="{FF2B5EF4-FFF2-40B4-BE49-F238E27FC236}">
                  <a16:creationId xmlns:a16="http://schemas.microsoft.com/office/drawing/2014/main" id="{2BC3ADCB-A508-40AE-A8D1-01D69148E32C}"/>
                </a:ext>
              </a:extLst>
            </p:cNvPr>
            <p:cNvSpPr/>
            <p:nvPr/>
          </p:nvSpPr>
          <p:spPr>
            <a:xfrm>
              <a:off x="8388142" y="1303089"/>
              <a:ext cx="124977" cy="152351"/>
            </a:xfrm>
            <a:custGeom>
              <a:avLst/>
              <a:gdLst>
                <a:gd name="connsiteX0" fmla="*/ 25984 w 124977"/>
                <a:gd name="connsiteY0" fmla="*/ 16056 h 152351"/>
                <a:gd name="connsiteX1" fmla="*/ 37719 w 124977"/>
                <a:gd name="connsiteY1" fmla="*/ 66091 h 152351"/>
                <a:gd name="connsiteX2" fmla="*/ 80344 w 124977"/>
                <a:gd name="connsiteY2" fmla="*/ 56093 h 152351"/>
                <a:gd name="connsiteX3" fmla="*/ 68590 w 124977"/>
                <a:gd name="connsiteY3" fmla="*/ 6048 h 152351"/>
                <a:gd name="connsiteX4" fmla="*/ 94393 w 124977"/>
                <a:gd name="connsiteY4" fmla="*/ 0 h 152351"/>
                <a:gd name="connsiteX5" fmla="*/ 124978 w 124977"/>
                <a:gd name="connsiteY5" fmla="*/ 130208 h 152351"/>
                <a:gd name="connsiteX6" fmla="*/ 99155 w 124977"/>
                <a:gd name="connsiteY6" fmla="*/ 136266 h 152351"/>
                <a:gd name="connsiteX7" fmla="*/ 86363 w 124977"/>
                <a:gd name="connsiteY7" fmla="*/ 81784 h 152351"/>
                <a:gd name="connsiteX8" fmla="*/ 43777 w 124977"/>
                <a:gd name="connsiteY8" fmla="*/ 91783 h 152351"/>
                <a:gd name="connsiteX9" fmla="*/ 56550 w 124977"/>
                <a:gd name="connsiteY9" fmla="*/ 146264 h 152351"/>
                <a:gd name="connsiteX10" fmla="*/ 30566 w 124977"/>
                <a:gd name="connsiteY10" fmla="*/ 152351 h 152351"/>
                <a:gd name="connsiteX11" fmla="*/ 0 w 124977"/>
                <a:gd name="connsiteY11" fmla="*/ 22154 h 152351"/>
                <a:gd name="connsiteX12" fmla="*/ 25984 w 124977"/>
                <a:gd name="connsiteY12" fmla="*/ 16056 h 152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4977" h="152351">
                  <a:moveTo>
                    <a:pt x="25984" y="16056"/>
                  </a:moveTo>
                  <a:lnTo>
                    <a:pt x="37719" y="66091"/>
                  </a:lnTo>
                  <a:lnTo>
                    <a:pt x="80344" y="56093"/>
                  </a:lnTo>
                  <a:lnTo>
                    <a:pt x="68590" y="6048"/>
                  </a:lnTo>
                  <a:lnTo>
                    <a:pt x="94393" y="0"/>
                  </a:lnTo>
                  <a:lnTo>
                    <a:pt x="124978" y="130208"/>
                  </a:lnTo>
                  <a:lnTo>
                    <a:pt x="99155" y="136266"/>
                  </a:lnTo>
                  <a:lnTo>
                    <a:pt x="86363" y="81784"/>
                  </a:lnTo>
                  <a:lnTo>
                    <a:pt x="43777" y="91783"/>
                  </a:lnTo>
                  <a:lnTo>
                    <a:pt x="56550" y="146264"/>
                  </a:lnTo>
                  <a:lnTo>
                    <a:pt x="30566" y="152351"/>
                  </a:lnTo>
                  <a:lnTo>
                    <a:pt x="0" y="22154"/>
                  </a:lnTo>
                  <a:lnTo>
                    <a:pt x="25984" y="1605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0" name="Полилиния: фигура 1449">
              <a:extLst>
                <a:ext uri="{FF2B5EF4-FFF2-40B4-BE49-F238E27FC236}">
                  <a16:creationId xmlns:a16="http://schemas.microsoft.com/office/drawing/2014/main" id="{A4C3731F-48EC-4637-9F1F-0DA82CA480DF}"/>
                </a:ext>
              </a:extLst>
            </p:cNvPr>
            <p:cNvSpPr/>
            <p:nvPr/>
          </p:nvSpPr>
          <p:spPr>
            <a:xfrm>
              <a:off x="8521013" y="1285638"/>
              <a:ext cx="113838" cy="138162"/>
            </a:xfrm>
            <a:custGeom>
              <a:avLst/>
              <a:gdLst>
                <a:gd name="connsiteX0" fmla="*/ 112550 w 113838"/>
                <a:gd name="connsiteY0" fmla="*/ 59210 h 138162"/>
                <a:gd name="connsiteX1" fmla="*/ 66030 w 113838"/>
                <a:gd name="connsiteY1" fmla="*/ 137505 h 138162"/>
                <a:gd name="connsiteX2" fmla="*/ 1155 w 113838"/>
                <a:gd name="connsiteY2" fmla="*/ 78505 h 138162"/>
                <a:gd name="connsiteX3" fmla="*/ 47218 w 113838"/>
                <a:gd name="connsiteY3" fmla="*/ 684 h 138162"/>
                <a:gd name="connsiteX4" fmla="*/ 112550 w 113838"/>
                <a:gd name="connsiteY4" fmla="*/ 59210 h 138162"/>
                <a:gd name="connsiteX5" fmla="*/ 28835 w 113838"/>
                <a:gd name="connsiteY5" fmla="*/ 73707 h 138162"/>
                <a:gd name="connsiteX6" fmla="*/ 63811 w 113838"/>
                <a:gd name="connsiteY6" fmla="*/ 113557 h 138162"/>
                <a:gd name="connsiteX7" fmla="*/ 84937 w 113838"/>
                <a:gd name="connsiteY7" fmla="*/ 64399 h 138162"/>
                <a:gd name="connsiteX8" fmla="*/ 50133 w 113838"/>
                <a:gd name="connsiteY8" fmla="*/ 24519 h 138162"/>
                <a:gd name="connsiteX9" fmla="*/ 28835 w 113838"/>
                <a:gd name="connsiteY9" fmla="*/ 73707 h 138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3838" h="138162">
                  <a:moveTo>
                    <a:pt x="112550" y="59210"/>
                  </a:moveTo>
                  <a:cubicBezTo>
                    <a:pt x="119132" y="102568"/>
                    <a:pt x="100016" y="132357"/>
                    <a:pt x="66030" y="137505"/>
                  </a:cubicBezTo>
                  <a:cubicBezTo>
                    <a:pt x="31540" y="142737"/>
                    <a:pt x="6890" y="116167"/>
                    <a:pt x="1155" y="78505"/>
                  </a:cubicBezTo>
                  <a:cubicBezTo>
                    <a:pt x="-4855" y="38882"/>
                    <a:pt x="12890" y="5883"/>
                    <a:pt x="47218" y="684"/>
                  </a:cubicBezTo>
                  <a:cubicBezTo>
                    <a:pt x="82909" y="-4734"/>
                    <a:pt x="107026" y="22724"/>
                    <a:pt x="112550" y="59210"/>
                  </a:cubicBezTo>
                  <a:close/>
                  <a:moveTo>
                    <a:pt x="28835" y="73707"/>
                  </a:moveTo>
                  <a:cubicBezTo>
                    <a:pt x="32769" y="99606"/>
                    <a:pt x="46228" y="116229"/>
                    <a:pt x="63811" y="113557"/>
                  </a:cubicBezTo>
                  <a:cubicBezTo>
                    <a:pt x="81575" y="110874"/>
                    <a:pt x="88833" y="90103"/>
                    <a:pt x="84937" y="64399"/>
                  </a:cubicBezTo>
                  <a:cubicBezTo>
                    <a:pt x="81337" y="40667"/>
                    <a:pt x="68231" y="21774"/>
                    <a:pt x="50133" y="24519"/>
                  </a:cubicBezTo>
                  <a:cubicBezTo>
                    <a:pt x="32359" y="27212"/>
                    <a:pt x="24949" y="48005"/>
                    <a:pt x="28835" y="7370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1" name="Полилиния: фигура 1450">
              <a:extLst>
                <a:ext uri="{FF2B5EF4-FFF2-40B4-BE49-F238E27FC236}">
                  <a16:creationId xmlns:a16="http://schemas.microsoft.com/office/drawing/2014/main" id="{9A7FB86C-8B99-44C8-8335-4E207E497A0B}"/>
                </a:ext>
              </a:extLst>
            </p:cNvPr>
            <p:cNvSpPr/>
            <p:nvPr/>
          </p:nvSpPr>
          <p:spPr>
            <a:xfrm>
              <a:off x="8658290" y="1269121"/>
              <a:ext cx="130387" cy="141177"/>
            </a:xfrm>
            <a:custGeom>
              <a:avLst/>
              <a:gdLst>
                <a:gd name="connsiteX0" fmla="*/ 99517 w 130387"/>
                <a:gd name="connsiteY0" fmla="*/ 83725 h 141177"/>
                <a:gd name="connsiteX1" fmla="*/ 95060 w 130387"/>
                <a:gd name="connsiteY1" fmla="*/ 28924 h 141177"/>
                <a:gd name="connsiteX2" fmla="*/ 94526 w 130387"/>
                <a:gd name="connsiteY2" fmla="*/ 28954 h 141177"/>
                <a:gd name="connsiteX3" fmla="*/ 84668 w 130387"/>
                <a:gd name="connsiteY3" fmla="*/ 81464 h 141177"/>
                <a:gd name="connsiteX4" fmla="*/ 73638 w 130387"/>
                <a:gd name="connsiteY4" fmla="*/ 134450 h 141177"/>
                <a:gd name="connsiteX5" fmla="*/ 52892 w 130387"/>
                <a:gd name="connsiteY5" fmla="*/ 135749 h 141177"/>
                <a:gd name="connsiteX6" fmla="*/ 37138 w 130387"/>
                <a:gd name="connsiteY6" fmla="*/ 84828 h 141177"/>
                <a:gd name="connsiteX7" fmla="*/ 23289 w 130387"/>
                <a:gd name="connsiteY7" fmla="*/ 33401 h 141177"/>
                <a:gd name="connsiteX8" fmla="*/ 22946 w 130387"/>
                <a:gd name="connsiteY8" fmla="*/ 33422 h 141177"/>
                <a:gd name="connsiteX9" fmla="*/ 24270 w 130387"/>
                <a:gd name="connsiteY9" fmla="*/ 88812 h 141177"/>
                <a:gd name="connsiteX10" fmla="*/ 25337 w 130387"/>
                <a:gd name="connsiteY10" fmla="*/ 139649 h 141177"/>
                <a:gd name="connsiteX11" fmla="*/ 791 w 130387"/>
                <a:gd name="connsiteY11" fmla="*/ 141178 h 141177"/>
                <a:gd name="connsiteX12" fmla="*/ 0 w 130387"/>
                <a:gd name="connsiteY12" fmla="*/ 7213 h 141177"/>
                <a:gd name="connsiteX13" fmla="*/ 35357 w 130387"/>
                <a:gd name="connsiteY13" fmla="*/ 5015 h 141177"/>
                <a:gd name="connsiteX14" fmla="*/ 49625 w 130387"/>
                <a:gd name="connsiteY14" fmla="*/ 48859 h 141177"/>
                <a:gd name="connsiteX15" fmla="*/ 62513 w 130387"/>
                <a:gd name="connsiteY15" fmla="*/ 95973 h 141177"/>
                <a:gd name="connsiteX16" fmla="*/ 63037 w 130387"/>
                <a:gd name="connsiteY16" fmla="*/ 95941 h 141177"/>
                <a:gd name="connsiteX17" fmla="*/ 71199 w 130387"/>
                <a:gd name="connsiteY17" fmla="*/ 47311 h 141177"/>
                <a:gd name="connsiteX18" fmla="*/ 80991 w 130387"/>
                <a:gd name="connsiteY18" fmla="*/ 2168 h 141177"/>
                <a:gd name="connsiteX19" fmla="*/ 115653 w 130387"/>
                <a:gd name="connsiteY19" fmla="*/ 0 h 141177"/>
                <a:gd name="connsiteX20" fmla="*/ 130388 w 130387"/>
                <a:gd name="connsiteY20" fmla="*/ 133099 h 141177"/>
                <a:gd name="connsiteX21" fmla="*/ 104423 w 130387"/>
                <a:gd name="connsiteY21" fmla="*/ 134718 h 141177"/>
                <a:gd name="connsiteX22" fmla="*/ 99517 w 130387"/>
                <a:gd name="connsiteY22" fmla="*/ 83725 h 141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0387" h="141177">
                  <a:moveTo>
                    <a:pt x="99517" y="83725"/>
                  </a:moveTo>
                  <a:cubicBezTo>
                    <a:pt x="97984" y="67710"/>
                    <a:pt x="96269" y="48331"/>
                    <a:pt x="95060" y="28924"/>
                  </a:cubicBezTo>
                  <a:lnTo>
                    <a:pt x="94526" y="28954"/>
                  </a:lnTo>
                  <a:cubicBezTo>
                    <a:pt x="91916" y="46216"/>
                    <a:pt x="88240" y="65533"/>
                    <a:pt x="84668" y="81464"/>
                  </a:cubicBezTo>
                  <a:lnTo>
                    <a:pt x="73638" y="134450"/>
                  </a:lnTo>
                  <a:lnTo>
                    <a:pt x="52892" y="135749"/>
                  </a:lnTo>
                  <a:lnTo>
                    <a:pt x="37138" y="84828"/>
                  </a:lnTo>
                  <a:cubicBezTo>
                    <a:pt x="32347" y="69424"/>
                    <a:pt x="27156" y="50653"/>
                    <a:pt x="23289" y="33401"/>
                  </a:cubicBezTo>
                  <a:lnTo>
                    <a:pt x="22946" y="33422"/>
                  </a:lnTo>
                  <a:cubicBezTo>
                    <a:pt x="23365" y="51489"/>
                    <a:pt x="24117" y="72116"/>
                    <a:pt x="24270" y="88812"/>
                  </a:cubicBezTo>
                  <a:lnTo>
                    <a:pt x="25337" y="139649"/>
                  </a:lnTo>
                  <a:lnTo>
                    <a:pt x="791" y="141178"/>
                  </a:lnTo>
                  <a:lnTo>
                    <a:pt x="0" y="7213"/>
                  </a:lnTo>
                  <a:lnTo>
                    <a:pt x="35357" y="5015"/>
                  </a:lnTo>
                  <a:lnTo>
                    <a:pt x="49625" y="48859"/>
                  </a:lnTo>
                  <a:cubicBezTo>
                    <a:pt x="54235" y="64078"/>
                    <a:pt x="58912" y="80495"/>
                    <a:pt x="62513" y="95973"/>
                  </a:cubicBezTo>
                  <a:lnTo>
                    <a:pt x="63037" y="95941"/>
                  </a:lnTo>
                  <a:cubicBezTo>
                    <a:pt x="65380" y="80288"/>
                    <a:pt x="68294" y="62406"/>
                    <a:pt x="71199" y="47311"/>
                  </a:cubicBezTo>
                  <a:lnTo>
                    <a:pt x="80991" y="2168"/>
                  </a:lnTo>
                  <a:lnTo>
                    <a:pt x="115653" y="0"/>
                  </a:lnTo>
                  <a:lnTo>
                    <a:pt x="130388" y="133099"/>
                  </a:lnTo>
                  <a:lnTo>
                    <a:pt x="104423" y="134718"/>
                  </a:lnTo>
                  <a:lnTo>
                    <a:pt x="99517" y="837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2" name="Полилиния: фигура 1451">
              <a:extLst>
                <a:ext uri="{FF2B5EF4-FFF2-40B4-BE49-F238E27FC236}">
                  <a16:creationId xmlns:a16="http://schemas.microsoft.com/office/drawing/2014/main" id="{4823EFE7-D67B-4748-A459-486B1FF7C901}"/>
                </a:ext>
              </a:extLst>
            </p:cNvPr>
            <p:cNvSpPr/>
            <p:nvPr/>
          </p:nvSpPr>
          <p:spPr>
            <a:xfrm>
              <a:off x="8810376" y="1268822"/>
              <a:ext cx="100822" cy="136430"/>
            </a:xfrm>
            <a:custGeom>
              <a:avLst/>
              <a:gdLst>
                <a:gd name="connsiteX0" fmla="*/ 28108 w 100822"/>
                <a:gd name="connsiteY0" fmla="*/ 682 h 136430"/>
                <a:gd name="connsiteX1" fmla="*/ 27022 w 100822"/>
                <a:gd name="connsiteY1" fmla="*/ 40355 h 136430"/>
                <a:gd name="connsiteX2" fmla="*/ 23936 w 100822"/>
                <a:gd name="connsiteY2" fmla="*/ 100821 h 136430"/>
                <a:gd name="connsiteX3" fmla="*/ 24632 w 100822"/>
                <a:gd name="connsiteY3" fmla="*/ 100842 h 136430"/>
                <a:gd name="connsiteX4" fmla="*/ 46872 w 100822"/>
                <a:gd name="connsiteY4" fmla="*/ 53821 h 136430"/>
                <a:gd name="connsiteX5" fmla="*/ 73619 w 100822"/>
                <a:gd name="connsiteY5" fmla="*/ 1960 h 136430"/>
                <a:gd name="connsiteX6" fmla="*/ 100822 w 100822"/>
                <a:gd name="connsiteY6" fmla="*/ 2714 h 136430"/>
                <a:gd name="connsiteX7" fmla="*/ 97098 w 100822"/>
                <a:gd name="connsiteY7" fmla="*/ 136430 h 136430"/>
                <a:gd name="connsiteX8" fmla="*/ 72704 w 100822"/>
                <a:gd name="connsiteY8" fmla="*/ 135740 h 136430"/>
                <a:gd name="connsiteX9" fmla="*/ 73790 w 100822"/>
                <a:gd name="connsiteY9" fmla="*/ 96261 h 136430"/>
                <a:gd name="connsiteX10" fmla="*/ 77276 w 100822"/>
                <a:gd name="connsiteY10" fmla="*/ 39975 h 136430"/>
                <a:gd name="connsiteX11" fmla="*/ 76752 w 100822"/>
                <a:gd name="connsiteY11" fmla="*/ 39963 h 136430"/>
                <a:gd name="connsiteX12" fmla="*/ 55550 w 100822"/>
                <a:gd name="connsiteY12" fmla="*/ 87016 h 136430"/>
                <a:gd name="connsiteX13" fmla="*/ 30337 w 100822"/>
                <a:gd name="connsiteY13" fmla="*/ 134552 h 136430"/>
                <a:gd name="connsiteX14" fmla="*/ 0 w 100822"/>
                <a:gd name="connsiteY14" fmla="*/ 133706 h 136430"/>
                <a:gd name="connsiteX15" fmla="*/ 3705 w 100822"/>
                <a:gd name="connsiteY15" fmla="*/ 0 h 136430"/>
                <a:gd name="connsiteX16" fmla="*/ 28108 w 100822"/>
                <a:gd name="connsiteY16" fmla="*/ 682 h 136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0822" h="136430">
                  <a:moveTo>
                    <a:pt x="28108" y="682"/>
                  </a:moveTo>
                  <a:lnTo>
                    <a:pt x="27022" y="40355"/>
                  </a:lnTo>
                  <a:cubicBezTo>
                    <a:pt x="26422" y="61776"/>
                    <a:pt x="25498" y="83001"/>
                    <a:pt x="23936" y="100821"/>
                  </a:cubicBezTo>
                  <a:lnTo>
                    <a:pt x="24632" y="100842"/>
                  </a:lnTo>
                  <a:cubicBezTo>
                    <a:pt x="31166" y="85343"/>
                    <a:pt x="39510" y="67906"/>
                    <a:pt x="46872" y="53821"/>
                  </a:cubicBezTo>
                  <a:lnTo>
                    <a:pt x="73619" y="1960"/>
                  </a:lnTo>
                  <a:lnTo>
                    <a:pt x="100822" y="2714"/>
                  </a:lnTo>
                  <a:lnTo>
                    <a:pt x="97098" y="136430"/>
                  </a:lnTo>
                  <a:lnTo>
                    <a:pt x="72704" y="135740"/>
                  </a:lnTo>
                  <a:lnTo>
                    <a:pt x="73790" y="96261"/>
                  </a:lnTo>
                  <a:cubicBezTo>
                    <a:pt x="74381" y="75635"/>
                    <a:pt x="75228" y="57391"/>
                    <a:pt x="77276" y="39975"/>
                  </a:cubicBezTo>
                  <a:lnTo>
                    <a:pt x="76752" y="39963"/>
                  </a:lnTo>
                  <a:cubicBezTo>
                    <a:pt x="70904" y="55689"/>
                    <a:pt x="62913" y="73127"/>
                    <a:pt x="55550" y="87016"/>
                  </a:cubicBezTo>
                  <a:lnTo>
                    <a:pt x="30337" y="134552"/>
                  </a:lnTo>
                  <a:lnTo>
                    <a:pt x="0" y="133706"/>
                  </a:lnTo>
                  <a:lnTo>
                    <a:pt x="3705" y="0"/>
                  </a:lnTo>
                  <a:lnTo>
                    <a:pt x="28108" y="68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3" name="Полилиния: фигура 1452">
              <a:extLst>
                <a:ext uri="{FF2B5EF4-FFF2-40B4-BE49-F238E27FC236}">
                  <a16:creationId xmlns:a16="http://schemas.microsoft.com/office/drawing/2014/main" id="{7F46F21E-785F-4B68-8200-2B5B99762643}"/>
                </a:ext>
              </a:extLst>
            </p:cNvPr>
            <p:cNvSpPr/>
            <p:nvPr/>
          </p:nvSpPr>
          <p:spPr>
            <a:xfrm>
              <a:off x="8939394" y="1273981"/>
              <a:ext cx="94638" cy="142714"/>
            </a:xfrm>
            <a:custGeom>
              <a:avLst/>
              <a:gdLst>
                <a:gd name="connsiteX0" fmla="*/ 31516 w 94638"/>
                <a:gd name="connsiteY0" fmla="*/ 2869 h 142714"/>
                <a:gd name="connsiteX1" fmla="*/ 27344 w 94638"/>
                <a:gd name="connsiteY1" fmla="*/ 41336 h 142714"/>
                <a:gd name="connsiteX2" fmla="*/ 44499 w 94638"/>
                <a:gd name="connsiteY2" fmla="*/ 65965 h 142714"/>
                <a:gd name="connsiteX3" fmla="*/ 62196 w 94638"/>
                <a:gd name="connsiteY3" fmla="*/ 62900 h 142714"/>
                <a:gd name="connsiteX4" fmla="*/ 68273 w 94638"/>
                <a:gd name="connsiteY4" fmla="*/ 6872 h 142714"/>
                <a:gd name="connsiteX5" fmla="*/ 94639 w 94638"/>
                <a:gd name="connsiteY5" fmla="*/ 9751 h 142714"/>
                <a:gd name="connsiteX6" fmla="*/ 80208 w 94638"/>
                <a:gd name="connsiteY6" fmla="*/ 142714 h 142714"/>
                <a:gd name="connsiteX7" fmla="*/ 53843 w 94638"/>
                <a:gd name="connsiteY7" fmla="*/ 139835 h 142714"/>
                <a:gd name="connsiteX8" fmla="*/ 59806 w 94638"/>
                <a:gd name="connsiteY8" fmla="*/ 84992 h 142714"/>
                <a:gd name="connsiteX9" fmla="*/ 59282 w 94638"/>
                <a:gd name="connsiteY9" fmla="*/ 84940 h 142714"/>
                <a:gd name="connsiteX10" fmla="*/ 32345 w 94638"/>
                <a:gd name="connsiteY10" fmla="*/ 88996 h 142714"/>
                <a:gd name="connsiteX11" fmla="*/ 436 w 94638"/>
                <a:gd name="connsiteY11" fmla="*/ 43595 h 142714"/>
                <a:gd name="connsiteX12" fmla="*/ 5170 w 94638"/>
                <a:gd name="connsiteY12" fmla="*/ 0 h 142714"/>
                <a:gd name="connsiteX13" fmla="*/ 31516 w 94638"/>
                <a:gd name="connsiteY13" fmla="*/ 2869 h 142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4638" h="142714">
                  <a:moveTo>
                    <a:pt x="31516" y="2869"/>
                  </a:moveTo>
                  <a:lnTo>
                    <a:pt x="27344" y="41336"/>
                  </a:lnTo>
                  <a:cubicBezTo>
                    <a:pt x="25687" y="56525"/>
                    <a:pt x="32012" y="64602"/>
                    <a:pt x="44499" y="65965"/>
                  </a:cubicBezTo>
                  <a:cubicBezTo>
                    <a:pt x="50395" y="66605"/>
                    <a:pt x="56843" y="65315"/>
                    <a:pt x="62196" y="62900"/>
                  </a:cubicBezTo>
                  <a:lnTo>
                    <a:pt x="68273" y="6872"/>
                  </a:lnTo>
                  <a:lnTo>
                    <a:pt x="94639" y="9751"/>
                  </a:lnTo>
                  <a:lnTo>
                    <a:pt x="80208" y="142714"/>
                  </a:lnTo>
                  <a:lnTo>
                    <a:pt x="53843" y="139835"/>
                  </a:lnTo>
                  <a:lnTo>
                    <a:pt x="59806" y="84992"/>
                  </a:lnTo>
                  <a:lnTo>
                    <a:pt x="59282" y="84940"/>
                  </a:lnTo>
                  <a:cubicBezTo>
                    <a:pt x="50262" y="88749"/>
                    <a:pt x="42060" y="90048"/>
                    <a:pt x="32345" y="88996"/>
                  </a:cubicBezTo>
                  <a:cubicBezTo>
                    <a:pt x="11190" y="86685"/>
                    <a:pt x="-2678" y="72199"/>
                    <a:pt x="436" y="43595"/>
                  </a:cubicBezTo>
                  <a:lnTo>
                    <a:pt x="5170" y="0"/>
                  </a:lnTo>
                  <a:lnTo>
                    <a:pt x="31516" y="28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4" name="Полилиния: фигура 1453">
              <a:extLst>
                <a:ext uri="{FF2B5EF4-FFF2-40B4-BE49-F238E27FC236}">
                  <a16:creationId xmlns:a16="http://schemas.microsoft.com/office/drawing/2014/main" id="{32E606E1-A474-4783-88AC-6AE1470AFC46}"/>
                </a:ext>
              </a:extLst>
            </p:cNvPr>
            <p:cNvSpPr/>
            <p:nvPr/>
          </p:nvSpPr>
          <p:spPr>
            <a:xfrm>
              <a:off x="9044176" y="1288942"/>
              <a:ext cx="95097" cy="144870"/>
            </a:xfrm>
            <a:custGeom>
              <a:avLst/>
              <a:gdLst>
                <a:gd name="connsiteX0" fmla="*/ 78848 w 95097"/>
                <a:gd name="connsiteY0" fmla="*/ 88338 h 144870"/>
                <a:gd name="connsiteX1" fmla="*/ 36271 w 95097"/>
                <a:gd name="connsiteY1" fmla="*/ 80670 h 144870"/>
                <a:gd name="connsiteX2" fmla="*/ 30651 w 95097"/>
                <a:gd name="connsiteY2" fmla="*/ 111924 h 144870"/>
                <a:gd name="connsiteX3" fmla="*/ 78191 w 95097"/>
                <a:gd name="connsiteY3" fmla="*/ 120458 h 144870"/>
                <a:gd name="connsiteX4" fmla="*/ 73819 w 95097"/>
                <a:gd name="connsiteY4" fmla="*/ 144870 h 144870"/>
                <a:gd name="connsiteX5" fmla="*/ 0 w 95097"/>
                <a:gd name="connsiteY5" fmla="*/ 131592 h 144870"/>
                <a:gd name="connsiteX6" fmla="*/ 23669 w 95097"/>
                <a:gd name="connsiteY6" fmla="*/ 0 h 144870"/>
                <a:gd name="connsiteX7" fmla="*/ 95097 w 95097"/>
                <a:gd name="connsiteY7" fmla="*/ 12857 h 144870"/>
                <a:gd name="connsiteX8" fmla="*/ 90678 w 95097"/>
                <a:gd name="connsiteY8" fmla="*/ 37250 h 144870"/>
                <a:gd name="connsiteX9" fmla="*/ 45529 w 95097"/>
                <a:gd name="connsiteY9" fmla="*/ 29140 h 144870"/>
                <a:gd name="connsiteX10" fmla="*/ 40634 w 95097"/>
                <a:gd name="connsiteY10" fmla="*/ 56473 h 144870"/>
                <a:gd name="connsiteX11" fmla="*/ 83210 w 95097"/>
                <a:gd name="connsiteY11" fmla="*/ 64119 h 144870"/>
                <a:gd name="connsiteX12" fmla="*/ 78848 w 95097"/>
                <a:gd name="connsiteY12" fmla="*/ 88338 h 14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097" h="144870">
                  <a:moveTo>
                    <a:pt x="78848" y="88338"/>
                  </a:moveTo>
                  <a:lnTo>
                    <a:pt x="36271" y="80670"/>
                  </a:lnTo>
                  <a:lnTo>
                    <a:pt x="30651" y="111924"/>
                  </a:lnTo>
                  <a:lnTo>
                    <a:pt x="78191" y="120458"/>
                  </a:lnTo>
                  <a:lnTo>
                    <a:pt x="73819" y="144870"/>
                  </a:lnTo>
                  <a:lnTo>
                    <a:pt x="0" y="131592"/>
                  </a:lnTo>
                  <a:lnTo>
                    <a:pt x="23669" y="0"/>
                  </a:lnTo>
                  <a:lnTo>
                    <a:pt x="95097" y="12857"/>
                  </a:lnTo>
                  <a:lnTo>
                    <a:pt x="90678" y="37250"/>
                  </a:lnTo>
                  <a:lnTo>
                    <a:pt x="45529" y="29140"/>
                  </a:lnTo>
                  <a:lnTo>
                    <a:pt x="40634" y="56473"/>
                  </a:lnTo>
                  <a:lnTo>
                    <a:pt x="83210" y="64119"/>
                  </a:lnTo>
                  <a:lnTo>
                    <a:pt x="78848" y="8833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5" name="Полилиния: фигура 1454">
              <a:extLst>
                <a:ext uri="{FF2B5EF4-FFF2-40B4-BE49-F238E27FC236}">
                  <a16:creationId xmlns:a16="http://schemas.microsoft.com/office/drawing/2014/main" id="{C2622D59-98BC-4BBB-AA4C-8CAB07830DC4}"/>
                </a:ext>
              </a:extLst>
            </p:cNvPr>
            <p:cNvSpPr/>
            <p:nvPr/>
          </p:nvSpPr>
          <p:spPr>
            <a:xfrm>
              <a:off x="9145161" y="1318234"/>
              <a:ext cx="108965" cy="138071"/>
            </a:xfrm>
            <a:custGeom>
              <a:avLst/>
              <a:gdLst>
                <a:gd name="connsiteX0" fmla="*/ 77057 w 108965"/>
                <a:gd name="connsiteY0" fmla="*/ 137021 h 138071"/>
                <a:gd name="connsiteX1" fmla="*/ 46386 w 108965"/>
                <a:gd name="connsiteY1" fmla="*/ 135308 h 138071"/>
                <a:gd name="connsiteX2" fmla="*/ 2790 w 108965"/>
                <a:gd name="connsiteY2" fmla="*/ 55526 h 138071"/>
                <a:gd name="connsiteX3" fmla="*/ 82305 w 108965"/>
                <a:gd name="connsiteY3" fmla="*/ 2108 h 138071"/>
                <a:gd name="connsiteX4" fmla="*/ 108966 w 108965"/>
                <a:gd name="connsiteY4" fmla="*/ 14892 h 138071"/>
                <a:gd name="connsiteX5" fmla="*/ 97907 w 108965"/>
                <a:gd name="connsiteY5" fmla="*/ 36880 h 138071"/>
                <a:gd name="connsiteX6" fmla="*/ 77448 w 108965"/>
                <a:gd name="connsiteY6" fmla="*/ 26665 h 138071"/>
                <a:gd name="connsiteX7" fmla="*/ 30327 w 108965"/>
                <a:gd name="connsiteY7" fmla="*/ 60540 h 138071"/>
                <a:gd name="connsiteX8" fmla="*/ 56321 w 108965"/>
                <a:gd name="connsiteY8" fmla="*/ 112020 h 138071"/>
                <a:gd name="connsiteX9" fmla="*/ 78895 w 108965"/>
                <a:gd name="connsiteY9" fmla="*/ 113144 h 138071"/>
                <a:gd name="connsiteX10" fmla="*/ 77057 w 108965"/>
                <a:gd name="connsiteY10" fmla="*/ 137021 h 138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8965" h="138071">
                  <a:moveTo>
                    <a:pt x="77057" y="137021"/>
                  </a:moveTo>
                  <a:cubicBezTo>
                    <a:pt x="71666" y="138536"/>
                    <a:pt x="60255" y="138765"/>
                    <a:pt x="46386" y="135308"/>
                  </a:cubicBezTo>
                  <a:cubicBezTo>
                    <a:pt x="6934" y="125475"/>
                    <a:pt x="-6420" y="92497"/>
                    <a:pt x="2790" y="55526"/>
                  </a:cubicBezTo>
                  <a:cubicBezTo>
                    <a:pt x="13840" y="11229"/>
                    <a:pt x="47758" y="-6497"/>
                    <a:pt x="82305" y="2108"/>
                  </a:cubicBezTo>
                  <a:cubicBezTo>
                    <a:pt x="95678" y="5450"/>
                    <a:pt x="105060" y="11054"/>
                    <a:pt x="108966" y="14892"/>
                  </a:cubicBezTo>
                  <a:lnTo>
                    <a:pt x="97907" y="36880"/>
                  </a:lnTo>
                  <a:cubicBezTo>
                    <a:pt x="93278" y="33073"/>
                    <a:pt x="86572" y="28946"/>
                    <a:pt x="77448" y="26665"/>
                  </a:cubicBezTo>
                  <a:cubicBezTo>
                    <a:pt x="56940" y="21568"/>
                    <a:pt x="37528" y="31660"/>
                    <a:pt x="30327" y="60540"/>
                  </a:cubicBezTo>
                  <a:cubicBezTo>
                    <a:pt x="23831" y="86533"/>
                    <a:pt x="33309" y="106282"/>
                    <a:pt x="56321" y="112020"/>
                  </a:cubicBezTo>
                  <a:cubicBezTo>
                    <a:pt x="64131" y="113959"/>
                    <a:pt x="73237" y="114187"/>
                    <a:pt x="78895" y="113144"/>
                  </a:cubicBezTo>
                  <a:lnTo>
                    <a:pt x="77057" y="13702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6" name="Полилиния: фигура 1455">
              <a:extLst>
                <a:ext uri="{FF2B5EF4-FFF2-40B4-BE49-F238E27FC236}">
                  <a16:creationId xmlns:a16="http://schemas.microsoft.com/office/drawing/2014/main" id="{84B480D0-3048-468A-8976-A6D97D3262B1}"/>
                </a:ext>
              </a:extLst>
            </p:cNvPr>
            <p:cNvSpPr/>
            <p:nvPr/>
          </p:nvSpPr>
          <p:spPr>
            <a:xfrm>
              <a:off x="9239934" y="1337140"/>
              <a:ext cx="130006" cy="155798"/>
            </a:xfrm>
            <a:custGeom>
              <a:avLst/>
              <a:gdLst>
                <a:gd name="connsiteX0" fmla="*/ 66265 w 130006"/>
                <a:gd name="connsiteY0" fmla="*/ 8111 h 155798"/>
                <a:gd name="connsiteX1" fmla="*/ 49139 w 130006"/>
                <a:gd name="connsiteY1" fmla="*/ 60972 h 155798"/>
                <a:gd name="connsiteX2" fmla="*/ 51302 w 130006"/>
                <a:gd name="connsiteY2" fmla="*/ 61664 h 155798"/>
                <a:gd name="connsiteX3" fmla="*/ 99279 w 130006"/>
                <a:gd name="connsiteY3" fmla="*/ 18801 h 155798"/>
                <a:gd name="connsiteX4" fmla="*/ 130007 w 130006"/>
                <a:gd name="connsiteY4" fmla="*/ 28727 h 155798"/>
                <a:gd name="connsiteX5" fmla="*/ 72714 w 130006"/>
                <a:gd name="connsiteY5" fmla="*/ 72561 h 155798"/>
                <a:gd name="connsiteX6" fmla="*/ 88325 w 130006"/>
                <a:gd name="connsiteY6" fmla="*/ 111593 h 155798"/>
                <a:gd name="connsiteX7" fmla="*/ 88306 w 130006"/>
                <a:gd name="connsiteY7" fmla="*/ 155799 h 155798"/>
                <a:gd name="connsiteX8" fmla="*/ 61084 w 130006"/>
                <a:gd name="connsiteY8" fmla="*/ 146996 h 155798"/>
                <a:gd name="connsiteX9" fmla="*/ 61503 w 130006"/>
                <a:gd name="connsiteY9" fmla="*/ 116269 h 155798"/>
                <a:gd name="connsiteX10" fmla="*/ 47120 w 130006"/>
                <a:gd name="connsiteY10" fmla="*/ 83673 h 155798"/>
                <a:gd name="connsiteX11" fmla="*/ 42291 w 130006"/>
                <a:gd name="connsiteY11" fmla="*/ 82114 h 155798"/>
                <a:gd name="connsiteX12" fmla="*/ 25070 w 130006"/>
                <a:gd name="connsiteY12" fmla="*/ 135346 h 155798"/>
                <a:gd name="connsiteX13" fmla="*/ 0 w 130006"/>
                <a:gd name="connsiteY13" fmla="*/ 127237 h 155798"/>
                <a:gd name="connsiteX14" fmla="*/ 41177 w 130006"/>
                <a:gd name="connsiteY14" fmla="*/ 0 h 155798"/>
                <a:gd name="connsiteX15" fmla="*/ 66265 w 130006"/>
                <a:gd name="connsiteY15" fmla="*/ 8111 h 15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0006" h="155798">
                  <a:moveTo>
                    <a:pt x="66265" y="8111"/>
                  </a:moveTo>
                  <a:lnTo>
                    <a:pt x="49139" y="60972"/>
                  </a:lnTo>
                  <a:lnTo>
                    <a:pt x="51302" y="61664"/>
                  </a:lnTo>
                  <a:lnTo>
                    <a:pt x="99279" y="18801"/>
                  </a:lnTo>
                  <a:lnTo>
                    <a:pt x="130007" y="28727"/>
                  </a:lnTo>
                  <a:lnTo>
                    <a:pt x="72714" y="72561"/>
                  </a:lnTo>
                  <a:cubicBezTo>
                    <a:pt x="85820" y="81382"/>
                    <a:pt x="88630" y="94805"/>
                    <a:pt x="88325" y="111593"/>
                  </a:cubicBezTo>
                  <a:cubicBezTo>
                    <a:pt x="87906" y="126474"/>
                    <a:pt x="87116" y="141436"/>
                    <a:pt x="88306" y="155799"/>
                  </a:cubicBezTo>
                  <a:lnTo>
                    <a:pt x="61084" y="146996"/>
                  </a:lnTo>
                  <a:cubicBezTo>
                    <a:pt x="60084" y="137081"/>
                    <a:pt x="61103" y="126566"/>
                    <a:pt x="61503" y="116269"/>
                  </a:cubicBezTo>
                  <a:cubicBezTo>
                    <a:pt x="62331" y="100688"/>
                    <a:pt x="60722" y="88078"/>
                    <a:pt x="47120" y="83673"/>
                  </a:cubicBezTo>
                  <a:lnTo>
                    <a:pt x="42291" y="82114"/>
                  </a:lnTo>
                  <a:lnTo>
                    <a:pt x="25070" y="135346"/>
                  </a:lnTo>
                  <a:lnTo>
                    <a:pt x="0" y="127237"/>
                  </a:lnTo>
                  <a:lnTo>
                    <a:pt x="41177" y="0"/>
                  </a:lnTo>
                  <a:lnTo>
                    <a:pt x="66265" y="81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7" name="Полилиния: фигура 1456">
              <a:extLst>
                <a:ext uri="{FF2B5EF4-FFF2-40B4-BE49-F238E27FC236}">
                  <a16:creationId xmlns:a16="http://schemas.microsoft.com/office/drawing/2014/main" id="{2B67CCC1-3C97-4240-80AA-AE97DF4C25A9}"/>
                </a:ext>
              </a:extLst>
            </p:cNvPr>
            <p:cNvSpPr/>
            <p:nvPr/>
          </p:nvSpPr>
          <p:spPr>
            <a:xfrm>
              <a:off x="9341766" y="1373998"/>
              <a:ext cx="140389" cy="160431"/>
            </a:xfrm>
            <a:custGeom>
              <a:avLst/>
              <a:gdLst>
                <a:gd name="connsiteX0" fmla="*/ 72943 w 140389"/>
                <a:gd name="connsiteY0" fmla="*/ 9173 h 160431"/>
                <a:gd name="connsiteX1" fmla="*/ 58026 w 140389"/>
                <a:gd name="connsiteY1" fmla="*/ 45948 h 160431"/>
                <a:gd name="connsiteX2" fmla="*/ 33957 w 140389"/>
                <a:gd name="connsiteY2" fmla="*/ 101522 h 160431"/>
                <a:gd name="connsiteX3" fmla="*/ 34604 w 140389"/>
                <a:gd name="connsiteY3" fmla="*/ 101780 h 160431"/>
                <a:gd name="connsiteX4" fmla="*/ 71923 w 140389"/>
                <a:gd name="connsiteY4" fmla="*/ 65502 h 160431"/>
                <a:gd name="connsiteX5" fmla="*/ 115176 w 140389"/>
                <a:gd name="connsiteY5" fmla="*/ 26271 h 160431"/>
                <a:gd name="connsiteX6" fmla="*/ 140389 w 140389"/>
                <a:gd name="connsiteY6" fmla="*/ 36486 h 160431"/>
                <a:gd name="connsiteX7" fmla="*/ 90069 w 140389"/>
                <a:gd name="connsiteY7" fmla="*/ 160431 h 160431"/>
                <a:gd name="connsiteX8" fmla="*/ 67437 w 140389"/>
                <a:gd name="connsiteY8" fmla="*/ 151268 h 160431"/>
                <a:gd name="connsiteX9" fmla="*/ 82277 w 140389"/>
                <a:gd name="connsiteY9" fmla="*/ 114669 h 160431"/>
                <a:gd name="connsiteX10" fmla="*/ 105261 w 140389"/>
                <a:gd name="connsiteY10" fmla="*/ 63159 h 160431"/>
                <a:gd name="connsiteX11" fmla="*/ 104785 w 140389"/>
                <a:gd name="connsiteY11" fmla="*/ 62963 h 160431"/>
                <a:gd name="connsiteX12" fmla="*/ 68437 w 140389"/>
                <a:gd name="connsiteY12" fmla="*/ 99635 h 160431"/>
                <a:gd name="connsiteX13" fmla="*/ 28137 w 140389"/>
                <a:gd name="connsiteY13" fmla="*/ 135343 h 160431"/>
                <a:gd name="connsiteX14" fmla="*/ 0 w 140389"/>
                <a:gd name="connsiteY14" fmla="*/ 123956 h 160431"/>
                <a:gd name="connsiteX15" fmla="*/ 50311 w 140389"/>
                <a:gd name="connsiteY15" fmla="*/ 0 h 160431"/>
                <a:gd name="connsiteX16" fmla="*/ 72943 w 140389"/>
                <a:gd name="connsiteY16" fmla="*/ 9173 h 160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0389" h="160431">
                  <a:moveTo>
                    <a:pt x="72943" y="9173"/>
                  </a:moveTo>
                  <a:lnTo>
                    <a:pt x="58026" y="45948"/>
                  </a:lnTo>
                  <a:cubicBezTo>
                    <a:pt x="49959" y="65810"/>
                    <a:pt x="41653" y="85354"/>
                    <a:pt x="33957" y="101522"/>
                  </a:cubicBezTo>
                  <a:lnTo>
                    <a:pt x="34604" y="101780"/>
                  </a:lnTo>
                  <a:cubicBezTo>
                    <a:pt x="46168" y="89543"/>
                    <a:pt x="60093" y="76129"/>
                    <a:pt x="71923" y="65502"/>
                  </a:cubicBezTo>
                  <a:lnTo>
                    <a:pt x="115176" y="26271"/>
                  </a:lnTo>
                  <a:lnTo>
                    <a:pt x="140389" y="36486"/>
                  </a:lnTo>
                  <a:lnTo>
                    <a:pt x="90069" y="160431"/>
                  </a:lnTo>
                  <a:lnTo>
                    <a:pt x="67437" y="151268"/>
                  </a:lnTo>
                  <a:lnTo>
                    <a:pt x="82277" y="114669"/>
                  </a:lnTo>
                  <a:cubicBezTo>
                    <a:pt x="90049" y="95549"/>
                    <a:pt x="97222" y="78761"/>
                    <a:pt x="105261" y="63159"/>
                  </a:cubicBezTo>
                  <a:lnTo>
                    <a:pt x="104785" y="62963"/>
                  </a:lnTo>
                  <a:cubicBezTo>
                    <a:pt x="93793" y="75645"/>
                    <a:pt x="80191" y="89193"/>
                    <a:pt x="68437" y="99635"/>
                  </a:cubicBezTo>
                  <a:lnTo>
                    <a:pt x="28137" y="135343"/>
                  </a:lnTo>
                  <a:lnTo>
                    <a:pt x="0" y="123956"/>
                  </a:lnTo>
                  <a:lnTo>
                    <a:pt x="50311" y="0"/>
                  </a:lnTo>
                  <a:lnTo>
                    <a:pt x="72943" y="91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8" name="Полилиния: фигура 1457">
              <a:extLst>
                <a:ext uri="{FF2B5EF4-FFF2-40B4-BE49-F238E27FC236}">
                  <a16:creationId xmlns:a16="http://schemas.microsoft.com/office/drawing/2014/main" id="{1532BB03-7C09-4030-ADAF-74FE3085C2ED}"/>
                </a:ext>
              </a:extLst>
            </p:cNvPr>
            <p:cNvSpPr/>
            <p:nvPr/>
          </p:nvSpPr>
          <p:spPr>
            <a:xfrm>
              <a:off x="9454342" y="1407657"/>
              <a:ext cx="146570" cy="180178"/>
            </a:xfrm>
            <a:custGeom>
              <a:avLst/>
              <a:gdLst>
                <a:gd name="connsiteX0" fmla="*/ 81410 w 146570"/>
                <a:gd name="connsiteY0" fmla="*/ 28106 h 180178"/>
                <a:gd name="connsiteX1" fmla="*/ 63741 w 146570"/>
                <a:gd name="connsiteY1" fmla="*/ 63633 h 180178"/>
                <a:gd name="connsiteX2" fmla="*/ 35547 w 146570"/>
                <a:gd name="connsiteY2" fmla="*/ 117180 h 180178"/>
                <a:gd name="connsiteX3" fmla="*/ 36176 w 146570"/>
                <a:gd name="connsiteY3" fmla="*/ 117485 h 180178"/>
                <a:gd name="connsiteX4" fmla="*/ 76133 w 146570"/>
                <a:gd name="connsiteY4" fmla="*/ 84176 h 180178"/>
                <a:gd name="connsiteX5" fmla="*/ 122196 w 146570"/>
                <a:gd name="connsiteY5" fmla="*/ 48372 h 180178"/>
                <a:gd name="connsiteX6" fmla="*/ 146571 w 146570"/>
                <a:gd name="connsiteY6" fmla="*/ 60485 h 180178"/>
                <a:gd name="connsiteX7" fmla="*/ 87011 w 146570"/>
                <a:gd name="connsiteY7" fmla="*/ 180179 h 180178"/>
                <a:gd name="connsiteX8" fmla="*/ 65142 w 146570"/>
                <a:gd name="connsiteY8" fmla="*/ 169311 h 180178"/>
                <a:gd name="connsiteX9" fmla="*/ 82734 w 146570"/>
                <a:gd name="connsiteY9" fmla="*/ 133973 h 180178"/>
                <a:gd name="connsiteX10" fmla="*/ 109538 w 146570"/>
                <a:gd name="connsiteY10" fmla="*/ 84383 h 180178"/>
                <a:gd name="connsiteX11" fmla="*/ 109061 w 146570"/>
                <a:gd name="connsiteY11" fmla="*/ 84155 h 180178"/>
                <a:gd name="connsiteX12" fmla="*/ 70066 w 146570"/>
                <a:gd name="connsiteY12" fmla="*/ 117933 h 180178"/>
                <a:gd name="connsiteX13" fmla="*/ 27184 w 146570"/>
                <a:gd name="connsiteY13" fmla="*/ 150451 h 180178"/>
                <a:gd name="connsiteX14" fmla="*/ 0 w 146570"/>
                <a:gd name="connsiteY14" fmla="*/ 136945 h 180178"/>
                <a:gd name="connsiteX15" fmla="*/ 59550 w 146570"/>
                <a:gd name="connsiteY15" fmla="*/ 17241 h 180178"/>
                <a:gd name="connsiteX16" fmla="*/ 81410 w 146570"/>
                <a:gd name="connsiteY16" fmla="*/ 28106 h 180178"/>
                <a:gd name="connsiteX17" fmla="*/ 109709 w 146570"/>
                <a:gd name="connsiteY17" fmla="*/ 8068 h 180178"/>
                <a:gd name="connsiteX18" fmla="*/ 111195 w 146570"/>
                <a:gd name="connsiteY18" fmla="*/ 22318 h 180178"/>
                <a:gd name="connsiteX19" fmla="*/ 123920 w 146570"/>
                <a:gd name="connsiteY19" fmla="*/ 15136 h 180178"/>
                <a:gd name="connsiteX20" fmla="*/ 139846 w 146570"/>
                <a:gd name="connsiteY20" fmla="*/ 23050 h 180178"/>
                <a:gd name="connsiteX21" fmla="*/ 105394 w 146570"/>
                <a:gd name="connsiteY21" fmla="*/ 33173 h 180178"/>
                <a:gd name="connsiteX22" fmla="*/ 93469 w 146570"/>
                <a:gd name="connsiteY22" fmla="*/ 0 h 180178"/>
                <a:gd name="connsiteX23" fmla="*/ 109709 w 146570"/>
                <a:gd name="connsiteY23" fmla="*/ 8068 h 18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46570" h="180178">
                  <a:moveTo>
                    <a:pt x="81410" y="28106"/>
                  </a:moveTo>
                  <a:lnTo>
                    <a:pt x="63741" y="63633"/>
                  </a:lnTo>
                  <a:cubicBezTo>
                    <a:pt x="54207" y="82814"/>
                    <a:pt x="44434" y="101655"/>
                    <a:pt x="35547" y="117180"/>
                  </a:cubicBezTo>
                  <a:lnTo>
                    <a:pt x="36176" y="117485"/>
                  </a:lnTo>
                  <a:cubicBezTo>
                    <a:pt x="48625" y="106179"/>
                    <a:pt x="63522" y="93856"/>
                    <a:pt x="76133" y="84176"/>
                  </a:cubicBezTo>
                  <a:lnTo>
                    <a:pt x="122196" y="48372"/>
                  </a:lnTo>
                  <a:lnTo>
                    <a:pt x="146571" y="60485"/>
                  </a:lnTo>
                  <a:lnTo>
                    <a:pt x="87011" y="180179"/>
                  </a:lnTo>
                  <a:lnTo>
                    <a:pt x="65142" y="169311"/>
                  </a:lnTo>
                  <a:lnTo>
                    <a:pt x="82734" y="133973"/>
                  </a:lnTo>
                  <a:cubicBezTo>
                    <a:pt x="91907" y="115504"/>
                    <a:pt x="100346" y="99311"/>
                    <a:pt x="109538" y="84383"/>
                  </a:cubicBezTo>
                  <a:lnTo>
                    <a:pt x="109061" y="84155"/>
                  </a:lnTo>
                  <a:cubicBezTo>
                    <a:pt x="97165" y="95961"/>
                    <a:pt x="82582" y="108427"/>
                    <a:pt x="70066" y="117933"/>
                  </a:cubicBezTo>
                  <a:lnTo>
                    <a:pt x="27184" y="150451"/>
                  </a:lnTo>
                  <a:lnTo>
                    <a:pt x="0" y="136945"/>
                  </a:lnTo>
                  <a:lnTo>
                    <a:pt x="59550" y="17241"/>
                  </a:lnTo>
                  <a:lnTo>
                    <a:pt x="81410" y="28106"/>
                  </a:lnTo>
                  <a:close/>
                  <a:moveTo>
                    <a:pt x="109709" y="8068"/>
                  </a:moveTo>
                  <a:cubicBezTo>
                    <a:pt x="106413" y="15074"/>
                    <a:pt x="106194" y="19831"/>
                    <a:pt x="111195" y="22318"/>
                  </a:cubicBezTo>
                  <a:cubicBezTo>
                    <a:pt x="116034" y="24722"/>
                    <a:pt x="119863" y="21749"/>
                    <a:pt x="123920" y="15136"/>
                  </a:cubicBezTo>
                  <a:lnTo>
                    <a:pt x="139846" y="23050"/>
                  </a:lnTo>
                  <a:cubicBezTo>
                    <a:pt x="131331" y="37858"/>
                    <a:pt x="119301" y="40085"/>
                    <a:pt x="105394" y="33173"/>
                  </a:cubicBezTo>
                  <a:cubicBezTo>
                    <a:pt x="91650" y="26341"/>
                    <a:pt x="87287" y="15538"/>
                    <a:pt x="93469" y="0"/>
                  </a:cubicBezTo>
                  <a:lnTo>
                    <a:pt x="109709" y="80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9" name="Полилиния: фигура 1458">
              <a:extLst>
                <a:ext uri="{FF2B5EF4-FFF2-40B4-BE49-F238E27FC236}">
                  <a16:creationId xmlns:a16="http://schemas.microsoft.com/office/drawing/2014/main" id="{5EE25990-0BD3-4440-B344-0329D0D1CC6F}"/>
                </a:ext>
              </a:extLst>
            </p:cNvPr>
            <p:cNvSpPr/>
            <p:nvPr/>
          </p:nvSpPr>
          <p:spPr>
            <a:xfrm>
              <a:off x="8266470" y="1148373"/>
              <a:ext cx="95544" cy="143438"/>
            </a:xfrm>
            <a:custGeom>
              <a:avLst/>
              <a:gdLst>
                <a:gd name="connsiteX0" fmla="*/ 0 w 95544"/>
                <a:gd name="connsiteY0" fmla="*/ 18420 h 143438"/>
                <a:gd name="connsiteX1" fmla="*/ 33147 w 95544"/>
                <a:gd name="connsiteY1" fmla="*/ 4274 h 143438"/>
                <a:gd name="connsiteX2" fmla="*/ 70628 w 95544"/>
                <a:gd name="connsiteY2" fmla="*/ 2911 h 143438"/>
                <a:gd name="connsiteX3" fmla="*/ 92431 w 95544"/>
                <a:gd name="connsiteY3" fmla="*/ 28212 h 143438"/>
                <a:gd name="connsiteX4" fmla="*/ 92364 w 95544"/>
                <a:gd name="connsiteY4" fmla="*/ 61757 h 143438"/>
                <a:gd name="connsiteX5" fmla="*/ 60703 w 95544"/>
                <a:gd name="connsiteY5" fmla="*/ 87347 h 143438"/>
                <a:gd name="connsiteX6" fmla="*/ 51930 w 95544"/>
                <a:gd name="connsiteY6" fmla="*/ 89689 h 143438"/>
                <a:gd name="connsiteX7" fmla="*/ 67246 w 95544"/>
                <a:gd name="connsiteY7" fmla="*/ 134998 h 143438"/>
                <a:gd name="connsiteX8" fmla="*/ 42300 w 95544"/>
                <a:gd name="connsiteY8" fmla="*/ 143439 h 143438"/>
                <a:gd name="connsiteX9" fmla="*/ 0 w 95544"/>
                <a:gd name="connsiteY9" fmla="*/ 18420 h 143438"/>
                <a:gd name="connsiteX10" fmla="*/ 44405 w 95544"/>
                <a:gd name="connsiteY10" fmla="*/ 67495 h 143438"/>
                <a:gd name="connsiteX11" fmla="*/ 53092 w 95544"/>
                <a:gd name="connsiteY11" fmla="*/ 65400 h 143438"/>
                <a:gd name="connsiteX12" fmla="*/ 67742 w 95544"/>
                <a:gd name="connsiteY12" fmla="*/ 37396 h 143438"/>
                <a:gd name="connsiteX13" fmla="*/ 41777 w 95544"/>
                <a:gd name="connsiteY13" fmla="*/ 25436 h 143438"/>
                <a:gd name="connsiteX14" fmla="*/ 31747 w 95544"/>
                <a:gd name="connsiteY14" fmla="*/ 30090 h 143438"/>
                <a:gd name="connsiteX15" fmla="*/ 44405 w 95544"/>
                <a:gd name="connsiteY15" fmla="*/ 67495 h 143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5544" h="143438">
                  <a:moveTo>
                    <a:pt x="0" y="18420"/>
                  </a:moveTo>
                  <a:cubicBezTo>
                    <a:pt x="7267" y="14293"/>
                    <a:pt x="17793" y="9474"/>
                    <a:pt x="33147" y="4274"/>
                  </a:cubicBezTo>
                  <a:cubicBezTo>
                    <a:pt x="48692" y="-977"/>
                    <a:pt x="60893" y="-1339"/>
                    <a:pt x="70628" y="2911"/>
                  </a:cubicBezTo>
                  <a:cubicBezTo>
                    <a:pt x="79877" y="6895"/>
                    <a:pt x="88240" y="15809"/>
                    <a:pt x="92431" y="28212"/>
                  </a:cubicBezTo>
                  <a:cubicBezTo>
                    <a:pt x="96631" y="40626"/>
                    <a:pt x="96555" y="52379"/>
                    <a:pt x="92364" y="61757"/>
                  </a:cubicBezTo>
                  <a:cubicBezTo>
                    <a:pt x="86906" y="73882"/>
                    <a:pt x="75581" y="82323"/>
                    <a:pt x="60703" y="87347"/>
                  </a:cubicBezTo>
                  <a:cubicBezTo>
                    <a:pt x="57407" y="88461"/>
                    <a:pt x="54378" y="89287"/>
                    <a:pt x="51930" y="89689"/>
                  </a:cubicBezTo>
                  <a:lnTo>
                    <a:pt x="67246" y="134998"/>
                  </a:lnTo>
                  <a:lnTo>
                    <a:pt x="42300" y="143439"/>
                  </a:lnTo>
                  <a:lnTo>
                    <a:pt x="0" y="18420"/>
                  </a:lnTo>
                  <a:close/>
                  <a:moveTo>
                    <a:pt x="44405" y="67495"/>
                  </a:moveTo>
                  <a:cubicBezTo>
                    <a:pt x="46768" y="67329"/>
                    <a:pt x="49454" y="66627"/>
                    <a:pt x="53092" y="65400"/>
                  </a:cubicBezTo>
                  <a:cubicBezTo>
                    <a:pt x="66484" y="60870"/>
                    <a:pt x="72123" y="50366"/>
                    <a:pt x="67742" y="37396"/>
                  </a:cubicBezTo>
                  <a:cubicBezTo>
                    <a:pt x="63779" y="25747"/>
                    <a:pt x="54312" y="21186"/>
                    <a:pt x="41777" y="25436"/>
                  </a:cubicBezTo>
                  <a:cubicBezTo>
                    <a:pt x="36662" y="27170"/>
                    <a:pt x="33385" y="28905"/>
                    <a:pt x="31747" y="30090"/>
                  </a:cubicBezTo>
                  <a:lnTo>
                    <a:pt x="44405" y="674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0" name="Полилиния: фигура 1459">
              <a:extLst>
                <a:ext uri="{FF2B5EF4-FFF2-40B4-BE49-F238E27FC236}">
                  <a16:creationId xmlns:a16="http://schemas.microsoft.com/office/drawing/2014/main" id="{F875D07C-01E2-4273-8E40-BA0062650270}"/>
                </a:ext>
              </a:extLst>
            </p:cNvPr>
            <p:cNvSpPr/>
            <p:nvPr/>
          </p:nvSpPr>
          <p:spPr>
            <a:xfrm>
              <a:off x="8379810" y="1113326"/>
              <a:ext cx="115414" cy="137859"/>
            </a:xfrm>
            <a:custGeom>
              <a:avLst/>
              <a:gdLst>
                <a:gd name="connsiteX0" fmla="*/ 111964 w 115414"/>
                <a:gd name="connsiteY0" fmla="*/ 53375 h 137859"/>
                <a:gd name="connsiteX1" fmla="*/ 73759 w 115414"/>
                <a:gd name="connsiteY1" fmla="*/ 136046 h 137859"/>
                <a:gd name="connsiteX2" fmla="*/ 3160 w 115414"/>
                <a:gd name="connsiteY2" fmla="*/ 84041 h 137859"/>
                <a:gd name="connsiteX3" fmla="*/ 40974 w 115414"/>
                <a:gd name="connsiteY3" fmla="*/ 1876 h 137859"/>
                <a:gd name="connsiteX4" fmla="*/ 111964 w 115414"/>
                <a:gd name="connsiteY4" fmla="*/ 53375 h 137859"/>
                <a:gd name="connsiteX5" fmla="*/ 30192 w 115414"/>
                <a:gd name="connsiteY5" fmla="*/ 76415 h 137859"/>
                <a:gd name="connsiteX6" fmla="*/ 69092 w 115414"/>
                <a:gd name="connsiteY6" fmla="*/ 112458 h 137859"/>
                <a:gd name="connsiteX7" fmla="*/ 85037 w 115414"/>
                <a:gd name="connsiteY7" fmla="*/ 61382 h 137859"/>
                <a:gd name="connsiteX8" fmla="*/ 46327 w 115414"/>
                <a:gd name="connsiteY8" fmla="*/ 25299 h 137859"/>
                <a:gd name="connsiteX9" fmla="*/ 30192 w 115414"/>
                <a:gd name="connsiteY9" fmla="*/ 76415 h 137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5414" h="137859">
                  <a:moveTo>
                    <a:pt x="111964" y="53375"/>
                  </a:moveTo>
                  <a:cubicBezTo>
                    <a:pt x="122956" y="95824"/>
                    <a:pt x="107011" y="127430"/>
                    <a:pt x="73759" y="136046"/>
                  </a:cubicBezTo>
                  <a:cubicBezTo>
                    <a:pt x="39984" y="144807"/>
                    <a:pt x="12723" y="120920"/>
                    <a:pt x="3160" y="84041"/>
                  </a:cubicBezTo>
                  <a:cubicBezTo>
                    <a:pt x="-6889" y="45243"/>
                    <a:pt x="7380" y="10596"/>
                    <a:pt x="40974" y="1876"/>
                  </a:cubicBezTo>
                  <a:cubicBezTo>
                    <a:pt x="75902" y="-7184"/>
                    <a:pt x="102696" y="17641"/>
                    <a:pt x="111964" y="53375"/>
                  </a:cubicBezTo>
                  <a:close/>
                  <a:moveTo>
                    <a:pt x="30192" y="76415"/>
                  </a:moveTo>
                  <a:cubicBezTo>
                    <a:pt x="36755" y="101778"/>
                    <a:pt x="51871" y="116926"/>
                    <a:pt x="69092" y="112458"/>
                  </a:cubicBezTo>
                  <a:cubicBezTo>
                    <a:pt x="86485" y="107948"/>
                    <a:pt x="91561" y="86538"/>
                    <a:pt x="85037" y="61382"/>
                  </a:cubicBezTo>
                  <a:cubicBezTo>
                    <a:pt x="79027" y="38145"/>
                    <a:pt x="64053" y="20696"/>
                    <a:pt x="46327" y="25299"/>
                  </a:cubicBezTo>
                  <a:cubicBezTo>
                    <a:pt x="28935" y="29807"/>
                    <a:pt x="23677" y="51259"/>
                    <a:pt x="30192" y="764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1" name="Полилиния: фигура 1460">
              <a:extLst>
                <a:ext uri="{FF2B5EF4-FFF2-40B4-BE49-F238E27FC236}">
                  <a16:creationId xmlns:a16="http://schemas.microsoft.com/office/drawing/2014/main" id="{D6E7767B-3DFF-47E5-8E98-18619A420500}"/>
                </a:ext>
              </a:extLst>
            </p:cNvPr>
            <p:cNvSpPr/>
            <p:nvPr/>
          </p:nvSpPr>
          <p:spPr>
            <a:xfrm>
              <a:off x="8507574" y="1084012"/>
              <a:ext cx="102833" cy="138792"/>
            </a:xfrm>
            <a:custGeom>
              <a:avLst/>
              <a:gdLst>
                <a:gd name="connsiteX0" fmla="*/ 102834 w 102833"/>
                <a:gd name="connsiteY0" fmla="*/ 126469 h 138792"/>
                <a:gd name="connsiteX1" fmla="*/ 74164 w 102833"/>
                <a:gd name="connsiteY1" fmla="*/ 137520 h 138792"/>
                <a:gd name="connsiteX2" fmla="*/ 1612 w 102833"/>
                <a:gd name="connsiteY2" fmla="*/ 82731 h 138792"/>
                <a:gd name="connsiteX3" fmla="*/ 52113 w 102833"/>
                <a:gd name="connsiteY3" fmla="*/ 1369 h 138792"/>
                <a:gd name="connsiteX4" fmla="*/ 81660 w 102833"/>
                <a:gd name="connsiteY4" fmla="*/ 2050 h 138792"/>
                <a:gd name="connsiteX5" fmla="*/ 80631 w 102833"/>
                <a:gd name="connsiteY5" fmla="*/ 26638 h 138792"/>
                <a:gd name="connsiteX6" fmla="*/ 57771 w 102833"/>
                <a:gd name="connsiteY6" fmla="*/ 25752 h 138792"/>
                <a:gd name="connsiteX7" fmla="*/ 28748 w 102833"/>
                <a:gd name="connsiteY7" fmla="*/ 75983 h 138792"/>
                <a:gd name="connsiteX8" fmla="*/ 73630 w 102833"/>
                <a:gd name="connsiteY8" fmla="*/ 112210 h 138792"/>
                <a:gd name="connsiteX9" fmla="*/ 94661 w 102833"/>
                <a:gd name="connsiteY9" fmla="*/ 103955 h 138792"/>
                <a:gd name="connsiteX10" fmla="*/ 102834 w 102833"/>
                <a:gd name="connsiteY10" fmla="*/ 126469 h 138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2833" h="138792">
                  <a:moveTo>
                    <a:pt x="102834" y="126469"/>
                  </a:moveTo>
                  <a:cubicBezTo>
                    <a:pt x="98510" y="130071"/>
                    <a:pt x="88223" y="134961"/>
                    <a:pt x="74164" y="137520"/>
                  </a:cubicBezTo>
                  <a:cubicBezTo>
                    <a:pt x="34149" y="144785"/>
                    <a:pt x="8422" y="120216"/>
                    <a:pt x="1612" y="82731"/>
                  </a:cubicBezTo>
                  <a:cubicBezTo>
                    <a:pt x="-6532" y="37834"/>
                    <a:pt x="17090" y="7725"/>
                    <a:pt x="52113" y="1369"/>
                  </a:cubicBezTo>
                  <a:cubicBezTo>
                    <a:pt x="65667" y="-1097"/>
                    <a:pt x="76545" y="163"/>
                    <a:pt x="81660" y="2050"/>
                  </a:cubicBezTo>
                  <a:lnTo>
                    <a:pt x="80631" y="26638"/>
                  </a:lnTo>
                  <a:cubicBezTo>
                    <a:pt x="74840" y="25071"/>
                    <a:pt x="67039" y="24070"/>
                    <a:pt x="57771" y="25752"/>
                  </a:cubicBezTo>
                  <a:cubicBezTo>
                    <a:pt x="36997" y="29518"/>
                    <a:pt x="23443" y="46708"/>
                    <a:pt x="28748" y="75983"/>
                  </a:cubicBezTo>
                  <a:cubicBezTo>
                    <a:pt x="33540" y="102345"/>
                    <a:pt x="50284" y="116441"/>
                    <a:pt x="73630" y="112210"/>
                  </a:cubicBezTo>
                  <a:cubicBezTo>
                    <a:pt x="81536" y="110776"/>
                    <a:pt x="89927" y="107226"/>
                    <a:pt x="94661" y="103955"/>
                  </a:cubicBezTo>
                  <a:lnTo>
                    <a:pt x="102834" y="1264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2" name="Полилиния: фигура 1461">
              <a:extLst>
                <a:ext uri="{FF2B5EF4-FFF2-40B4-BE49-F238E27FC236}">
                  <a16:creationId xmlns:a16="http://schemas.microsoft.com/office/drawing/2014/main" id="{28AEA5EF-B0FB-499A-B16A-D641531045DE}"/>
                </a:ext>
              </a:extLst>
            </p:cNvPr>
            <p:cNvSpPr/>
            <p:nvPr/>
          </p:nvSpPr>
          <p:spPr>
            <a:xfrm>
              <a:off x="8610692" y="1069983"/>
              <a:ext cx="98852" cy="138432"/>
            </a:xfrm>
            <a:custGeom>
              <a:avLst/>
              <a:gdLst>
                <a:gd name="connsiteX0" fmla="*/ 98852 w 98852"/>
                <a:gd name="connsiteY0" fmla="*/ 128684 h 138432"/>
                <a:gd name="connsiteX1" fmla="*/ 69544 w 98852"/>
                <a:gd name="connsiteY1" fmla="*/ 137888 h 138432"/>
                <a:gd name="connsiteX2" fmla="*/ 688 w 98852"/>
                <a:gd name="connsiteY2" fmla="*/ 78567 h 138432"/>
                <a:gd name="connsiteX3" fmla="*/ 56276 w 98852"/>
                <a:gd name="connsiteY3" fmla="*/ 580 h 138432"/>
                <a:gd name="connsiteX4" fmla="*/ 85708 w 98852"/>
                <a:gd name="connsiteY4" fmla="*/ 3150 h 138432"/>
                <a:gd name="connsiteX5" fmla="*/ 83098 w 98852"/>
                <a:gd name="connsiteY5" fmla="*/ 27626 h 138432"/>
                <a:gd name="connsiteX6" fmla="*/ 60371 w 98852"/>
                <a:gd name="connsiteY6" fmla="*/ 25284 h 138432"/>
                <a:gd name="connsiteX7" fmla="*/ 28205 w 98852"/>
                <a:gd name="connsiteY7" fmla="*/ 73573 h 138432"/>
                <a:gd name="connsiteX8" fmla="*/ 70639 w 98852"/>
                <a:gd name="connsiteY8" fmla="*/ 112588 h 138432"/>
                <a:gd name="connsiteX9" fmla="*/ 92166 w 98852"/>
                <a:gd name="connsiteY9" fmla="*/ 105685 h 138432"/>
                <a:gd name="connsiteX10" fmla="*/ 98852 w 98852"/>
                <a:gd name="connsiteY10" fmla="*/ 128684 h 138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852" h="138432">
                  <a:moveTo>
                    <a:pt x="98852" y="128684"/>
                  </a:moveTo>
                  <a:cubicBezTo>
                    <a:pt x="94309" y="132006"/>
                    <a:pt x="83755" y="136228"/>
                    <a:pt x="69544" y="137888"/>
                  </a:cubicBezTo>
                  <a:cubicBezTo>
                    <a:pt x="29177" y="142583"/>
                    <a:pt x="5079" y="116416"/>
                    <a:pt x="688" y="78567"/>
                  </a:cubicBezTo>
                  <a:cubicBezTo>
                    <a:pt x="-4570" y="33228"/>
                    <a:pt x="20928" y="4687"/>
                    <a:pt x="56276" y="580"/>
                  </a:cubicBezTo>
                  <a:cubicBezTo>
                    <a:pt x="69953" y="-1007"/>
                    <a:pt x="80707" y="932"/>
                    <a:pt x="85708" y="3150"/>
                  </a:cubicBezTo>
                  <a:lnTo>
                    <a:pt x="83098" y="27626"/>
                  </a:lnTo>
                  <a:cubicBezTo>
                    <a:pt x="77440" y="25696"/>
                    <a:pt x="69706" y="24190"/>
                    <a:pt x="60371" y="25284"/>
                  </a:cubicBezTo>
                  <a:cubicBezTo>
                    <a:pt x="39407" y="27718"/>
                    <a:pt x="24786" y="44000"/>
                    <a:pt x="28205" y="73573"/>
                  </a:cubicBezTo>
                  <a:cubicBezTo>
                    <a:pt x="31301" y="100184"/>
                    <a:pt x="47084" y="115333"/>
                    <a:pt x="70639" y="112588"/>
                  </a:cubicBezTo>
                  <a:cubicBezTo>
                    <a:pt x="78621" y="111659"/>
                    <a:pt x="87222" y="108656"/>
                    <a:pt x="92166" y="105685"/>
                  </a:cubicBezTo>
                  <a:lnTo>
                    <a:pt x="98852" y="12868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3" name="Полилиния: фигура 1462">
              <a:extLst>
                <a:ext uri="{FF2B5EF4-FFF2-40B4-BE49-F238E27FC236}">
                  <a16:creationId xmlns:a16="http://schemas.microsoft.com/office/drawing/2014/main" id="{A943149E-FC21-4437-88CE-A9F9CA497B94}"/>
                </a:ext>
              </a:extLst>
            </p:cNvPr>
            <p:cNvSpPr/>
            <p:nvPr/>
          </p:nvSpPr>
          <p:spPr>
            <a:xfrm>
              <a:off x="8721565" y="1063259"/>
              <a:ext cx="102870" cy="137719"/>
            </a:xfrm>
            <a:custGeom>
              <a:avLst/>
              <a:gdLst>
                <a:gd name="connsiteX0" fmla="*/ 24441 w 102870"/>
                <a:gd name="connsiteY0" fmla="*/ 3085 h 137719"/>
                <a:gd name="connsiteX1" fmla="*/ 26127 w 102870"/>
                <a:gd name="connsiteY1" fmla="*/ 42728 h 137719"/>
                <a:gd name="connsiteX2" fmla="*/ 27337 w 102870"/>
                <a:gd name="connsiteY2" fmla="*/ 103245 h 137719"/>
                <a:gd name="connsiteX3" fmla="*/ 28032 w 102870"/>
                <a:gd name="connsiteY3" fmla="*/ 103215 h 137719"/>
                <a:gd name="connsiteX4" fmla="*/ 46892 w 102870"/>
                <a:gd name="connsiteY4" fmla="*/ 54749 h 137719"/>
                <a:gd name="connsiteX5" fmla="*/ 69923 w 102870"/>
                <a:gd name="connsiteY5" fmla="*/ 1154 h 137719"/>
                <a:gd name="connsiteX6" fmla="*/ 97117 w 102870"/>
                <a:gd name="connsiteY6" fmla="*/ 0 h 137719"/>
                <a:gd name="connsiteX7" fmla="*/ 102870 w 102870"/>
                <a:gd name="connsiteY7" fmla="*/ 133603 h 137719"/>
                <a:gd name="connsiteX8" fmla="*/ 78448 w 102870"/>
                <a:gd name="connsiteY8" fmla="*/ 134644 h 137719"/>
                <a:gd name="connsiteX9" fmla="*/ 76762 w 102870"/>
                <a:gd name="connsiteY9" fmla="*/ 95188 h 137719"/>
                <a:gd name="connsiteX10" fmla="*/ 76248 w 102870"/>
                <a:gd name="connsiteY10" fmla="*/ 38808 h 137719"/>
                <a:gd name="connsiteX11" fmla="*/ 75724 w 102870"/>
                <a:gd name="connsiteY11" fmla="*/ 38838 h 137719"/>
                <a:gd name="connsiteX12" fmla="*/ 57902 w 102870"/>
                <a:gd name="connsiteY12" fmla="*/ 87252 h 137719"/>
                <a:gd name="connsiteX13" fmla="*/ 36062 w 102870"/>
                <a:gd name="connsiteY13" fmla="*/ 136441 h 137719"/>
                <a:gd name="connsiteX14" fmla="*/ 5734 w 102870"/>
                <a:gd name="connsiteY14" fmla="*/ 137719 h 137719"/>
                <a:gd name="connsiteX15" fmla="*/ 0 w 102870"/>
                <a:gd name="connsiteY15" fmla="*/ 4117 h 137719"/>
                <a:gd name="connsiteX16" fmla="*/ 24441 w 102870"/>
                <a:gd name="connsiteY16" fmla="*/ 3085 h 137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2870" h="137719">
                  <a:moveTo>
                    <a:pt x="24441" y="3085"/>
                  </a:moveTo>
                  <a:lnTo>
                    <a:pt x="26127" y="42728"/>
                  </a:lnTo>
                  <a:cubicBezTo>
                    <a:pt x="27051" y="64138"/>
                    <a:pt x="27622" y="85365"/>
                    <a:pt x="27337" y="103245"/>
                  </a:cubicBezTo>
                  <a:lnTo>
                    <a:pt x="28032" y="103215"/>
                  </a:lnTo>
                  <a:cubicBezTo>
                    <a:pt x="33452" y="87304"/>
                    <a:pt x="40557" y="69318"/>
                    <a:pt x="46892" y="54749"/>
                  </a:cubicBezTo>
                  <a:lnTo>
                    <a:pt x="69923" y="1154"/>
                  </a:lnTo>
                  <a:lnTo>
                    <a:pt x="97117" y="0"/>
                  </a:lnTo>
                  <a:lnTo>
                    <a:pt x="102870" y="133603"/>
                  </a:lnTo>
                  <a:lnTo>
                    <a:pt x="78448" y="134644"/>
                  </a:lnTo>
                  <a:lnTo>
                    <a:pt x="76762" y="95188"/>
                  </a:lnTo>
                  <a:cubicBezTo>
                    <a:pt x="75867" y="74571"/>
                    <a:pt x="75419" y="56328"/>
                    <a:pt x="76248" y="38808"/>
                  </a:cubicBezTo>
                  <a:lnTo>
                    <a:pt x="75724" y="38838"/>
                  </a:lnTo>
                  <a:cubicBezTo>
                    <a:pt x="71009" y="54925"/>
                    <a:pt x="64275" y="72888"/>
                    <a:pt x="57902" y="87252"/>
                  </a:cubicBezTo>
                  <a:lnTo>
                    <a:pt x="36062" y="136441"/>
                  </a:lnTo>
                  <a:lnTo>
                    <a:pt x="5734" y="137719"/>
                  </a:lnTo>
                  <a:lnTo>
                    <a:pt x="0" y="4117"/>
                  </a:lnTo>
                  <a:lnTo>
                    <a:pt x="24441" y="30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4" name="Полилиния: фигура 1463">
              <a:extLst>
                <a:ext uri="{FF2B5EF4-FFF2-40B4-BE49-F238E27FC236}">
                  <a16:creationId xmlns:a16="http://schemas.microsoft.com/office/drawing/2014/main" id="{2395E119-FC81-41D8-94EB-88A2AE99F879}"/>
                </a:ext>
              </a:extLst>
            </p:cNvPr>
            <p:cNvSpPr/>
            <p:nvPr/>
          </p:nvSpPr>
          <p:spPr>
            <a:xfrm>
              <a:off x="8847628" y="1033407"/>
              <a:ext cx="102193" cy="166941"/>
            </a:xfrm>
            <a:custGeom>
              <a:avLst/>
              <a:gdLst>
                <a:gd name="connsiteX0" fmla="*/ 29480 w 102193"/>
                <a:gd name="connsiteY0" fmla="*/ 30584 h 166941"/>
                <a:gd name="connsiteX1" fmla="*/ 27965 w 102193"/>
                <a:gd name="connsiteY1" fmla="*/ 70228 h 166941"/>
                <a:gd name="connsiteX2" fmla="*/ 24270 w 102193"/>
                <a:gd name="connsiteY2" fmla="*/ 130632 h 166941"/>
                <a:gd name="connsiteX3" fmla="*/ 24975 w 102193"/>
                <a:gd name="connsiteY3" fmla="*/ 130653 h 166941"/>
                <a:gd name="connsiteX4" fmla="*/ 47701 w 102193"/>
                <a:gd name="connsiteY4" fmla="*/ 83868 h 166941"/>
                <a:gd name="connsiteX5" fmla="*/ 74990 w 102193"/>
                <a:gd name="connsiteY5" fmla="*/ 32296 h 166941"/>
                <a:gd name="connsiteX6" fmla="*/ 102194 w 102193"/>
                <a:gd name="connsiteY6" fmla="*/ 33339 h 166941"/>
                <a:gd name="connsiteX7" fmla="*/ 97098 w 102193"/>
                <a:gd name="connsiteY7" fmla="*/ 166942 h 166941"/>
                <a:gd name="connsiteX8" fmla="*/ 72695 w 102193"/>
                <a:gd name="connsiteY8" fmla="*/ 166013 h 166941"/>
                <a:gd name="connsiteX9" fmla="*/ 74190 w 102193"/>
                <a:gd name="connsiteY9" fmla="*/ 126566 h 166941"/>
                <a:gd name="connsiteX10" fmla="*/ 78248 w 102193"/>
                <a:gd name="connsiteY10" fmla="*/ 70340 h 166941"/>
                <a:gd name="connsiteX11" fmla="*/ 77724 w 102193"/>
                <a:gd name="connsiteY11" fmla="*/ 70319 h 166941"/>
                <a:gd name="connsiteX12" fmla="*/ 56036 w 102193"/>
                <a:gd name="connsiteY12" fmla="*/ 117144 h 166941"/>
                <a:gd name="connsiteX13" fmla="*/ 30328 w 102193"/>
                <a:gd name="connsiteY13" fmla="*/ 164403 h 166941"/>
                <a:gd name="connsiteX14" fmla="*/ 0 w 102193"/>
                <a:gd name="connsiteY14" fmla="*/ 163258 h 166941"/>
                <a:gd name="connsiteX15" fmla="*/ 5077 w 102193"/>
                <a:gd name="connsiteY15" fmla="*/ 29656 h 166941"/>
                <a:gd name="connsiteX16" fmla="*/ 29480 w 102193"/>
                <a:gd name="connsiteY16" fmla="*/ 30584 h 166941"/>
                <a:gd name="connsiteX17" fmla="*/ 47034 w 102193"/>
                <a:gd name="connsiteY17" fmla="*/ 682 h 166941"/>
                <a:gd name="connsiteX18" fmla="*/ 54235 w 102193"/>
                <a:gd name="connsiteY18" fmla="*/ 13064 h 166941"/>
                <a:gd name="connsiteX19" fmla="*/ 62894 w 102193"/>
                <a:gd name="connsiteY19" fmla="*/ 1290 h 166941"/>
                <a:gd name="connsiteX20" fmla="*/ 80677 w 102193"/>
                <a:gd name="connsiteY20" fmla="*/ 1960 h 166941"/>
                <a:gd name="connsiteX21" fmla="*/ 53416 w 102193"/>
                <a:gd name="connsiteY21" fmla="*/ 25342 h 166941"/>
                <a:gd name="connsiteX22" fmla="*/ 28889 w 102193"/>
                <a:gd name="connsiteY22" fmla="*/ 0 h 166941"/>
                <a:gd name="connsiteX23" fmla="*/ 47034 w 102193"/>
                <a:gd name="connsiteY23" fmla="*/ 682 h 166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02193" h="166941">
                  <a:moveTo>
                    <a:pt x="29480" y="30584"/>
                  </a:moveTo>
                  <a:lnTo>
                    <a:pt x="27965" y="70228"/>
                  </a:lnTo>
                  <a:cubicBezTo>
                    <a:pt x="27156" y="91638"/>
                    <a:pt x="26003" y="112842"/>
                    <a:pt x="24270" y="130632"/>
                  </a:cubicBezTo>
                  <a:lnTo>
                    <a:pt x="24975" y="130653"/>
                  </a:lnTo>
                  <a:cubicBezTo>
                    <a:pt x="31661" y="115226"/>
                    <a:pt x="40186" y="97880"/>
                    <a:pt x="47701" y="83868"/>
                  </a:cubicBezTo>
                  <a:lnTo>
                    <a:pt x="74990" y="32296"/>
                  </a:lnTo>
                  <a:lnTo>
                    <a:pt x="102194" y="33339"/>
                  </a:lnTo>
                  <a:lnTo>
                    <a:pt x="97098" y="166942"/>
                  </a:lnTo>
                  <a:lnTo>
                    <a:pt x="72695" y="166013"/>
                  </a:lnTo>
                  <a:lnTo>
                    <a:pt x="74190" y="126566"/>
                  </a:lnTo>
                  <a:cubicBezTo>
                    <a:pt x="74971" y="105950"/>
                    <a:pt x="76019" y="87727"/>
                    <a:pt x="78248" y="70340"/>
                  </a:cubicBezTo>
                  <a:lnTo>
                    <a:pt x="77724" y="70319"/>
                  </a:lnTo>
                  <a:cubicBezTo>
                    <a:pt x="71723" y="85973"/>
                    <a:pt x="63551" y="103329"/>
                    <a:pt x="56036" y="117144"/>
                  </a:cubicBezTo>
                  <a:lnTo>
                    <a:pt x="30328" y="164403"/>
                  </a:lnTo>
                  <a:lnTo>
                    <a:pt x="0" y="163258"/>
                  </a:lnTo>
                  <a:lnTo>
                    <a:pt x="5077" y="29656"/>
                  </a:lnTo>
                  <a:lnTo>
                    <a:pt x="29480" y="30584"/>
                  </a:lnTo>
                  <a:close/>
                  <a:moveTo>
                    <a:pt x="47034" y="682"/>
                  </a:moveTo>
                  <a:cubicBezTo>
                    <a:pt x="46901" y="8420"/>
                    <a:pt x="48654" y="12857"/>
                    <a:pt x="54235" y="13064"/>
                  </a:cubicBezTo>
                  <a:cubicBezTo>
                    <a:pt x="59636" y="13269"/>
                    <a:pt x="61893" y="8987"/>
                    <a:pt x="62894" y="1290"/>
                  </a:cubicBezTo>
                  <a:lnTo>
                    <a:pt x="80677" y="1960"/>
                  </a:lnTo>
                  <a:cubicBezTo>
                    <a:pt x="78981" y="18965"/>
                    <a:pt x="68932" y="25930"/>
                    <a:pt x="53416" y="25342"/>
                  </a:cubicBezTo>
                  <a:cubicBezTo>
                    <a:pt x="38081" y="24755"/>
                    <a:pt x="29651" y="16695"/>
                    <a:pt x="28889" y="0"/>
                  </a:cubicBezTo>
                  <a:lnTo>
                    <a:pt x="47034" y="68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5" name="Полилиния: фигура 1464">
              <a:extLst>
                <a:ext uri="{FF2B5EF4-FFF2-40B4-BE49-F238E27FC236}">
                  <a16:creationId xmlns:a16="http://schemas.microsoft.com/office/drawing/2014/main" id="{F67EB1A8-AC56-430B-BD0B-70706B4F5E2A}"/>
                </a:ext>
              </a:extLst>
            </p:cNvPr>
            <p:cNvSpPr/>
            <p:nvPr/>
          </p:nvSpPr>
          <p:spPr>
            <a:xfrm>
              <a:off x="8968956" y="1073692"/>
              <a:ext cx="100595" cy="137835"/>
            </a:xfrm>
            <a:custGeom>
              <a:avLst/>
              <a:gdLst>
                <a:gd name="connsiteX0" fmla="*/ 84793 w 100595"/>
                <a:gd name="connsiteY0" fmla="*/ 134921 h 137835"/>
                <a:gd name="connsiteX1" fmla="*/ 54170 w 100595"/>
                <a:gd name="connsiteY1" fmla="*/ 137180 h 137835"/>
                <a:gd name="connsiteX2" fmla="*/ 649 w 100595"/>
                <a:gd name="connsiteY2" fmla="*/ 63694 h 137835"/>
                <a:gd name="connsiteX3" fmla="*/ 72515 w 100595"/>
                <a:gd name="connsiteY3" fmla="*/ 482 h 137835"/>
                <a:gd name="connsiteX4" fmla="*/ 100595 w 100595"/>
                <a:gd name="connsiteY4" fmla="*/ 9708 h 137835"/>
                <a:gd name="connsiteX5" fmla="*/ 92489 w 100595"/>
                <a:gd name="connsiteY5" fmla="*/ 32945 h 137835"/>
                <a:gd name="connsiteX6" fmla="*/ 70877 w 100595"/>
                <a:gd name="connsiteY6" fmla="*/ 25454 h 137835"/>
                <a:gd name="connsiteX7" fmla="*/ 28567 w 100595"/>
                <a:gd name="connsiteY7" fmla="*/ 65117 h 137835"/>
                <a:gd name="connsiteX8" fmla="*/ 60999 w 100595"/>
                <a:gd name="connsiteY8" fmla="*/ 112799 h 137835"/>
                <a:gd name="connsiteX9" fmla="*/ 83507 w 100595"/>
                <a:gd name="connsiteY9" fmla="*/ 111004 h 137835"/>
                <a:gd name="connsiteX10" fmla="*/ 84793 w 100595"/>
                <a:gd name="connsiteY10" fmla="*/ 13492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0595" h="137835">
                  <a:moveTo>
                    <a:pt x="84793" y="134921"/>
                  </a:moveTo>
                  <a:cubicBezTo>
                    <a:pt x="79621" y="137120"/>
                    <a:pt x="68372" y="138822"/>
                    <a:pt x="54170" y="137180"/>
                  </a:cubicBezTo>
                  <a:cubicBezTo>
                    <a:pt x="13803" y="132519"/>
                    <a:pt x="-3704" y="101542"/>
                    <a:pt x="649" y="63694"/>
                  </a:cubicBezTo>
                  <a:cubicBezTo>
                    <a:pt x="5869" y="18355"/>
                    <a:pt x="37187" y="-3604"/>
                    <a:pt x="72515" y="482"/>
                  </a:cubicBezTo>
                  <a:cubicBezTo>
                    <a:pt x="86212" y="2062"/>
                    <a:pt x="96251" y="6406"/>
                    <a:pt x="100595" y="9708"/>
                  </a:cubicBezTo>
                  <a:lnTo>
                    <a:pt x="92489" y="32945"/>
                  </a:lnTo>
                  <a:cubicBezTo>
                    <a:pt x="87412" y="29767"/>
                    <a:pt x="80231" y="26536"/>
                    <a:pt x="70877" y="25454"/>
                  </a:cubicBezTo>
                  <a:cubicBezTo>
                    <a:pt x="49912" y="23039"/>
                    <a:pt x="31967" y="35545"/>
                    <a:pt x="28567" y="65117"/>
                  </a:cubicBezTo>
                  <a:cubicBezTo>
                    <a:pt x="25509" y="91729"/>
                    <a:pt x="37444" y="110085"/>
                    <a:pt x="60999" y="112799"/>
                  </a:cubicBezTo>
                  <a:cubicBezTo>
                    <a:pt x="68982" y="113717"/>
                    <a:pt x="78030" y="112769"/>
                    <a:pt x="83507" y="111004"/>
                  </a:cubicBezTo>
                  <a:lnTo>
                    <a:pt x="84793" y="13492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6" name="Полилиния: фигура 1465">
              <a:extLst>
                <a:ext uri="{FF2B5EF4-FFF2-40B4-BE49-F238E27FC236}">
                  <a16:creationId xmlns:a16="http://schemas.microsoft.com/office/drawing/2014/main" id="{C652FA49-4F16-4E92-85E9-2F0C01B365FD}"/>
                </a:ext>
              </a:extLst>
            </p:cNvPr>
            <p:cNvSpPr/>
            <p:nvPr/>
          </p:nvSpPr>
          <p:spPr>
            <a:xfrm>
              <a:off x="9070884" y="1083719"/>
              <a:ext cx="116405" cy="148566"/>
            </a:xfrm>
            <a:custGeom>
              <a:avLst/>
              <a:gdLst>
                <a:gd name="connsiteX0" fmla="*/ 50559 w 116405"/>
                <a:gd name="connsiteY0" fmla="*/ 4850 h 148566"/>
                <a:gd name="connsiteX1" fmla="*/ 40319 w 116405"/>
                <a:gd name="connsiteY1" fmla="*/ 59467 h 148566"/>
                <a:gd name="connsiteX2" fmla="*/ 42548 w 116405"/>
                <a:gd name="connsiteY2" fmla="*/ 59888 h 148566"/>
                <a:gd name="connsiteX3" fmla="*/ 84677 w 116405"/>
                <a:gd name="connsiteY3" fmla="*/ 11248 h 148566"/>
                <a:gd name="connsiteX4" fmla="*/ 116405 w 116405"/>
                <a:gd name="connsiteY4" fmla="*/ 17181 h 148566"/>
                <a:gd name="connsiteX5" fmla="*/ 65180 w 116405"/>
                <a:gd name="connsiteY5" fmla="*/ 67968 h 148566"/>
                <a:gd name="connsiteX6" fmla="*/ 85630 w 116405"/>
                <a:gd name="connsiteY6" fmla="*/ 104712 h 148566"/>
                <a:gd name="connsiteX7" fmla="*/ 91250 w 116405"/>
                <a:gd name="connsiteY7" fmla="*/ 148566 h 148566"/>
                <a:gd name="connsiteX8" fmla="*/ 63122 w 116405"/>
                <a:gd name="connsiteY8" fmla="*/ 143303 h 148566"/>
                <a:gd name="connsiteX9" fmla="*/ 59607 w 116405"/>
                <a:gd name="connsiteY9" fmla="*/ 112761 h 148566"/>
                <a:gd name="connsiteX10" fmla="*/ 41196 w 116405"/>
                <a:gd name="connsiteY10" fmla="*/ 82249 h 148566"/>
                <a:gd name="connsiteX11" fmla="*/ 36224 w 116405"/>
                <a:gd name="connsiteY11" fmla="*/ 81320 h 148566"/>
                <a:gd name="connsiteX12" fmla="*/ 25918 w 116405"/>
                <a:gd name="connsiteY12" fmla="*/ 136328 h 148566"/>
                <a:gd name="connsiteX13" fmla="*/ 0 w 116405"/>
                <a:gd name="connsiteY13" fmla="*/ 131478 h 148566"/>
                <a:gd name="connsiteX14" fmla="*/ 24641 w 116405"/>
                <a:gd name="connsiteY14" fmla="*/ 0 h 148566"/>
                <a:gd name="connsiteX15" fmla="*/ 50559 w 116405"/>
                <a:gd name="connsiteY15" fmla="*/ 4850 h 148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6405" h="148566">
                  <a:moveTo>
                    <a:pt x="50559" y="4850"/>
                  </a:moveTo>
                  <a:lnTo>
                    <a:pt x="40319" y="59467"/>
                  </a:lnTo>
                  <a:lnTo>
                    <a:pt x="42548" y="59888"/>
                  </a:lnTo>
                  <a:lnTo>
                    <a:pt x="84677" y="11248"/>
                  </a:lnTo>
                  <a:lnTo>
                    <a:pt x="116405" y="17181"/>
                  </a:lnTo>
                  <a:lnTo>
                    <a:pt x="65180" y="67968"/>
                  </a:lnTo>
                  <a:cubicBezTo>
                    <a:pt x="79296" y="75047"/>
                    <a:pt x="83801" y="88005"/>
                    <a:pt x="85630" y="104712"/>
                  </a:cubicBezTo>
                  <a:cubicBezTo>
                    <a:pt x="87116" y="119518"/>
                    <a:pt x="88230" y="134470"/>
                    <a:pt x="91250" y="148566"/>
                  </a:cubicBezTo>
                  <a:lnTo>
                    <a:pt x="63122" y="143303"/>
                  </a:lnTo>
                  <a:cubicBezTo>
                    <a:pt x="60865" y="133593"/>
                    <a:pt x="60531" y="123028"/>
                    <a:pt x="59607" y="112761"/>
                  </a:cubicBezTo>
                  <a:cubicBezTo>
                    <a:pt x="58455" y="97200"/>
                    <a:pt x="55236" y="84880"/>
                    <a:pt x="41196" y="82249"/>
                  </a:cubicBezTo>
                  <a:lnTo>
                    <a:pt x="36224" y="81320"/>
                  </a:lnTo>
                  <a:lnTo>
                    <a:pt x="25918" y="136328"/>
                  </a:lnTo>
                  <a:lnTo>
                    <a:pt x="0" y="131478"/>
                  </a:lnTo>
                  <a:lnTo>
                    <a:pt x="24641" y="0"/>
                  </a:lnTo>
                  <a:lnTo>
                    <a:pt x="50559" y="48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7" name="Полилиния: фигура 1466">
              <a:extLst>
                <a:ext uri="{FF2B5EF4-FFF2-40B4-BE49-F238E27FC236}">
                  <a16:creationId xmlns:a16="http://schemas.microsoft.com/office/drawing/2014/main" id="{5B3812AE-DA75-4044-8AB4-4BE6E4CB61DA}"/>
                </a:ext>
              </a:extLst>
            </p:cNvPr>
            <p:cNvSpPr/>
            <p:nvPr/>
          </p:nvSpPr>
          <p:spPr>
            <a:xfrm>
              <a:off x="9174431" y="1105936"/>
              <a:ext cx="128235" cy="154146"/>
            </a:xfrm>
            <a:custGeom>
              <a:avLst/>
              <a:gdLst>
                <a:gd name="connsiteX0" fmla="*/ 57912 w 128235"/>
                <a:gd name="connsiteY0" fmla="*/ 6253 h 154146"/>
                <a:gd name="connsiteX1" fmla="*/ 47739 w 128235"/>
                <a:gd name="connsiteY1" fmla="*/ 44607 h 154146"/>
                <a:gd name="connsiteX2" fmla="*/ 30871 w 128235"/>
                <a:gd name="connsiteY2" fmla="*/ 102740 h 154146"/>
                <a:gd name="connsiteX3" fmla="*/ 31537 w 128235"/>
                <a:gd name="connsiteY3" fmla="*/ 102915 h 154146"/>
                <a:gd name="connsiteX4" fmla="*/ 63998 w 128235"/>
                <a:gd name="connsiteY4" fmla="*/ 62261 h 154146"/>
                <a:gd name="connsiteX5" fmla="*/ 101946 w 128235"/>
                <a:gd name="connsiteY5" fmla="*/ 17923 h 154146"/>
                <a:gd name="connsiteX6" fmla="*/ 128235 w 128235"/>
                <a:gd name="connsiteY6" fmla="*/ 24898 h 154146"/>
                <a:gd name="connsiteX7" fmla="*/ 93974 w 128235"/>
                <a:gd name="connsiteY7" fmla="*/ 154147 h 154146"/>
                <a:gd name="connsiteX8" fmla="*/ 70361 w 128235"/>
                <a:gd name="connsiteY8" fmla="*/ 147894 h 154146"/>
                <a:gd name="connsiteX9" fmla="*/ 80467 w 128235"/>
                <a:gd name="connsiteY9" fmla="*/ 109725 h 154146"/>
                <a:gd name="connsiteX10" fmla="*/ 96784 w 128235"/>
                <a:gd name="connsiteY10" fmla="*/ 55761 h 154146"/>
                <a:gd name="connsiteX11" fmla="*/ 96269 w 128235"/>
                <a:gd name="connsiteY11" fmla="*/ 55627 h 154146"/>
                <a:gd name="connsiteX12" fmla="*/ 64827 w 128235"/>
                <a:gd name="connsiteY12" fmla="*/ 96549 h 154146"/>
                <a:gd name="connsiteX13" fmla="*/ 29356 w 128235"/>
                <a:gd name="connsiteY13" fmla="*/ 137028 h 154146"/>
                <a:gd name="connsiteX14" fmla="*/ 0 w 128235"/>
                <a:gd name="connsiteY14" fmla="*/ 129248 h 154146"/>
                <a:gd name="connsiteX15" fmla="*/ 34300 w 128235"/>
                <a:gd name="connsiteY15" fmla="*/ 0 h 154146"/>
                <a:gd name="connsiteX16" fmla="*/ 57912 w 128235"/>
                <a:gd name="connsiteY16" fmla="*/ 6253 h 154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8235" h="154146">
                  <a:moveTo>
                    <a:pt x="57912" y="6253"/>
                  </a:moveTo>
                  <a:lnTo>
                    <a:pt x="47739" y="44607"/>
                  </a:lnTo>
                  <a:cubicBezTo>
                    <a:pt x="42243" y="65315"/>
                    <a:pt x="36462" y="85746"/>
                    <a:pt x="30871" y="102740"/>
                  </a:cubicBezTo>
                  <a:lnTo>
                    <a:pt x="31537" y="102915"/>
                  </a:lnTo>
                  <a:cubicBezTo>
                    <a:pt x="41481" y="89337"/>
                    <a:pt x="53588" y="74282"/>
                    <a:pt x="63998" y="62261"/>
                  </a:cubicBezTo>
                  <a:lnTo>
                    <a:pt x="101946" y="17923"/>
                  </a:lnTo>
                  <a:lnTo>
                    <a:pt x="128235" y="24898"/>
                  </a:lnTo>
                  <a:lnTo>
                    <a:pt x="93974" y="154147"/>
                  </a:lnTo>
                  <a:lnTo>
                    <a:pt x="70361" y="147894"/>
                  </a:lnTo>
                  <a:lnTo>
                    <a:pt x="80467" y="109725"/>
                  </a:lnTo>
                  <a:cubicBezTo>
                    <a:pt x="85773" y="89791"/>
                    <a:pt x="90792" y="72239"/>
                    <a:pt x="96784" y="55761"/>
                  </a:cubicBezTo>
                  <a:lnTo>
                    <a:pt x="96269" y="55627"/>
                  </a:lnTo>
                  <a:cubicBezTo>
                    <a:pt x="86982" y="69577"/>
                    <a:pt x="75200" y="84724"/>
                    <a:pt x="64827" y="96549"/>
                  </a:cubicBezTo>
                  <a:lnTo>
                    <a:pt x="29356" y="137028"/>
                  </a:lnTo>
                  <a:lnTo>
                    <a:pt x="0" y="129248"/>
                  </a:lnTo>
                  <a:lnTo>
                    <a:pt x="34300" y="0"/>
                  </a:lnTo>
                  <a:lnTo>
                    <a:pt x="57912" y="625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8" name="Полилиния: фигура 1467">
              <a:extLst>
                <a:ext uri="{FF2B5EF4-FFF2-40B4-BE49-F238E27FC236}">
                  <a16:creationId xmlns:a16="http://schemas.microsoft.com/office/drawing/2014/main" id="{60633455-5185-4A25-B1F0-6AA7020BD3D6}"/>
                </a:ext>
              </a:extLst>
            </p:cNvPr>
            <p:cNvSpPr/>
            <p:nvPr/>
          </p:nvSpPr>
          <p:spPr>
            <a:xfrm>
              <a:off x="9290617" y="1119195"/>
              <a:ext cx="135902" cy="179673"/>
            </a:xfrm>
            <a:custGeom>
              <a:avLst/>
              <a:gdLst>
                <a:gd name="connsiteX0" fmla="*/ 67218 w 135902"/>
                <a:gd name="connsiteY0" fmla="*/ 29427 h 179673"/>
                <a:gd name="connsiteX1" fmla="*/ 54112 w 135902"/>
                <a:gd name="connsiteY1" fmla="*/ 66904 h 179673"/>
                <a:gd name="connsiteX2" fmla="*/ 32814 w 135902"/>
                <a:gd name="connsiteY2" fmla="*/ 123593 h 179673"/>
                <a:gd name="connsiteX3" fmla="*/ 33471 w 135902"/>
                <a:gd name="connsiteY3" fmla="*/ 123820 h 179673"/>
                <a:gd name="connsiteX4" fmla="*/ 68961 w 135902"/>
                <a:gd name="connsiteY4" fmla="*/ 85744 h 179673"/>
                <a:gd name="connsiteX5" fmla="*/ 110214 w 135902"/>
                <a:gd name="connsiteY5" fmla="*/ 44431 h 179673"/>
                <a:gd name="connsiteX6" fmla="*/ 135903 w 135902"/>
                <a:gd name="connsiteY6" fmla="*/ 53397 h 179673"/>
                <a:gd name="connsiteX7" fmla="*/ 91754 w 135902"/>
                <a:gd name="connsiteY7" fmla="*/ 179674 h 179673"/>
                <a:gd name="connsiteX8" fmla="*/ 68685 w 135902"/>
                <a:gd name="connsiteY8" fmla="*/ 171636 h 179673"/>
                <a:gd name="connsiteX9" fmla="*/ 81734 w 135902"/>
                <a:gd name="connsiteY9" fmla="*/ 134344 h 179673"/>
                <a:gd name="connsiteX10" fmla="*/ 102156 w 135902"/>
                <a:gd name="connsiteY10" fmla="*/ 81773 h 179673"/>
                <a:gd name="connsiteX11" fmla="*/ 101660 w 135902"/>
                <a:gd name="connsiteY11" fmla="*/ 81598 h 179673"/>
                <a:gd name="connsiteX12" fmla="*/ 67161 w 135902"/>
                <a:gd name="connsiteY12" fmla="*/ 120013 h 179673"/>
                <a:gd name="connsiteX13" fmla="*/ 28661 w 135902"/>
                <a:gd name="connsiteY13" fmla="*/ 157676 h 179673"/>
                <a:gd name="connsiteX14" fmla="*/ 0 w 135902"/>
                <a:gd name="connsiteY14" fmla="*/ 147666 h 179673"/>
                <a:gd name="connsiteX15" fmla="*/ 44177 w 135902"/>
                <a:gd name="connsiteY15" fmla="*/ 21389 h 179673"/>
                <a:gd name="connsiteX16" fmla="*/ 67218 w 135902"/>
                <a:gd name="connsiteY16" fmla="*/ 29427 h 179673"/>
                <a:gd name="connsiteX17" fmla="*/ 92783 w 135902"/>
                <a:gd name="connsiteY17" fmla="*/ 5984 h 179673"/>
                <a:gd name="connsiteX18" fmla="*/ 96031 w 135902"/>
                <a:gd name="connsiteY18" fmla="*/ 19945 h 179673"/>
                <a:gd name="connsiteX19" fmla="*/ 107775 w 135902"/>
                <a:gd name="connsiteY19" fmla="*/ 11215 h 179673"/>
                <a:gd name="connsiteX20" fmla="*/ 124578 w 135902"/>
                <a:gd name="connsiteY20" fmla="*/ 17076 h 179673"/>
                <a:gd name="connsiteX21" fmla="*/ 91659 w 135902"/>
                <a:gd name="connsiteY21" fmla="*/ 31439 h 179673"/>
                <a:gd name="connsiteX22" fmla="*/ 75667 w 135902"/>
                <a:gd name="connsiteY22" fmla="*/ 0 h 179673"/>
                <a:gd name="connsiteX23" fmla="*/ 92783 w 135902"/>
                <a:gd name="connsiteY23" fmla="*/ 5984 h 17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35902" h="179673">
                  <a:moveTo>
                    <a:pt x="67218" y="29427"/>
                  </a:moveTo>
                  <a:lnTo>
                    <a:pt x="54112" y="66904"/>
                  </a:lnTo>
                  <a:cubicBezTo>
                    <a:pt x="47044" y="87138"/>
                    <a:pt x="39710" y="107074"/>
                    <a:pt x="32814" y="123593"/>
                  </a:cubicBezTo>
                  <a:lnTo>
                    <a:pt x="33471" y="123820"/>
                  </a:lnTo>
                  <a:cubicBezTo>
                    <a:pt x="44425" y="111036"/>
                    <a:pt x="57665" y="96941"/>
                    <a:pt x="68961" y="85744"/>
                  </a:cubicBezTo>
                  <a:lnTo>
                    <a:pt x="110214" y="44431"/>
                  </a:lnTo>
                  <a:lnTo>
                    <a:pt x="135903" y="53397"/>
                  </a:lnTo>
                  <a:lnTo>
                    <a:pt x="91754" y="179674"/>
                  </a:lnTo>
                  <a:lnTo>
                    <a:pt x="68685" y="171636"/>
                  </a:lnTo>
                  <a:lnTo>
                    <a:pt x="81734" y="134344"/>
                  </a:lnTo>
                  <a:cubicBezTo>
                    <a:pt x="88544" y="114864"/>
                    <a:pt x="94888" y="97746"/>
                    <a:pt x="102156" y="81773"/>
                  </a:cubicBezTo>
                  <a:lnTo>
                    <a:pt x="101660" y="81598"/>
                  </a:lnTo>
                  <a:cubicBezTo>
                    <a:pt x="91316" y="94805"/>
                    <a:pt x="78391" y="109014"/>
                    <a:pt x="67161" y="120013"/>
                  </a:cubicBezTo>
                  <a:lnTo>
                    <a:pt x="28661" y="157676"/>
                  </a:lnTo>
                  <a:lnTo>
                    <a:pt x="0" y="147666"/>
                  </a:lnTo>
                  <a:lnTo>
                    <a:pt x="44177" y="21389"/>
                  </a:lnTo>
                  <a:lnTo>
                    <a:pt x="67218" y="29427"/>
                  </a:lnTo>
                  <a:close/>
                  <a:moveTo>
                    <a:pt x="92783" y="5984"/>
                  </a:moveTo>
                  <a:cubicBezTo>
                    <a:pt x="90411" y="13341"/>
                    <a:pt x="90783" y="18098"/>
                    <a:pt x="96031" y="19945"/>
                  </a:cubicBezTo>
                  <a:cubicBezTo>
                    <a:pt x="101146" y="21719"/>
                    <a:pt x="104575" y="18283"/>
                    <a:pt x="107775" y="11215"/>
                  </a:cubicBezTo>
                  <a:lnTo>
                    <a:pt x="124578" y="17076"/>
                  </a:lnTo>
                  <a:cubicBezTo>
                    <a:pt x="117948" y="32843"/>
                    <a:pt x="106309" y="36557"/>
                    <a:pt x="91659" y="31439"/>
                  </a:cubicBezTo>
                  <a:cubicBezTo>
                    <a:pt x="77162" y="26383"/>
                    <a:pt x="71476" y="16198"/>
                    <a:pt x="75667" y="0"/>
                  </a:cubicBezTo>
                  <a:lnTo>
                    <a:pt x="92783" y="598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85" name="Скругленный прямоугольник 284"/>
          <p:cNvSpPr/>
          <p:nvPr/>
        </p:nvSpPr>
        <p:spPr>
          <a:xfrm>
            <a:off x="330712" y="5512304"/>
            <a:ext cx="11516805" cy="1012321"/>
          </a:xfrm>
          <a:prstGeom prst="roundRect">
            <a:avLst>
              <a:gd name="adj" fmla="val 7924"/>
            </a:avLst>
          </a:prstGeom>
          <a:solidFill>
            <a:srgbClr val="495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400"/>
              </a:lnSpc>
            </a:pPr>
            <a:r>
              <a:rPr lang="ru-RU" sz="1600" b="1" dirty="0">
                <a:latin typeface="Montserrat" panose="00000500000000000000" pitchFamily="2" charset="-52"/>
              </a:rPr>
              <a:t>Важный аспект — экологическая безопасность во время предоставления услуг, включая использование безопасных и экологически чистых продуктов, соблюдение стерильности</a:t>
            </a:r>
            <a:br>
              <a:rPr lang="ru-RU" sz="1600" b="1" dirty="0">
                <a:latin typeface="Montserrat" panose="00000500000000000000" pitchFamily="2" charset="-52"/>
              </a:rPr>
            </a:br>
            <a:r>
              <a:rPr lang="ru-RU" sz="1600" b="1" dirty="0">
                <a:latin typeface="Montserrat" panose="00000500000000000000" pitchFamily="2" charset="-52"/>
              </a:rPr>
              <a:t>при работе с инструментами, использование одноразовых материалов</a:t>
            </a:r>
          </a:p>
        </p:txBody>
      </p:sp>
      <p:grpSp>
        <p:nvGrpSpPr>
          <p:cNvPr id="14" name="Группа 13"/>
          <p:cNvGrpSpPr/>
          <p:nvPr/>
        </p:nvGrpSpPr>
        <p:grpSpPr>
          <a:xfrm>
            <a:off x="351657" y="1936617"/>
            <a:ext cx="11516806" cy="3385908"/>
            <a:chOff x="351657" y="2005998"/>
            <a:chExt cx="11516806" cy="3385908"/>
          </a:xfrm>
        </p:grpSpPr>
        <p:sp>
          <p:nvSpPr>
            <p:cNvPr id="553" name="Скругленный прямоугольник 552"/>
            <p:cNvSpPr/>
            <p:nvPr/>
          </p:nvSpPr>
          <p:spPr>
            <a:xfrm>
              <a:off x="351657" y="3347843"/>
              <a:ext cx="6916313" cy="2044063"/>
            </a:xfrm>
            <a:prstGeom prst="roundRect">
              <a:avLst>
                <a:gd name="adj" fmla="val 8058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9" name="Скругленный прямоугольник 468"/>
            <p:cNvSpPr/>
            <p:nvPr/>
          </p:nvSpPr>
          <p:spPr>
            <a:xfrm>
              <a:off x="351657" y="2005998"/>
              <a:ext cx="11516806" cy="2414758"/>
            </a:xfrm>
            <a:prstGeom prst="roundRect">
              <a:avLst>
                <a:gd name="adj" fmla="val 774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9" name="Группа 38"/>
          <p:cNvGrpSpPr/>
          <p:nvPr/>
        </p:nvGrpSpPr>
        <p:grpSpPr>
          <a:xfrm>
            <a:off x="452257" y="2024749"/>
            <a:ext cx="11304000" cy="204624"/>
            <a:chOff x="516918" y="2114434"/>
            <a:chExt cx="11304000" cy="204624"/>
          </a:xfrm>
        </p:grpSpPr>
        <p:sp>
          <p:nvSpPr>
            <p:cNvPr id="44" name="Прямоугольник 43"/>
            <p:cNvSpPr/>
            <p:nvPr/>
          </p:nvSpPr>
          <p:spPr>
            <a:xfrm>
              <a:off x="516918" y="2114434"/>
              <a:ext cx="7249695" cy="1692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ru-RU" sz="1100" dirty="0">
                  <a:solidFill>
                    <a:srgbClr val="777777"/>
                  </a:solidFill>
                  <a:latin typeface="Montserrat Medium" panose="00000600000000000000" pitchFamily="2" charset="-52"/>
                </a:rPr>
                <a:t>Маркетинговые инструменты</a:t>
              </a:r>
            </a:p>
          </p:txBody>
        </p:sp>
        <p:cxnSp>
          <p:nvCxnSpPr>
            <p:cNvPr id="5" name="Прямая соединительная линия 4"/>
            <p:cNvCxnSpPr/>
            <p:nvPr/>
          </p:nvCxnSpPr>
          <p:spPr>
            <a:xfrm>
              <a:off x="516918" y="2319058"/>
              <a:ext cx="11304000" cy="0"/>
            </a:xfrm>
            <a:prstGeom prst="line">
              <a:avLst/>
            </a:prstGeom>
            <a:ln w="12700" cap="rnd">
              <a:solidFill>
                <a:srgbClr val="969696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1" name="Скругленный прямоугольник 280"/>
          <p:cNvSpPr/>
          <p:nvPr/>
        </p:nvSpPr>
        <p:spPr>
          <a:xfrm>
            <a:off x="2743606" y="2403457"/>
            <a:ext cx="2160000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282" name="Прямоугольник 281"/>
          <p:cNvSpPr/>
          <p:nvPr/>
        </p:nvSpPr>
        <p:spPr>
          <a:xfrm>
            <a:off x="3302324" y="2436173"/>
            <a:ext cx="1572198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Реклама</a:t>
            </a:r>
            <a:b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</a:br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в местных СМИ</a:t>
            </a:r>
            <a:b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</a:br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и соц. сетях</a:t>
            </a:r>
          </a:p>
        </p:txBody>
      </p:sp>
      <p:sp>
        <p:nvSpPr>
          <p:cNvPr id="297" name="Скругленный прямоугольник 296"/>
          <p:cNvSpPr/>
          <p:nvPr/>
        </p:nvSpPr>
        <p:spPr>
          <a:xfrm>
            <a:off x="5034955" y="2403457"/>
            <a:ext cx="2160000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298" name="Прямоугольник 297"/>
          <p:cNvSpPr/>
          <p:nvPr/>
        </p:nvSpPr>
        <p:spPr>
          <a:xfrm>
            <a:off x="5593673" y="2520812"/>
            <a:ext cx="954578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Рассылка листовок </a:t>
            </a:r>
          </a:p>
        </p:txBody>
      </p:sp>
      <p:sp>
        <p:nvSpPr>
          <p:cNvPr id="313" name="Скругленный прямоугольник 312"/>
          <p:cNvSpPr/>
          <p:nvPr/>
        </p:nvSpPr>
        <p:spPr>
          <a:xfrm>
            <a:off x="7326304" y="2403457"/>
            <a:ext cx="2160000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314" name="Прямоугольник 313"/>
          <p:cNvSpPr/>
          <p:nvPr/>
        </p:nvSpPr>
        <p:spPr>
          <a:xfrm>
            <a:off x="7885021" y="2436172"/>
            <a:ext cx="1602817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Распространение информации</a:t>
            </a:r>
            <a:b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</a:br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среди клиентов</a:t>
            </a:r>
          </a:p>
        </p:txBody>
      </p:sp>
      <p:sp>
        <p:nvSpPr>
          <p:cNvPr id="329" name="Скругленный прямоугольник 328"/>
          <p:cNvSpPr/>
          <p:nvPr/>
        </p:nvSpPr>
        <p:spPr>
          <a:xfrm>
            <a:off x="9619186" y="2403457"/>
            <a:ext cx="2160000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330" name="Прямоугольник 329"/>
          <p:cNvSpPr/>
          <p:nvPr/>
        </p:nvSpPr>
        <p:spPr>
          <a:xfrm>
            <a:off x="10177903" y="2436173"/>
            <a:ext cx="1180413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Создание уникального сайта</a:t>
            </a:r>
          </a:p>
        </p:txBody>
      </p:sp>
      <p:sp>
        <p:nvSpPr>
          <p:cNvPr id="289" name="Скругленный прямоугольник 288"/>
          <p:cNvSpPr/>
          <p:nvPr/>
        </p:nvSpPr>
        <p:spPr>
          <a:xfrm>
            <a:off x="452257" y="3502974"/>
            <a:ext cx="2160000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290" name="Прямоугольник 289"/>
          <p:cNvSpPr/>
          <p:nvPr/>
        </p:nvSpPr>
        <p:spPr>
          <a:xfrm>
            <a:off x="1010974" y="3620327"/>
            <a:ext cx="1292685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Комплексные услуги по уходу</a:t>
            </a:r>
          </a:p>
        </p:txBody>
      </p:sp>
      <p:sp>
        <p:nvSpPr>
          <p:cNvPr id="308" name="Скругленный прямоугольник 307"/>
          <p:cNvSpPr/>
          <p:nvPr/>
        </p:nvSpPr>
        <p:spPr>
          <a:xfrm>
            <a:off x="2743606" y="3502974"/>
            <a:ext cx="2160000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309" name="Прямоугольник 308"/>
          <p:cNvSpPr/>
          <p:nvPr/>
        </p:nvSpPr>
        <p:spPr>
          <a:xfrm>
            <a:off x="3302324" y="3535690"/>
            <a:ext cx="1461250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Использование экологически чистых продуктов</a:t>
            </a:r>
          </a:p>
        </p:txBody>
      </p:sp>
      <p:sp>
        <p:nvSpPr>
          <p:cNvPr id="323" name="Скругленный прямоугольник 322"/>
          <p:cNvSpPr/>
          <p:nvPr/>
        </p:nvSpPr>
        <p:spPr>
          <a:xfrm>
            <a:off x="5034955" y="3502974"/>
            <a:ext cx="2160000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324" name="Прямоугольник 323"/>
          <p:cNvSpPr/>
          <p:nvPr/>
        </p:nvSpPr>
        <p:spPr>
          <a:xfrm>
            <a:off x="5593672" y="3620328"/>
            <a:ext cx="1394698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Конкурентное ценообразование</a:t>
            </a:r>
          </a:p>
        </p:txBody>
      </p:sp>
      <p:sp>
        <p:nvSpPr>
          <p:cNvPr id="338" name="Скругленный прямоугольник 337"/>
          <p:cNvSpPr/>
          <p:nvPr/>
        </p:nvSpPr>
        <p:spPr>
          <a:xfrm>
            <a:off x="7326304" y="3502974"/>
            <a:ext cx="2160000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339" name="Прямоугольник 338"/>
          <p:cNvSpPr/>
          <p:nvPr/>
        </p:nvSpPr>
        <p:spPr>
          <a:xfrm>
            <a:off x="7885021" y="3620327"/>
            <a:ext cx="1540301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Профессиональные мастера маникюра</a:t>
            </a:r>
          </a:p>
        </p:txBody>
      </p:sp>
      <p:sp>
        <p:nvSpPr>
          <p:cNvPr id="353" name="Скругленный прямоугольник 352"/>
          <p:cNvSpPr/>
          <p:nvPr/>
        </p:nvSpPr>
        <p:spPr>
          <a:xfrm>
            <a:off x="9619186" y="3502974"/>
            <a:ext cx="2160000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354" name="Прямоугольник 353"/>
          <p:cNvSpPr/>
          <p:nvPr/>
        </p:nvSpPr>
        <p:spPr>
          <a:xfrm>
            <a:off x="10177903" y="3620328"/>
            <a:ext cx="1180413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Стильный интерьер</a:t>
            </a:r>
          </a:p>
        </p:txBody>
      </p:sp>
      <p:sp>
        <p:nvSpPr>
          <p:cNvPr id="367" name="Скругленный прямоугольник 366"/>
          <p:cNvSpPr/>
          <p:nvPr/>
        </p:nvSpPr>
        <p:spPr>
          <a:xfrm>
            <a:off x="452257" y="4602492"/>
            <a:ext cx="2160000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368" name="Прямоугольник 367"/>
          <p:cNvSpPr/>
          <p:nvPr/>
        </p:nvSpPr>
        <p:spPr>
          <a:xfrm>
            <a:off x="1010974" y="4635207"/>
            <a:ext cx="1478446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Выбор надежных поставщиков продуктов</a:t>
            </a:r>
          </a:p>
        </p:txBody>
      </p:sp>
      <p:sp>
        <p:nvSpPr>
          <p:cNvPr id="383" name="Скругленный прямоугольник 382"/>
          <p:cNvSpPr/>
          <p:nvPr/>
        </p:nvSpPr>
        <p:spPr>
          <a:xfrm>
            <a:off x="2743606" y="4602492"/>
            <a:ext cx="2160000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384" name="Прямоугольник 383"/>
          <p:cNvSpPr/>
          <p:nvPr/>
        </p:nvSpPr>
        <p:spPr>
          <a:xfrm>
            <a:off x="3302324" y="4635208"/>
            <a:ext cx="1295643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Сотрудничество</a:t>
            </a:r>
            <a:b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</a:br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с стилистами</a:t>
            </a:r>
            <a:b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</a:br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и дизайнерами</a:t>
            </a:r>
          </a:p>
        </p:txBody>
      </p:sp>
      <p:sp>
        <p:nvSpPr>
          <p:cNvPr id="457" name="Скругленный прямоугольник 456"/>
          <p:cNvSpPr/>
          <p:nvPr/>
        </p:nvSpPr>
        <p:spPr>
          <a:xfrm>
            <a:off x="5034955" y="4602492"/>
            <a:ext cx="2160000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458" name="Прямоугольник 457"/>
          <p:cNvSpPr/>
          <p:nvPr/>
        </p:nvSpPr>
        <p:spPr>
          <a:xfrm>
            <a:off x="5593672" y="4635208"/>
            <a:ext cx="1457263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Дополнительный доход от продажи аксессуаров</a:t>
            </a:r>
          </a:p>
        </p:txBody>
      </p:sp>
      <p:grpSp>
        <p:nvGrpSpPr>
          <p:cNvPr id="48" name="Группа 47"/>
          <p:cNvGrpSpPr/>
          <p:nvPr/>
        </p:nvGrpSpPr>
        <p:grpSpPr>
          <a:xfrm>
            <a:off x="2786370" y="3571648"/>
            <a:ext cx="452686" cy="435920"/>
            <a:chOff x="2786370" y="3641029"/>
            <a:chExt cx="452686" cy="435920"/>
          </a:xfrm>
        </p:grpSpPr>
        <p:sp>
          <p:nvSpPr>
            <p:cNvPr id="310" name="Скругленный прямоугольник 309"/>
            <p:cNvSpPr/>
            <p:nvPr/>
          </p:nvSpPr>
          <p:spPr>
            <a:xfrm>
              <a:off x="2786370" y="3641029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554" name="Group 4117">
              <a:extLst>
                <a:ext uri="{FF2B5EF4-FFF2-40B4-BE49-F238E27FC236}">
                  <a16:creationId xmlns:a16="http://schemas.microsoft.com/office/drawing/2014/main" id="{E1F4351E-A12A-4AE7-B672-CFE86108A9CE}"/>
                </a:ext>
              </a:extLst>
            </p:cNvPr>
            <p:cNvGrpSpPr/>
            <p:nvPr/>
          </p:nvGrpSpPr>
          <p:grpSpPr>
            <a:xfrm>
              <a:off x="2867398" y="3706485"/>
              <a:ext cx="290631" cy="305009"/>
              <a:chOff x="4441403" y="5462284"/>
              <a:chExt cx="514544" cy="540000"/>
            </a:xfrm>
          </p:grpSpPr>
          <p:sp>
            <p:nvSpPr>
              <p:cNvPr id="555" name="Freeform 765">
                <a:extLst>
                  <a:ext uri="{FF2B5EF4-FFF2-40B4-BE49-F238E27FC236}">
                    <a16:creationId xmlns:a16="http://schemas.microsoft.com/office/drawing/2014/main" id="{E8A580BA-F6EC-42CE-A6BA-812A1F5B18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2311" y="5462284"/>
                <a:ext cx="260000" cy="176364"/>
              </a:xfrm>
              <a:custGeom>
                <a:avLst/>
                <a:gdLst>
                  <a:gd name="T0" fmla="*/ 4 w 121"/>
                  <a:gd name="T1" fmla="*/ 60 h 82"/>
                  <a:gd name="T2" fmla="*/ 39 w 121"/>
                  <a:gd name="T3" fmla="*/ 6 h 82"/>
                  <a:gd name="T4" fmla="*/ 121 w 121"/>
                  <a:gd name="T5" fmla="*/ 19 h 82"/>
                  <a:gd name="T6" fmla="*/ 113 w 121"/>
                  <a:gd name="T7" fmla="*/ 21 h 82"/>
                  <a:gd name="T8" fmla="*/ 90 w 121"/>
                  <a:gd name="T9" fmla="*/ 45 h 82"/>
                  <a:gd name="T10" fmla="*/ 71 w 121"/>
                  <a:gd name="T11" fmla="*/ 72 h 82"/>
                  <a:gd name="T12" fmla="*/ 24 w 121"/>
                  <a:gd name="T13" fmla="*/ 73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1" h="82">
                    <a:moveTo>
                      <a:pt x="4" y="60"/>
                    </a:moveTo>
                    <a:cubicBezTo>
                      <a:pt x="0" y="28"/>
                      <a:pt x="16" y="11"/>
                      <a:pt x="39" y="6"/>
                    </a:cubicBezTo>
                    <a:cubicBezTo>
                      <a:pt x="67" y="0"/>
                      <a:pt x="95" y="8"/>
                      <a:pt x="121" y="19"/>
                    </a:cubicBezTo>
                    <a:cubicBezTo>
                      <a:pt x="118" y="19"/>
                      <a:pt x="115" y="20"/>
                      <a:pt x="113" y="21"/>
                    </a:cubicBezTo>
                    <a:cubicBezTo>
                      <a:pt x="103" y="27"/>
                      <a:pt x="96" y="36"/>
                      <a:pt x="90" y="45"/>
                    </a:cubicBezTo>
                    <a:cubicBezTo>
                      <a:pt x="85" y="54"/>
                      <a:pt x="81" y="65"/>
                      <a:pt x="71" y="72"/>
                    </a:cubicBezTo>
                    <a:cubicBezTo>
                      <a:pt x="59" y="82"/>
                      <a:pt x="38" y="81"/>
                      <a:pt x="24" y="73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6" name="Freeform 766">
                <a:extLst>
                  <a:ext uri="{FF2B5EF4-FFF2-40B4-BE49-F238E27FC236}">
                    <a16:creationId xmlns:a16="http://schemas.microsoft.com/office/drawing/2014/main" id="{22671439-0E27-4D00-B6D0-26C57C18ED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1403" y="5520465"/>
                <a:ext cx="497273" cy="481819"/>
              </a:xfrm>
              <a:custGeom>
                <a:avLst/>
                <a:gdLst>
                  <a:gd name="T0" fmla="*/ 222 w 232"/>
                  <a:gd name="T1" fmla="*/ 61 h 225"/>
                  <a:gd name="T2" fmla="*/ 232 w 232"/>
                  <a:gd name="T3" fmla="*/ 109 h 225"/>
                  <a:gd name="T4" fmla="*/ 116 w 232"/>
                  <a:gd name="T5" fmla="*/ 225 h 225"/>
                  <a:gd name="T6" fmla="*/ 0 w 232"/>
                  <a:gd name="T7" fmla="*/ 109 h 225"/>
                  <a:gd name="T8" fmla="*/ 76 w 232"/>
                  <a:gd name="T9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2" h="225">
                    <a:moveTo>
                      <a:pt x="222" y="61"/>
                    </a:moveTo>
                    <a:cubicBezTo>
                      <a:pt x="228" y="76"/>
                      <a:pt x="232" y="92"/>
                      <a:pt x="232" y="109"/>
                    </a:cubicBezTo>
                    <a:cubicBezTo>
                      <a:pt x="232" y="173"/>
                      <a:pt x="180" y="225"/>
                      <a:pt x="116" y="225"/>
                    </a:cubicBezTo>
                    <a:cubicBezTo>
                      <a:pt x="52" y="225"/>
                      <a:pt x="0" y="173"/>
                      <a:pt x="0" y="109"/>
                    </a:cubicBezTo>
                    <a:cubicBezTo>
                      <a:pt x="0" y="59"/>
                      <a:pt x="32" y="16"/>
                      <a:pt x="76" y="0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7" name="Freeform 767">
                <a:extLst>
                  <a:ext uri="{FF2B5EF4-FFF2-40B4-BE49-F238E27FC236}">
                    <a16:creationId xmlns:a16="http://schemas.microsoft.com/office/drawing/2014/main" id="{C796148C-2D91-4BC2-B37A-61840AFD61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9584" y="5706829"/>
                <a:ext cx="137273" cy="175455"/>
              </a:xfrm>
              <a:custGeom>
                <a:avLst/>
                <a:gdLst>
                  <a:gd name="T0" fmla="*/ 64 w 64"/>
                  <a:gd name="T1" fmla="*/ 82 h 82"/>
                  <a:gd name="T2" fmla="*/ 0 w 64"/>
                  <a:gd name="T3" fmla="*/ 6 h 82"/>
                  <a:gd name="T4" fmla="*/ 56 w 64"/>
                  <a:gd name="T5" fmla="*/ 14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4" h="82">
                    <a:moveTo>
                      <a:pt x="64" y="82"/>
                    </a:moveTo>
                    <a:cubicBezTo>
                      <a:pt x="56" y="30"/>
                      <a:pt x="0" y="6"/>
                      <a:pt x="0" y="6"/>
                    </a:cubicBezTo>
                    <a:cubicBezTo>
                      <a:pt x="0" y="6"/>
                      <a:pt x="33" y="0"/>
                      <a:pt x="56" y="14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8" name="Freeform 768">
                <a:extLst>
                  <a:ext uri="{FF2B5EF4-FFF2-40B4-BE49-F238E27FC236}">
                    <a16:creationId xmlns:a16="http://schemas.microsoft.com/office/drawing/2014/main" id="{11530A7E-8313-48C2-AA73-BB37811D5C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5038" y="5471374"/>
                <a:ext cx="340909" cy="453637"/>
              </a:xfrm>
              <a:custGeom>
                <a:avLst/>
                <a:gdLst>
                  <a:gd name="T0" fmla="*/ 159 w 159"/>
                  <a:gd name="T1" fmla="*/ 0 h 212"/>
                  <a:gd name="T2" fmla="*/ 15 w 159"/>
                  <a:gd name="T3" fmla="*/ 192 h 212"/>
                  <a:gd name="T4" fmla="*/ 51 w 159"/>
                  <a:gd name="T5" fmla="*/ 212 h 212"/>
                  <a:gd name="T6" fmla="*/ 159 w 159"/>
                  <a:gd name="T7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9" h="212">
                    <a:moveTo>
                      <a:pt x="159" y="0"/>
                    </a:moveTo>
                    <a:cubicBezTo>
                      <a:pt x="0" y="118"/>
                      <a:pt x="15" y="192"/>
                      <a:pt x="15" y="192"/>
                    </a:cubicBezTo>
                    <a:cubicBezTo>
                      <a:pt x="51" y="212"/>
                      <a:pt x="51" y="212"/>
                      <a:pt x="51" y="212"/>
                    </a:cubicBezTo>
                    <a:cubicBezTo>
                      <a:pt x="51" y="212"/>
                      <a:pt x="54" y="95"/>
                      <a:pt x="159" y="0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49" name="Группа 48"/>
          <p:cNvGrpSpPr/>
          <p:nvPr/>
        </p:nvGrpSpPr>
        <p:grpSpPr>
          <a:xfrm>
            <a:off x="9661950" y="2472131"/>
            <a:ext cx="452686" cy="435920"/>
            <a:chOff x="9661950" y="2541512"/>
            <a:chExt cx="452686" cy="435920"/>
          </a:xfrm>
        </p:grpSpPr>
        <p:sp>
          <p:nvSpPr>
            <p:cNvPr id="332" name="Скругленный прямоугольник 331"/>
            <p:cNvSpPr/>
            <p:nvPr/>
          </p:nvSpPr>
          <p:spPr>
            <a:xfrm>
              <a:off x="9661950" y="2541512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559" name="Group 246">
              <a:extLst>
                <a:ext uri="{FF2B5EF4-FFF2-40B4-BE49-F238E27FC236}">
                  <a16:creationId xmlns:a16="http://schemas.microsoft.com/office/drawing/2014/main" id="{469E88CE-03D7-4091-B1EE-92916DE166F0}"/>
                </a:ext>
              </a:extLst>
            </p:cNvPr>
            <p:cNvGrpSpPr/>
            <p:nvPr/>
          </p:nvGrpSpPr>
          <p:grpSpPr>
            <a:xfrm>
              <a:off x="9726368" y="2631361"/>
              <a:ext cx="323850" cy="256222"/>
              <a:chOff x="5317042" y="2857528"/>
              <a:chExt cx="323850" cy="256222"/>
            </a:xfrm>
          </p:grpSpPr>
          <p:sp>
            <p:nvSpPr>
              <p:cNvPr id="560" name="Freeform: Shape 22">
                <a:extLst>
                  <a:ext uri="{FF2B5EF4-FFF2-40B4-BE49-F238E27FC236}">
                    <a16:creationId xmlns:a16="http://schemas.microsoft.com/office/drawing/2014/main" id="{FAF464FC-3F4A-40D9-A455-393AE14F6097}"/>
                  </a:ext>
                </a:extLst>
              </p:cNvPr>
              <p:cNvSpPr/>
              <p:nvPr/>
            </p:nvSpPr>
            <p:spPr>
              <a:xfrm>
                <a:off x="5317042" y="2857528"/>
                <a:ext cx="323850" cy="66675"/>
              </a:xfrm>
              <a:custGeom>
                <a:avLst/>
                <a:gdLst>
                  <a:gd name="connsiteX0" fmla="*/ 7909 w 323850"/>
                  <a:gd name="connsiteY0" fmla="*/ 7909 h 66675"/>
                  <a:gd name="connsiteX1" fmla="*/ 325091 w 323850"/>
                  <a:gd name="connsiteY1" fmla="*/ 7909 h 66675"/>
                  <a:gd name="connsiteX2" fmla="*/ 325091 w 323850"/>
                  <a:gd name="connsiteY2" fmla="*/ 64106 h 66675"/>
                  <a:gd name="connsiteX3" fmla="*/ 7909 w 323850"/>
                  <a:gd name="connsiteY3" fmla="*/ 64106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3850" h="66675">
                    <a:moveTo>
                      <a:pt x="7909" y="7909"/>
                    </a:moveTo>
                    <a:lnTo>
                      <a:pt x="325091" y="7909"/>
                    </a:lnTo>
                    <a:lnTo>
                      <a:pt x="325091" y="64106"/>
                    </a:lnTo>
                    <a:lnTo>
                      <a:pt x="7909" y="64106"/>
                    </a:ln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1" name="Freeform: Shape 23">
                <a:extLst>
                  <a:ext uri="{FF2B5EF4-FFF2-40B4-BE49-F238E27FC236}">
                    <a16:creationId xmlns:a16="http://schemas.microsoft.com/office/drawing/2014/main" id="{1D4CC60D-CD23-4F9D-8AEE-2927300CCD1D}"/>
                  </a:ext>
                </a:extLst>
              </p:cNvPr>
              <p:cNvSpPr/>
              <p:nvPr/>
            </p:nvSpPr>
            <p:spPr>
              <a:xfrm>
                <a:off x="5317042" y="2913725"/>
                <a:ext cx="323850" cy="200025"/>
              </a:xfrm>
              <a:custGeom>
                <a:avLst/>
                <a:gdLst>
                  <a:gd name="connsiteX0" fmla="*/ 7909 w 323850"/>
                  <a:gd name="connsiteY0" fmla="*/ 7909 h 200025"/>
                  <a:gd name="connsiteX1" fmla="*/ 325091 w 323850"/>
                  <a:gd name="connsiteY1" fmla="*/ 7909 h 200025"/>
                  <a:gd name="connsiteX2" fmla="*/ 325091 w 323850"/>
                  <a:gd name="connsiteY2" fmla="*/ 195551 h 200025"/>
                  <a:gd name="connsiteX3" fmla="*/ 7909 w 323850"/>
                  <a:gd name="connsiteY3" fmla="*/ 195551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3850" h="200025">
                    <a:moveTo>
                      <a:pt x="7909" y="7909"/>
                    </a:moveTo>
                    <a:lnTo>
                      <a:pt x="325091" y="7909"/>
                    </a:lnTo>
                    <a:lnTo>
                      <a:pt x="325091" y="195551"/>
                    </a:lnTo>
                    <a:lnTo>
                      <a:pt x="7909" y="195551"/>
                    </a:ln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2" name="Freeform: Shape 24">
                <a:extLst>
                  <a:ext uri="{FF2B5EF4-FFF2-40B4-BE49-F238E27FC236}">
                    <a16:creationId xmlns:a16="http://schemas.microsoft.com/office/drawing/2014/main" id="{209E5089-A286-4352-A965-8D530A3C22D0}"/>
                  </a:ext>
                </a:extLst>
              </p:cNvPr>
              <p:cNvSpPr/>
              <p:nvPr/>
            </p:nvSpPr>
            <p:spPr>
              <a:xfrm>
                <a:off x="5594984" y="2880200"/>
                <a:ext cx="19050" cy="19050"/>
              </a:xfrm>
              <a:custGeom>
                <a:avLst/>
                <a:gdLst>
                  <a:gd name="connsiteX0" fmla="*/ 20479 w 19050"/>
                  <a:gd name="connsiteY0" fmla="*/ 13811 h 19050"/>
                  <a:gd name="connsiteX1" fmla="*/ 13811 w 19050"/>
                  <a:gd name="connsiteY1" fmla="*/ 20479 h 19050"/>
                  <a:gd name="connsiteX2" fmla="*/ 7144 w 19050"/>
                  <a:gd name="connsiteY2" fmla="*/ 13811 h 19050"/>
                  <a:gd name="connsiteX3" fmla="*/ 13811 w 19050"/>
                  <a:gd name="connsiteY3" fmla="*/ 7144 h 19050"/>
                  <a:gd name="connsiteX4" fmla="*/ 20479 w 19050"/>
                  <a:gd name="connsiteY4" fmla="*/ 13811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20479" y="13811"/>
                    </a:moveTo>
                    <a:cubicBezTo>
                      <a:pt x="20479" y="17494"/>
                      <a:pt x="17494" y="20479"/>
                      <a:pt x="13811" y="20479"/>
                    </a:cubicBezTo>
                    <a:cubicBezTo>
                      <a:pt x="10129" y="20479"/>
                      <a:pt x="7144" y="17494"/>
                      <a:pt x="7144" y="13811"/>
                    </a:cubicBezTo>
                    <a:cubicBezTo>
                      <a:pt x="7144" y="10129"/>
                      <a:pt x="10129" y="7144"/>
                      <a:pt x="13811" y="7144"/>
                    </a:cubicBezTo>
                    <a:cubicBezTo>
                      <a:pt x="17494" y="7144"/>
                      <a:pt x="20479" y="10129"/>
                      <a:pt x="20479" y="13811"/>
                    </a:cubicBez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3" name="Freeform: Shape 25">
                <a:extLst>
                  <a:ext uri="{FF2B5EF4-FFF2-40B4-BE49-F238E27FC236}">
                    <a16:creationId xmlns:a16="http://schemas.microsoft.com/office/drawing/2014/main" id="{1D9C9ECC-5222-4EFB-A1D6-BCD6B61626AB}"/>
                  </a:ext>
                </a:extLst>
              </p:cNvPr>
              <p:cNvSpPr/>
              <p:nvPr/>
            </p:nvSpPr>
            <p:spPr>
              <a:xfrm>
                <a:off x="5382764" y="2963255"/>
                <a:ext cx="66675" cy="95250"/>
              </a:xfrm>
              <a:custGeom>
                <a:avLst/>
                <a:gdLst>
                  <a:gd name="connsiteX0" fmla="*/ 60296 w 66675"/>
                  <a:gd name="connsiteY0" fmla="*/ 94586 h 95250"/>
                  <a:gd name="connsiteX1" fmla="*/ 7909 w 66675"/>
                  <a:gd name="connsiteY1" fmla="*/ 50771 h 95250"/>
                  <a:gd name="connsiteX2" fmla="*/ 60296 w 66675"/>
                  <a:gd name="connsiteY2" fmla="*/ 7909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6675" h="95250">
                    <a:moveTo>
                      <a:pt x="60296" y="94586"/>
                    </a:moveTo>
                    <a:lnTo>
                      <a:pt x="7909" y="50771"/>
                    </a:lnTo>
                    <a:lnTo>
                      <a:pt x="60296" y="7909"/>
                    </a:ln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4" name="Freeform: Shape 26">
                <a:extLst>
                  <a:ext uri="{FF2B5EF4-FFF2-40B4-BE49-F238E27FC236}">
                    <a16:creationId xmlns:a16="http://schemas.microsoft.com/office/drawing/2014/main" id="{6DEE0657-451A-4EEE-BF27-6010FE399215}"/>
                  </a:ext>
                </a:extLst>
              </p:cNvPr>
              <p:cNvSpPr/>
              <p:nvPr/>
            </p:nvSpPr>
            <p:spPr>
              <a:xfrm>
                <a:off x="5516114" y="2963255"/>
                <a:ext cx="66675" cy="95250"/>
              </a:xfrm>
              <a:custGeom>
                <a:avLst/>
                <a:gdLst>
                  <a:gd name="connsiteX0" fmla="*/ 7909 w 66675"/>
                  <a:gd name="connsiteY0" fmla="*/ 7909 h 95250"/>
                  <a:gd name="connsiteX1" fmla="*/ 60296 w 66675"/>
                  <a:gd name="connsiteY1" fmla="*/ 50771 h 95250"/>
                  <a:gd name="connsiteX2" fmla="*/ 7909 w 66675"/>
                  <a:gd name="connsiteY2" fmla="*/ 94586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6675" h="95250">
                    <a:moveTo>
                      <a:pt x="7909" y="7909"/>
                    </a:moveTo>
                    <a:lnTo>
                      <a:pt x="60296" y="50771"/>
                    </a:lnTo>
                    <a:lnTo>
                      <a:pt x="7909" y="94586"/>
                    </a:ln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5" name="Freeform: Shape 27">
                <a:extLst>
                  <a:ext uri="{FF2B5EF4-FFF2-40B4-BE49-F238E27FC236}">
                    <a16:creationId xmlns:a16="http://schemas.microsoft.com/office/drawing/2014/main" id="{5A586177-1DB2-494A-B50D-52030280462E}"/>
                  </a:ext>
                </a:extLst>
              </p:cNvPr>
              <p:cNvSpPr/>
              <p:nvPr/>
            </p:nvSpPr>
            <p:spPr>
              <a:xfrm>
                <a:off x="5455154" y="2940395"/>
                <a:ext cx="47625" cy="142875"/>
              </a:xfrm>
              <a:custGeom>
                <a:avLst/>
                <a:gdLst>
                  <a:gd name="connsiteX0" fmla="*/ 48866 w 47625"/>
                  <a:gd name="connsiteY0" fmla="*/ 7909 h 142875"/>
                  <a:gd name="connsiteX1" fmla="*/ 7909 w 47625"/>
                  <a:gd name="connsiteY1" fmla="*/ 142211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5" h="142875">
                    <a:moveTo>
                      <a:pt x="48866" y="7909"/>
                    </a:moveTo>
                    <a:lnTo>
                      <a:pt x="7909" y="142211"/>
                    </a:lnTo>
                  </a:path>
                </a:pathLst>
              </a:custGeom>
              <a:ln w="9525" cap="rnd">
                <a:solidFill>
                  <a:srgbClr val="40404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50" name="Группа 49"/>
          <p:cNvGrpSpPr/>
          <p:nvPr/>
        </p:nvGrpSpPr>
        <p:grpSpPr>
          <a:xfrm>
            <a:off x="7369068" y="2472131"/>
            <a:ext cx="452686" cy="435920"/>
            <a:chOff x="7369068" y="2541512"/>
            <a:chExt cx="452686" cy="435920"/>
          </a:xfrm>
        </p:grpSpPr>
        <p:sp>
          <p:nvSpPr>
            <p:cNvPr id="316" name="Скругленный прямоугольник 315"/>
            <p:cNvSpPr/>
            <p:nvPr/>
          </p:nvSpPr>
          <p:spPr>
            <a:xfrm>
              <a:off x="7369068" y="2541512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566" name="Group 4177">
              <a:extLst>
                <a:ext uri="{FF2B5EF4-FFF2-40B4-BE49-F238E27FC236}">
                  <a16:creationId xmlns:a16="http://schemas.microsoft.com/office/drawing/2014/main" id="{73D9E30F-5C33-4747-AE50-FBF027689A69}"/>
                </a:ext>
              </a:extLst>
            </p:cNvPr>
            <p:cNvGrpSpPr/>
            <p:nvPr/>
          </p:nvGrpSpPr>
          <p:grpSpPr>
            <a:xfrm>
              <a:off x="7423810" y="2596058"/>
              <a:ext cx="343203" cy="326829"/>
              <a:chOff x="6307138" y="2459038"/>
              <a:chExt cx="831850" cy="792163"/>
            </a:xfrm>
          </p:grpSpPr>
          <p:sp>
            <p:nvSpPr>
              <p:cNvPr id="567" name="Freeform 35">
                <a:extLst>
                  <a:ext uri="{FF2B5EF4-FFF2-40B4-BE49-F238E27FC236}">
                    <a16:creationId xmlns:a16="http://schemas.microsoft.com/office/drawing/2014/main" id="{BE8C3CA2-F293-4483-B0BC-E4A35F820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9238" y="2986088"/>
                <a:ext cx="71437" cy="107950"/>
              </a:xfrm>
              <a:custGeom>
                <a:avLst/>
                <a:gdLst>
                  <a:gd name="T0" fmla="*/ 0 w 19"/>
                  <a:gd name="T1" fmla="*/ 29 h 29"/>
                  <a:gd name="T2" fmla="*/ 13 w 19"/>
                  <a:gd name="T3" fmla="*/ 22 h 29"/>
                  <a:gd name="T4" fmla="*/ 17 w 19"/>
                  <a:gd name="T5" fmla="*/ 8 h 29"/>
                  <a:gd name="T6" fmla="*/ 12 w 19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29">
                    <a:moveTo>
                      <a:pt x="0" y="29"/>
                    </a:moveTo>
                    <a:cubicBezTo>
                      <a:pt x="13" y="22"/>
                      <a:pt x="13" y="22"/>
                      <a:pt x="13" y="22"/>
                    </a:cubicBezTo>
                    <a:cubicBezTo>
                      <a:pt x="18" y="19"/>
                      <a:pt x="19" y="13"/>
                      <a:pt x="17" y="8"/>
                    </a:cubicBezTo>
                    <a:cubicBezTo>
                      <a:pt x="12" y="0"/>
                      <a:pt x="12" y="0"/>
                      <a:pt x="12" y="0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68" name="Freeform 36">
                <a:extLst>
                  <a:ext uri="{FF2B5EF4-FFF2-40B4-BE49-F238E27FC236}">
                    <a16:creationId xmlns:a16="http://schemas.microsoft.com/office/drawing/2014/main" id="{B00044E9-0A3C-49D0-B6C0-2D321930D9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0013" y="3038476"/>
                <a:ext cx="265112" cy="212725"/>
              </a:xfrm>
              <a:custGeom>
                <a:avLst/>
                <a:gdLst>
                  <a:gd name="T0" fmla="*/ 26 w 71"/>
                  <a:gd name="T1" fmla="*/ 0 h 57"/>
                  <a:gd name="T2" fmla="*/ 28 w 71"/>
                  <a:gd name="T3" fmla="*/ 3 h 57"/>
                  <a:gd name="T4" fmla="*/ 36 w 71"/>
                  <a:gd name="T5" fmla="*/ 13 h 57"/>
                  <a:gd name="T6" fmla="*/ 61 w 71"/>
                  <a:gd name="T7" fmla="*/ 31 h 57"/>
                  <a:gd name="T8" fmla="*/ 60 w 71"/>
                  <a:gd name="T9" fmla="*/ 49 h 57"/>
                  <a:gd name="T10" fmla="*/ 56 w 71"/>
                  <a:gd name="T11" fmla="*/ 52 h 57"/>
                  <a:gd name="T12" fmla="*/ 35 w 71"/>
                  <a:gd name="T13" fmla="*/ 46 h 57"/>
                  <a:gd name="T14" fmla="*/ 10 w 71"/>
                  <a:gd name="T15" fmla="*/ 28 h 57"/>
                  <a:gd name="T16" fmla="*/ 2 w 71"/>
                  <a:gd name="T17" fmla="*/ 18 h 57"/>
                  <a:gd name="T18" fmla="*/ 0 w 71"/>
                  <a:gd name="T19" fmla="*/ 1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1" h="57">
                    <a:moveTo>
                      <a:pt x="26" y="0"/>
                    </a:moveTo>
                    <a:cubicBezTo>
                      <a:pt x="28" y="3"/>
                      <a:pt x="28" y="3"/>
                      <a:pt x="28" y="3"/>
                    </a:cubicBezTo>
                    <a:cubicBezTo>
                      <a:pt x="30" y="7"/>
                      <a:pt x="33" y="10"/>
                      <a:pt x="36" y="13"/>
                    </a:cubicBezTo>
                    <a:cubicBezTo>
                      <a:pt x="36" y="13"/>
                      <a:pt x="55" y="26"/>
                      <a:pt x="61" y="31"/>
                    </a:cubicBezTo>
                    <a:cubicBezTo>
                      <a:pt x="71" y="39"/>
                      <a:pt x="65" y="46"/>
                      <a:pt x="60" y="49"/>
                    </a:cubicBezTo>
                    <a:cubicBezTo>
                      <a:pt x="56" y="52"/>
                      <a:pt x="56" y="52"/>
                      <a:pt x="56" y="52"/>
                    </a:cubicBezTo>
                    <a:cubicBezTo>
                      <a:pt x="47" y="57"/>
                      <a:pt x="39" y="50"/>
                      <a:pt x="35" y="46"/>
                    </a:cubicBezTo>
                    <a:cubicBezTo>
                      <a:pt x="31" y="43"/>
                      <a:pt x="10" y="28"/>
                      <a:pt x="10" y="28"/>
                    </a:cubicBezTo>
                    <a:cubicBezTo>
                      <a:pt x="7" y="25"/>
                      <a:pt x="4" y="22"/>
                      <a:pt x="2" y="18"/>
                    </a:cubicBezTo>
                    <a:cubicBezTo>
                      <a:pt x="0" y="15"/>
                      <a:pt x="0" y="15"/>
                      <a:pt x="0" y="15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69" name="Freeform 37">
                <a:extLst>
                  <a:ext uri="{FF2B5EF4-FFF2-40B4-BE49-F238E27FC236}">
                    <a16:creationId xmlns:a16="http://schemas.microsoft.com/office/drawing/2014/main" id="{2E2D3AEF-E48D-47E1-8A04-0B3526571D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3075" y="2646363"/>
                <a:ext cx="120650" cy="149225"/>
              </a:xfrm>
              <a:custGeom>
                <a:avLst/>
                <a:gdLst>
                  <a:gd name="T0" fmla="*/ 0 w 32"/>
                  <a:gd name="T1" fmla="*/ 6 h 40"/>
                  <a:gd name="T2" fmla="*/ 27 w 32"/>
                  <a:gd name="T3" fmla="*/ 13 h 40"/>
                  <a:gd name="T4" fmla="*/ 19 w 32"/>
                  <a:gd name="T5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40">
                    <a:moveTo>
                      <a:pt x="0" y="6"/>
                    </a:moveTo>
                    <a:cubicBezTo>
                      <a:pt x="9" y="0"/>
                      <a:pt x="21" y="4"/>
                      <a:pt x="27" y="13"/>
                    </a:cubicBezTo>
                    <a:cubicBezTo>
                      <a:pt x="32" y="22"/>
                      <a:pt x="29" y="35"/>
                      <a:pt x="19" y="40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0" name="Freeform 38">
                <a:extLst>
                  <a:ext uri="{FF2B5EF4-FFF2-40B4-BE49-F238E27FC236}">
                    <a16:creationId xmlns:a16="http://schemas.microsoft.com/office/drawing/2014/main" id="{35FA60D7-D6FF-44B4-A84A-5AB2179020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7138" y="2500313"/>
                <a:ext cx="677862" cy="598488"/>
              </a:xfrm>
              <a:custGeom>
                <a:avLst/>
                <a:gdLst>
                  <a:gd name="T0" fmla="*/ 105 w 181"/>
                  <a:gd name="T1" fmla="*/ 4 h 160"/>
                  <a:gd name="T2" fmla="*/ 70 w 181"/>
                  <a:gd name="T3" fmla="*/ 67 h 160"/>
                  <a:gd name="T4" fmla="*/ 19 w 181"/>
                  <a:gd name="T5" fmla="*/ 96 h 160"/>
                  <a:gd name="T6" fmla="*/ 8 w 181"/>
                  <a:gd name="T7" fmla="*/ 137 h 160"/>
                  <a:gd name="T8" fmla="*/ 11 w 181"/>
                  <a:gd name="T9" fmla="*/ 141 h 160"/>
                  <a:gd name="T10" fmla="*/ 51 w 181"/>
                  <a:gd name="T11" fmla="*/ 152 h 160"/>
                  <a:gd name="T12" fmla="*/ 103 w 181"/>
                  <a:gd name="T13" fmla="*/ 122 h 160"/>
                  <a:gd name="T14" fmla="*/ 173 w 181"/>
                  <a:gd name="T15" fmla="*/ 123 h 160"/>
                  <a:gd name="T16" fmla="*/ 179 w 181"/>
                  <a:gd name="T17" fmla="*/ 116 h 160"/>
                  <a:gd name="T18" fmla="*/ 114 w 181"/>
                  <a:gd name="T19" fmla="*/ 4 h 160"/>
                  <a:gd name="T20" fmla="*/ 105 w 181"/>
                  <a:gd name="T21" fmla="*/ 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1" h="160">
                    <a:moveTo>
                      <a:pt x="105" y="4"/>
                    </a:moveTo>
                    <a:cubicBezTo>
                      <a:pt x="97" y="30"/>
                      <a:pt x="85" y="58"/>
                      <a:pt x="70" y="67"/>
                    </a:cubicBezTo>
                    <a:cubicBezTo>
                      <a:pt x="19" y="96"/>
                      <a:pt x="19" y="96"/>
                      <a:pt x="19" y="96"/>
                    </a:cubicBezTo>
                    <a:cubicBezTo>
                      <a:pt x="5" y="104"/>
                      <a:pt x="0" y="122"/>
                      <a:pt x="8" y="137"/>
                    </a:cubicBezTo>
                    <a:cubicBezTo>
                      <a:pt x="11" y="141"/>
                      <a:pt x="11" y="141"/>
                      <a:pt x="11" y="141"/>
                    </a:cubicBezTo>
                    <a:cubicBezTo>
                      <a:pt x="19" y="155"/>
                      <a:pt x="37" y="160"/>
                      <a:pt x="51" y="152"/>
                    </a:cubicBezTo>
                    <a:cubicBezTo>
                      <a:pt x="103" y="122"/>
                      <a:pt x="103" y="122"/>
                      <a:pt x="103" y="122"/>
                    </a:cubicBezTo>
                    <a:cubicBezTo>
                      <a:pt x="117" y="114"/>
                      <a:pt x="148" y="117"/>
                      <a:pt x="173" y="123"/>
                    </a:cubicBezTo>
                    <a:cubicBezTo>
                      <a:pt x="178" y="124"/>
                      <a:pt x="181" y="120"/>
                      <a:pt x="179" y="116"/>
                    </a:cubicBezTo>
                    <a:cubicBezTo>
                      <a:pt x="114" y="4"/>
                      <a:pt x="114" y="4"/>
                      <a:pt x="114" y="4"/>
                    </a:cubicBezTo>
                    <a:cubicBezTo>
                      <a:pt x="112" y="0"/>
                      <a:pt x="106" y="0"/>
                      <a:pt x="105" y="4"/>
                    </a:cubicBez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1" name="Line 39">
                <a:extLst>
                  <a:ext uri="{FF2B5EF4-FFF2-40B4-BE49-F238E27FC236}">
                    <a16:creationId xmlns:a16="http://schemas.microsoft.com/office/drawing/2014/main" id="{13B34E12-4367-4450-B514-7F6B69498A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69075" y="2751138"/>
                <a:ext cx="123825" cy="204788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2" name="Line 40">
                <a:extLst>
                  <a:ext uri="{FF2B5EF4-FFF2-40B4-BE49-F238E27FC236}">
                    <a16:creationId xmlns:a16="http://schemas.microsoft.com/office/drawing/2014/main" id="{D0B90043-F6E5-4520-BC9E-489A8E4531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913563" y="2459038"/>
                <a:ext cx="33337" cy="123825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3" name="Line 41">
                <a:extLst>
                  <a:ext uri="{FF2B5EF4-FFF2-40B4-BE49-F238E27FC236}">
                    <a16:creationId xmlns:a16="http://schemas.microsoft.com/office/drawing/2014/main" id="{822B6AA9-DB9F-4B63-AADD-E2C4C0DB62C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018338" y="2762251"/>
                <a:ext cx="120650" cy="30163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4" name="Line 42">
                <a:extLst>
                  <a:ext uri="{FF2B5EF4-FFF2-40B4-BE49-F238E27FC236}">
                    <a16:creationId xmlns:a16="http://schemas.microsoft.com/office/drawing/2014/main" id="{90A81825-0D2A-46A1-A993-7D07F78261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985000" y="2600326"/>
                <a:ext cx="100012" cy="60325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51" name="Группа 50"/>
          <p:cNvGrpSpPr/>
          <p:nvPr/>
        </p:nvGrpSpPr>
        <p:grpSpPr>
          <a:xfrm>
            <a:off x="5077719" y="3571648"/>
            <a:ext cx="452686" cy="435920"/>
            <a:chOff x="5077719" y="3641029"/>
            <a:chExt cx="452686" cy="435920"/>
          </a:xfrm>
        </p:grpSpPr>
        <p:sp>
          <p:nvSpPr>
            <p:cNvPr id="325" name="Скругленный прямоугольник 324"/>
            <p:cNvSpPr/>
            <p:nvPr/>
          </p:nvSpPr>
          <p:spPr>
            <a:xfrm>
              <a:off x="5077719" y="3641029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575" name="Group 639">
              <a:extLst>
                <a:ext uri="{FF2B5EF4-FFF2-40B4-BE49-F238E27FC236}">
                  <a16:creationId xmlns:a16="http://schemas.microsoft.com/office/drawing/2014/main" id="{17DB2DCB-CEE5-41E3-88FF-E097CA0D58D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5194" y="3677647"/>
              <a:ext cx="297737" cy="362685"/>
              <a:chOff x="9434176" y="3546434"/>
              <a:chExt cx="289818" cy="353039"/>
            </a:xfrm>
          </p:grpSpPr>
          <p:sp>
            <p:nvSpPr>
              <p:cNvPr id="576" name="Freeform 835">
                <a:extLst>
                  <a:ext uri="{FF2B5EF4-FFF2-40B4-BE49-F238E27FC236}">
                    <a16:creationId xmlns:a16="http://schemas.microsoft.com/office/drawing/2014/main" id="{19036594-8288-4581-AFA7-99C5730C01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67009" y="3594027"/>
                <a:ext cx="156985" cy="46882"/>
              </a:xfrm>
              <a:custGeom>
                <a:avLst/>
                <a:gdLst>
                  <a:gd name="T0" fmla="*/ 80 w 80"/>
                  <a:gd name="T1" fmla="*/ 0 h 24"/>
                  <a:gd name="T2" fmla="*/ 40 w 80"/>
                  <a:gd name="T3" fmla="*/ 24 h 24"/>
                  <a:gd name="T4" fmla="*/ 0 w 80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0" h="24">
                    <a:moveTo>
                      <a:pt x="80" y="0"/>
                    </a:moveTo>
                    <a:cubicBezTo>
                      <a:pt x="80" y="13"/>
                      <a:pt x="62" y="24"/>
                      <a:pt x="40" y="24"/>
                    </a:cubicBezTo>
                    <a:cubicBezTo>
                      <a:pt x="18" y="24"/>
                      <a:pt x="0" y="13"/>
                      <a:pt x="0" y="0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7" name="Freeform 836">
                <a:extLst>
                  <a:ext uri="{FF2B5EF4-FFF2-40B4-BE49-F238E27FC236}">
                    <a16:creationId xmlns:a16="http://schemas.microsoft.com/office/drawing/2014/main" id="{0813DA30-9146-45EC-AA1C-C1E27FD90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67009" y="3633096"/>
                <a:ext cx="156985" cy="46882"/>
              </a:xfrm>
              <a:custGeom>
                <a:avLst/>
                <a:gdLst>
                  <a:gd name="T0" fmla="*/ 80 w 80"/>
                  <a:gd name="T1" fmla="*/ 0 h 24"/>
                  <a:gd name="T2" fmla="*/ 40 w 80"/>
                  <a:gd name="T3" fmla="*/ 24 h 24"/>
                  <a:gd name="T4" fmla="*/ 0 w 80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0" h="24">
                    <a:moveTo>
                      <a:pt x="80" y="0"/>
                    </a:moveTo>
                    <a:cubicBezTo>
                      <a:pt x="80" y="13"/>
                      <a:pt x="62" y="24"/>
                      <a:pt x="40" y="24"/>
                    </a:cubicBezTo>
                    <a:cubicBezTo>
                      <a:pt x="18" y="24"/>
                      <a:pt x="0" y="13"/>
                      <a:pt x="0" y="0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8" name="Freeform 837">
                <a:extLst>
                  <a:ext uri="{FF2B5EF4-FFF2-40B4-BE49-F238E27FC236}">
                    <a16:creationId xmlns:a16="http://schemas.microsoft.com/office/drawing/2014/main" id="{8920066B-3872-4103-8F09-8B9C4777A3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14602" y="3672164"/>
                <a:ext cx="109392" cy="46882"/>
              </a:xfrm>
              <a:custGeom>
                <a:avLst/>
                <a:gdLst>
                  <a:gd name="T0" fmla="*/ 56 w 56"/>
                  <a:gd name="T1" fmla="*/ 0 h 24"/>
                  <a:gd name="T2" fmla="*/ 16 w 56"/>
                  <a:gd name="T3" fmla="*/ 24 h 24"/>
                  <a:gd name="T4" fmla="*/ 0 w 56"/>
                  <a:gd name="T5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6" h="24">
                    <a:moveTo>
                      <a:pt x="56" y="0"/>
                    </a:moveTo>
                    <a:cubicBezTo>
                      <a:pt x="56" y="13"/>
                      <a:pt x="38" y="24"/>
                      <a:pt x="16" y="24"/>
                    </a:cubicBezTo>
                    <a:cubicBezTo>
                      <a:pt x="10" y="24"/>
                      <a:pt x="5" y="23"/>
                      <a:pt x="0" y="22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9" name="Freeform 838">
                <a:extLst>
                  <a:ext uri="{FF2B5EF4-FFF2-40B4-BE49-F238E27FC236}">
                    <a16:creationId xmlns:a16="http://schemas.microsoft.com/office/drawing/2014/main" id="{201A5E66-9332-431F-85BC-2004B851B6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14602" y="3711233"/>
                <a:ext cx="109392" cy="46882"/>
              </a:xfrm>
              <a:custGeom>
                <a:avLst/>
                <a:gdLst>
                  <a:gd name="T0" fmla="*/ 56 w 56"/>
                  <a:gd name="T1" fmla="*/ 0 h 24"/>
                  <a:gd name="T2" fmla="*/ 16 w 56"/>
                  <a:gd name="T3" fmla="*/ 24 h 24"/>
                  <a:gd name="T4" fmla="*/ 0 w 56"/>
                  <a:gd name="T5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6" h="24">
                    <a:moveTo>
                      <a:pt x="56" y="0"/>
                    </a:moveTo>
                    <a:cubicBezTo>
                      <a:pt x="56" y="13"/>
                      <a:pt x="38" y="24"/>
                      <a:pt x="16" y="24"/>
                    </a:cubicBezTo>
                    <a:cubicBezTo>
                      <a:pt x="10" y="24"/>
                      <a:pt x="5" y="23"/>
                      <a:pt x="0" y="22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0" name="Freeform 839">
                <a:extLst>
                  <a:ext uri="{FF2B5EF4-FFF2-40B4-BE49-F238E27FC236}">
                    <a16:creationId xmlns:a16="http://schemas.microsoft.com/office/drawing/2014/main" id="{AD5FE627-266B-4DDD-845A-C36AC58BD9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14602" y="3750302"/>
                <a:ext cx="109392" cy="47593"/>
              </a:xfrm>
              <a:custGeom>
                <a:avLst/>
                <a:gdLst>
                  <a:gd name="T0" fmla="*/ 56 w 56"/>
                  <a:gd name="T1" fmla="*/ 0 h 24"/>
                  <a:gd name="T2" fmla="*/ 16 w 56"/>
                  <a:gd name="T3" fmla="*/ 24 h 24"/>
                  <a:gd name="T4" fmla="*/ 0 w 56"/>
                  <a:gd name="T5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6" h="24">
                    <a:moveTo>
                      <a:pt x="56" y="0"/>
                    </a:moveTo>
                    <a:cubicBezTo>
                      <a:pt x="56" y="13"/>
                      <a:pt x="38" y="24"/>
                      <a:pt x="16" y="24"/>
                    </a:cubicBezTo>
                    <a:cubicBezTo>
                      <a:pt x="10" y="24"/>
                      <a:pt x="5" y="23"/>
                      <a:pt x="0" y="22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1" name="Freeform 840">
                <a:extLst>
                  <a:ext uri="{FF2B5EF4-FFF2-40B4-BE49-F238E27FC236}">
                    <a16:creationId xmlns:a16="http://schemas.microsoft.com/office/drawing/2014/main" id="{D6F3C99E-2F0B-4850-A740-F3F989DB8B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34176" y="3687792"/>
                <a:ext cx="156985" cy="211681"/>
              </a:xfrm>
              <a:custGeom>
                <a:avLst/>
                <a:gdLst>
                  <a:gd name="T0" fmla="*/ 40 w 80"/>
                  <a:gd name="T1" fmla="*/ 0 h 108"/>
                  <a:gd name="T2" fmla="*/ 0 w 80"/>
                  <a:gd name="T3" fmla="*/ 24 h 108"/>
                  <a:gd name="T4" fmla="*/ 0 w 80"/>
                  <a:gd name="T5" fmla="*/ 84 h 108"/>
                  <a:gd name="T6" fmla="*/ 40 w 80"/>
                  <a:gd name="T7" fmla="*/ 108 h 108"/>
                  <a:gd name="T8" fmla="*/ 80 w 80"/>
                  <a:gd name="T9" fmla="*/ 84 h 108"/>
                  <a:gd name="T10" fmla="*/ 80 w 80"/>
                  <a:gd name="T11" fmla="*/ 24 h 108"/>
                  <a:gd name="T12" fmla="*/ 40 w 80"/>
                  <a:gd name="T1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" h="108">
                    <a:moveTo>
                      <a:pt x="40" y="0"/>
                    </a:moveTo>
                    <a:cubicBezTo>
                      <a:pt x="18" y="0"/>
                      <a:pt x="0" y="11"/>
                      <a:pt x="0" y="24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97"/>
                      <a:pt x="18" y="108"/>
                      <a:pt x="40" y="108"/>
                    </a:cubicBezTo>
                    <a:cubicBezTo>
                      <a:pt x="62" y="108"/>
                      <a:pt x="80" y="97"/>
                      <a:pt x="80" y="84"/>
                    </a:cubicBezTo>
                    <a:cubicBezTo>
                      <a:pt x="80" y="24"/>
                      <a:pt x="80" y="24"/>
                      <a:pt x="80" y="24"/>
                    </a:cubicBezTo>
                    <a:cubicBezTo>
                      <a:pt x="80" y="11"/>
                      <a:pt x="62" y="0"/>
                      <a:pt x="40" y="0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2" name="Freeform 841">
                <a:extLst>
                  <a:ext uri="{FF2B5EF4-FFF2-40B4-BE49-F238E27FC236}">
                    <a16:creationId xmlns:a16="http://schemas.microsoft.com/office/drawing/2014/main" id="{BC7C01D6-73A7-4CE0-A196-93F2FD4EC5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34176" y="3734674"/>
                <a:ext cx="156985" cy="46882"/>
              </a:xfrm>
              <a:custGeom>
                <a:avLst/>
                <a:gdLst>
                  <a:gd name="T0" fmla="*/ 80 w 80"/>
                  <a:gd name="T1" fmla="*/ 0 h 24"/>
                  <a:gd name="T2" fmla="*/ 40 w 80"/>
                  <a:gd name="T3" fmla="*/ 24 h 24"/>
                  <a:gd name="T4" fmla="*/ 0 w 80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0" h="24">
                    <a:moveTo>
                      <a:pt x="80" y="0"/>
                    </a:moveTo>
                    <a:cubicBezTo>
                      <a:pt x="80" y="13"/>
                      <a:pt x="62" y="24"/>
                      <a:pt x="40" y="24"/>
                    </a:cubicBezTo>
                    <a:cubicBezTo>
                      <a:pt x="18" y="24"/>
                      <a:pt x="0" y="13"/>
                      <a:pt x="0" y="0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3" name="Freeform 842">
                <a:extLst>
                  <a:ext uri="{FF2B5EF4-FFF2-40B4-BE49-F238E27FC236}">
                    <a16:creationId xmlns:a16="http://schemas.microsoft.com/office/drawing/2014/main" id="{BAD726D7-BF32-45B4-B441-0CA959D93F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34176" y="3773743"/>
                <a:ext cx="156985" cy="47593"/>
              </a:xfrm>
              <a:custGeom>
                <a:avLst/>
                <a:gdLst>
                  <a:gd name="T0" fmla="*/ 80 w 80"/>
                  <a:gd name="T1" fmla="*/ 0 h 24"/>
                  <a:gd name="T2" fmla="*/ 40 w 80"/>
                  <a:gd name="T3" fmla="*/ 24 h 24"/>
                  <a:gd name="T4" fmla="*/ 0 w 80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0" h="24">
                    <a:moveTo>
                      <a:pt x="80" y="0"/>
                    </a:moveTo>
                    <a:cubicBezTo>
                      <a:pt x="80" y="13"/>
                      <a:pt x="62" y="24"/>
                      <a:pt x="40" y="24"/>
                    </a:cubicBezTo>
                    <a:cubicBezTo>
                      <a:pt x="18" y="24"/>
                      <a:pt x="0" y="13"/>
                      <a:pt x="0" y="0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4" name="Freeform 843">
                <a:extLst>
                  <a:ext uri="{FF2B5EF4-FFF2-40B4-BE49-F238E27FC236}">
                    <a16:creationId xmlns:a16="http://schemas.microsoft.com/office/drawing/2014/main" id="{74C90C9F-DDB1-45AF-9BBE-86129A668C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34176" y="3813522"/>
                <a:ext cx="156985" cy="46882"/>
              </a:xfrm>
              <a:custGeom>
                <a:avLst/>
                <a:gdLst>
                  <a:gd name="T0" fmla="*/ 80 w 80"/>
                  <a:gd name="T1" fmla="*/ 0 h 24"/>
                  <a:gd name="T2" fmla="*/ 40 w 80"/>
                  <a:gd name="T3" fmla="*/ 24 h 24"/>
                  <a:gd name="T4" fmla="*/ 0 w 80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0" h="24">
                    <a:moveTo>
                      <a:pt x="80" y="0"/>
                    </a:moveTo>
                    <a:cubicBezTo>
                      <a:pt x="80" y="13"/>
                      <a:pt x="62" y="24"/>
                      <a:pt x="40" y="24"/>
                    </a:cubicBezTo>
                    <a:cubicBezTo>
                      <a:pt x="18" y="24"/>
                      <a:pt x="0" y="13"/>
                      <a:pt x="0" y="0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5" name="Freeform 844">
                <a:extLst>
                  <a:ext uri="{FF2B5EF4-FFF2-40B4-BE49-F238E27FC236}">
                    <a16:creationId xmlns:a16="http://schemas.microsoft.com/office/drawing/2014/main" id="{3A563FB6-5EDF-4F56-AC53-D2DA8BCCC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67009" y="3546434"/>
                <a:ext cx="156985" cy="290529"/>
              </a:xfrm>
              <a:custGeom>
                <a:avLst/>
                <a:gdLst>
                  <a:gd name="T0" fmla="*/ 24 w 80"/>
                  <a:gd name="T1" fmla="*/ 146 h 148"/>
                  <a:gd name="T2" fmla="*/ 40 w 80"/>
                  <a:gd name="T3" fmla="*/ 148 h 148"/>
                  <a:gd name="T4" fmla="*/ 80 w 80"/>
                  <a:gd name="T5" fmla="*/ 124 h 148"/>
                  <a:gd name="T6" fmla="*/ 80 w 80"/>
                  <a:gd name="T7" fmla="*/ 24 h 148"/>
                  <a:gd name="T8" fmla="*/ 40 w 80"/>
                  <a:gd name="T9" fmla="*/ 0 h 148"/>
                  <a:gd name="T10" fmla="*/ 0 w 80"/>
                  <a:gd name="T11" fmla="*/ 24 h 148"/>
                  <a:gd name="T12" fmla="*/ 0 w 80"/>
                  <a:gd name="T13" fmla="*/ 64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" h="148">
                    <a:moveTo>
                      <a:pt x="24" y="146"/>
                    </a:moveTo>
                    <a:cubicBezTo>
                      <a:pt x="29" y="147"/>
                      <a:pt x="34" y="148"/>
                      <a:pt x="40" y="148"/>
                    </a:cubicBezTo>
                    <a:cubicBezTo>
                      <a:pt x="62" y="148"/>
                      <a:pt x="80" y="137"/>
                      <a:pt x="80" y="124"/>
                    </a:cubicBezTo>
                    <a:cubicBezTo>
                      <a:pt x="80" y="24"/>
                      <a:pt x="80" y="24"/>
                      <a:pt x="80" y="24"/>
                    </a:cubicBezTo>
                    <a:cubicBezTo>
                      <a:pt x="80" y="11"/>
                      <a:pt x="62" y="0"/>
                      <a:pt x="40" y="0"/>
                    </a:cubicBezTo>
                    <a:cubicBezTo>
                      <a:pt x="18" y="0"/>
                      <a:pt x="0" y="11"/>
                      <a:pt x="0" y="24"/>
                    </a:cubicBezTo>
                    <a:cubicBezTo>
                      <a:pt x="0" y="64"/>
                      <a:pt x="0" y="64"/>
                      <a:pt x="0" y="64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52" name="Группа 51"/>
          <p:cNvGrpSpPr/>
          <p:nvPr/>
        </p:nvGrpSpPr>
        <p:grpSpPr>
          <a:xfrm>
            <a:off x="5077719" y="4671166"/>
            <a:ext cx="452686" cy="435920"/>
            <a:chOff x="5077719" y="4740547"/>
            <a:chExt cx="452686" cy="435920"/>
          </a:xfrm>
        </p:grpSpPr>
        <p:sp>
          <p:nvSpPr>
            <p:cNvPr id="459" name="Скругленный прямоугольник 458"/>
            <p:cNvSpPr/>
            <p:nvPr/>
          </p:nvSpPr>
          <p:spPr>
            <a:xfrm>
              <a:off x="5077719" y="4740547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586" name="Group 635">
              <a:extLst>
                <a:ext uri="{FF2B5EF4-FFF2-40B4-BE49-F238E27FC236}">
                  <a16:creationId xmlns:a16="http://schemas.microsoft.com/office/drawing/2014/main" id="{36D669EF-A55F-4BB6-89DC-9A201C07539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2555" y="4816144"/>
              <a:ext cx="303015" cy="284726"/>
              <a:chOff x="8257534" y="5648863"/>
              <a:chExt cx="347598" cy="326618"/>
            </a:xfrm>
          </p:grpSpPr>
          <p:sp>
            <p:nvSpPr>
              <p:cNvPr id="587" name="Freeform 1010">
                <a:extLst>
                  <a:ext uri="{FF2B5EF4-FFF2-40B4-BE49-F238E27FC236}">
                    <a16:creationId xmlns:a16="http://schemas.microsoft.com/office/drawing/2014/main" id="{D6A0ED58-A60D-4C4E-9AEA-00DA5642D5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44446" y="5648863"/>
                <a:ext cx="101085" cy="62463"/>
              </a:xfrm>
              <a:custGeom>
                <a:avLst/>
                <a:gdLst>
                  <a:gd name="T0" fmla="*/ 0 w 93"/>
                  <a:gd name="T1" fmla="*/ 57 h 57"/>
                  <a:gd name="T2" fmla="*/ 0 w 93"/>
                  <a:gd name="T3" fmla="*/ 56 h 57"/>
                  <a:gd name="T4" fmla="*/ 47 w 93"/>
                  <a:gd name="T5" fmla="*/ 0 h 57"/>
                  <a:gd name="T6" fmla="*/ 47 w 93"/>
                  <a:gd name="T7" fmla="*/ 0 h 57"/>
                  <a:gd name="T8" fmla="*/ 93 w 93"/>
                  <a:gd name="T9" fmla="*/ 56 h 57"/>
                  <a:gd name="T10" fmla="*/ 93 w 93"/>
                  <a:gd name="T11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" h="57">
                    <a:moveTo>
                      <a:pt x="0" y="57"/>
                    </a:moveTo>
                    <a:cubicBezTo>
                      <a:pt x="0" y="56"/>
                      <a:pt x="0" y="56"/>
                      <a:pt x="0" y="56"/>
                    </a:cubicBezTo>
                    <a:cubicBezTo>
                      <a:pt x="0" y="25"/>
                      <a:pt x="21" y="0"/>
                      <a:pt x="47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72" y="0"/>
                      <a:pt x="93" y="25"/>
                      <a:pt x="93" y="56"/>
                    </a:cubicBezTo>
                    <a:cubicBezTo>
                      <a:pt x="93" y="57"/>
                      <a:pt x="93" y="57"/>
                      <a:pt x="93" y="57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8" name="Line 1011">
                <a:extLst>
                  <a:ext uri="{FF2B5EF4-FFF2-40B4-BE49-F238E27FC236}">
                    <a16:creationId xmlns:a16="http://schemas.microsoft.com/office/drawing/2014/main" id="{103AA8AD-648A-4E29-8D51-25F9367C8E1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384844" y="5744703"/>
                <a:ext cx="220288" cy="0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9" name="Line 1012">
                <a:extLst>
                  <a:ext uri="{FF2B5EF4-FFF2-40B4-BE49-F238E27FC236}">
                    <a16:creationId xmlns:a16="http://schemas.microsoft.com/office/drawing/2014/main" id="{B8E4D378-40FF-4036-8399-6883B47D252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455412" y="5821947"/>
                <a:ext cx="80105" cy="80582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90" name="Oval 1013">
                <a:extLst>
                  <a:ext uri="{FF2B5EF4-FFF2-40B4-BE49-F238E27FC236}">
                    <a16:creationId xmlns:a16="http://schemas.microsoft.com/office/drawing/2014/main" id="{C2FA7054-CAA3-4770-94FF-53E9E900D9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51121" y="5817656"/>
                <a:ext cx="30039" cy="30516"/>
              </a:xfrm>
              <a:prstGeom prst="ellips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91" name="Oval 1014">
                <a:extLst>
                  <a:ext uri="{FF2B5EF4-FFF2-40B4-BE49-F238E27FC236}">
                    <a16:creationId xmlns:a16="http://schemas.microsoft.com/office/drawing/2014/main" id="{AD10E94E-FBFD-43B2-B2DF-4BF1BA5C0B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08339" y="5875350"/>
                <a:ext cx="30516" cy="30516"/>
              </a:xfrm>
              <a:prstGeom prst="ellips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92" name="Freeform 1015">
                <a:extLst>
                  <a:ext uri="{FF2B5EF4-FFF2-40B4-BE49-F238E27FC236}">
                    <a16:creationId xmlns:a16="http://schemas.microsoft.com/office/drawing/2014/main" id="{CD441771-4695-4786-835B-1E36C9C147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1839" y="5882979"/>
                <a:ext cx="137799" cy="92502"/>
              </a:xfrm>
              <a:custGeom>
                <a:avLst/>
                <a:gdLst>
                  <a:gd name="T0" fmla="*/ 127 w 127"/>
                  <a:gd name="T1" fmla="*/ 0 h 85"/>
                  <a:gd name="T2" fmla="*/ 127 w 127"/>
                  <a:gd name="T3" fmla="*/ 85 h 85"/>
                  <a:gd name="T4" fmla="*/ 5 w 127"/>
                  <a:gd name="T5" fmla="*/ 85 h 85"/>
                  <a:gd name="T6" fmla="*/ 0 w 127"/>
                  <a:gd name="T7" fmla="*/ 81 h 85"/>
                  <a:gd name="T8" fmla="*/ 0 w 127"/>
                  <a:gd name="T9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85">
                    <a:moveTo>
                      <a:pt x="127" y="0"/>
                    </a:moveTo>
                    <a:cubicBezTo>
                      <a:pt x="127" y="85"/>
                      <a:pt x="127" y="85"/>
                      <a:pt x="127" y="85"/>
                    </a:cubicBezTo>
                    <a:cubicBezTo>
                      <a:pt x="5" y="85"/>
                      <a:pt x="5" y="85"/>
                      <a:pt x="5" y="85"/>
                    </a:cubicBezTo>
                    <a:cubicBezTo>
                      <a:pt x="2" y="85"/>
                      <a:pt x="0" y="83"/>
                      <a:pt x="0" y="8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93" name="Freeform 1016">
                <a:extLst>
                  <a:ext uri="{FF2B5EF4-FFF2-40B4-BE49-F238E27FC236}">
                    <a16:creationId xmlns:a16="http://schemas.microsoft.com/office/drawing/2014/main" id="{80644FBB-497E-4B43-B88A-EE5B7E639F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57534" y="5845788"/>
                <a:ext cx="166408" cy="37192"/>
              </a:xfrm>
              <a:custGeom>
                <a:avLst/>
                <a:gdLst>
                  <a:gd name="T0" fmla="*/ 66 w 153"/>
                  <a:gd name="T1" fmla="*/ 34 h 34"/>
                  <a:gd name="T2" fmla="*/ 4 w 153"/>
                  <a:gd name="T3" fmla="*/ 34 h 34"/>
                  <a:gd name="T4" fmla="*/ 0 w 153"/>
                  <a:gd name="T5" fmla="*/ 31 h 34"/>
                  <a:gd name="T6" fmla="*/ 0 w 153"/>
                  <a:gd name="T7" fmla="*/ 4 h 34"/>
                  <a:gd name="T8" fmla="*/ 4 w 153"/>
                  <a:gd name="T9" fmla="*/ 0 h 34"/>
                  <a:gd name="T10" fmla="*/ 150 w 153"/>
                  <a:gd name="T11" fmla="*/ 0 h 34"/>
                  <a:gd name="T12" fmla="*/ 153 w 153"/>
                  <a:gd name="T13" fmla="*/ 4 h 34"/>
                  <a:gd name="T14" fmla="*/ 153 w 153"/>
                  <a:gd name="T15" fmla="*/ 31 h 34"/>
                  <a:gd name="T16" fmla="*/ 150 w 153"/>
                  <a:gd name="T17" fmla="*/ 34 h 34"/>
                  <a:gd name="T18" fmla="*/ 87 w 153"/>
                  <a:gd name="T19" fmla="*/ 34 h 34"/>
                  <a:gd name="T20" fmla="*/ 66 w 153"/>
                  <a:gd name="T2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3" h="34">
                    <a:moveTo>
                      <a:pt x="66" y="34"/>
                    </a:moveTo>
                    <a:cubicBezTo>
                      <a:pt x="4" y="34"/>
                      <a:pt x="4" y="34"/>
                      <a:pt x="4" y="34"/>
                    </a:cubicBezTo>
                    <a:cubicBezTo>
                      <a:pt x="2" y="34"/>
                      <a:pt x="0" y="33"/>
                      <a:pt x="0" y="31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50" y="0"/>
                      <a:pt x="150" y="0"/>
                      <a:pt x="150" y="0"/>
                    </a:cubicBezTo>
                    <a:cubicBezTo>
                      <a:pt x="152" y="0"/>
                      <a:pt x="153" y="2"/>
                      <a:pt x="153" y="4"/>
                    </a:cubicBezTo>
                    <a:cubicBezTo>
                      <a:pt x="153" y="31"/>
                      <a:pt x="153" y="31"/>
                      <a:pt x="153" y="31"/>
                    </a:cubicBezTo>
                    <a:cubicBezTo>
                      <a:pt x="153" y="33"/>
                      <a:pt x="152" y="34"/>
                      <a:pt x="150" y="34"/>
                    </a:cubicBezTo>
                    <a:cubicBezTo>
                      <a:pt x="87" y="34"/>
                      <a:pt x="87" y="34"/>
                      <a:pt x="87" y="34"/>
                    </a:cubicBezTo>
                    <a:lnTo>
                      <a:pt x="66" y="34"/>
                    </a:ln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94" name="Freeform 1017">
                <a:extLst>
                  <a:ext uri="{FF2B5EF4-FFF2-40B4-BE49-F238E27FC236}">
                    <a16:creationId xmlns:a16="http://schemas.microsoft.com/office/drawing/2014/main" id="{CF326662-7684-47E4-A31B-1BBC3C9CF7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29057" y="5831006"/>
                <a:ext cx="22887" cy="14781"/>
              </a:xfrm>
              <a:custGeom>
                <a:avLst/>
                <a:gdLst>
                  <a:gd name="T0" fmla="*/ 21 w 21"/>
                  <a:gd name="T1" fmla="*/ 14 h 14"/>
                  <a:gd name="T2" fmla="*/ 21 w 21"/>
                  <a:gd name="T3" fmla="*/ 10 h 14"/>
                  <a:gd name="T4" fmla="*/ 11 w 21"/>
                  <a:gd name="T5" fmla="*/ 0 h 14"/>
                  <a:gd name="T6" fmla="*/ 0 w 21"/>
                  <a:gd name="T7" fmla="*/ 10 h 14"/>
                  <a:gd name="T8" fmla="*/ 0 w 21"/>
                  <a:gd name="T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4">
                    <a:moveTo>
                      <a:pt x="21" y="14"/>
                    </a:moveTo>
                    <a:cubicBezTo>
                      <a:pt x="21" y="10"/>
                      <a:pt x="21" y="10"/>
                      <a:pt x="21" y="10"/>
                    </a:cubicBezTo>
                    <a:cubicBezTo>
                      <a:pt x="21" y="5"/>
                      <a:pt x="17" y="0"/>
                      <a:pt x="11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14"/>
                      <a:pt x="0" y="14"/>
                      <a:pt x="0" y="14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95" name="Freeform 1018">
                <a:extLst>
                  <a:ext uri="{FF2B5EF4-FFF2-40B4-BE49-F238E27FC236}">
                    <a16:creationId xmlns:a16="http://schemas.microsoft.com/office/drawing/2014/main" id="{D98BB90C-4567-4BF0-943A-DFB9749B8F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50990" y="5809073"/>
                <a:ext cx="66277" cy="36715"/>
              </a:xfrm>
              <a:custGeom>
                <a:avLst/>
                <a:gdLst>
                  <a:gd name="T0" fmla="*/ 46 w 61"/>
                  <a:gd name="T1" fmla="*/ 34 h 34"/>
                  <a:gd name="T2" fmla="*/ 37 w 61"/>
                  <a:gd name="T3" fmla="*/ 0 h 34"/>
                  <a:gd name="T4" fmla="*/ 0 w 61"/>
                  <a:gd name="T5" fmla="*/ 2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1" h="34">
                    <a:moveTo>
                      <a:pt x="46" y="34"/>
                    </a:moveTo>
                    <a:cubicBezTo>
                      <a:pt x="61" y="18"/>
                      <a:pt x="51" y="1"/>
                      <a:pt x="37" y="0"/>
                    </a:cubicBezTo>
                    <a:cubicBezTo>
                      <a:pt x="21" y="0"/>
                      <a:pt x="7" y="15"/>
                      <a:pt x="0" y="26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96" name="Freeform 1019">
                <a:extLst>
                  <a:ext uri="{FF2B5EF4-FFF2-40B4-BE49-F238E27FC236}">
                    <a16:creationId xmlns:a16="http://schemas.microsoft.com/office/drawing/2014/main" id="{411EDB0A-1339-4668-A8F7-0DF9525765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65163" y="5809073"/>
                <a:ext cx="65324" cy="36715"/>
              </a:xfrm>
              <a:custGeom>
                <a:avLst/>
                <a:gdLst>
                  <a:gd name="T0" fmla="*/ 14 w 60"/>
                  <a:gd name="T1" fmla="*/ 34 h 34"/>
                  <a:gd name="T2" fmla="*/ 24 w 60"/>
                  <a:gd name="T3" fmla="*/ 0 h 34"/>
                  <a:gd name="T4" fmla="*/ 60 w 60"/>
                  <a:gd name="T5" fmla="*/ 2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34">
                    <a:moveTo>
                      <a:pt x="14" y="34"/>
                    </a:moveTo>
                    <a:cubicBezTo>
                      <a:pt x="0" y="18"/>
                      <a:pt x="9" y="1"/>
                      <a:pt x="24" y="0"/>
                    </a:cubicBezTo>
                    <a:cubicBezTo>
                      <a:pt x="39" y="0"/>
                      <a:pt x="54" y="15"/>
                      <a:pt x="60" y="26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97" name="Freeform 1020">
                <a:extLst>
                  <a:ext uri="{FF2B5EF4-FFF2-40B4-BE49-F238E27FC236}">
                    <a16:creationId xmlns:a16="http://schemas.microsoft.com/office/drawing/2014/main" id="{656FF25A-0DF8-4E83-B16A-9702D9ED3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4844" y="5711326"/>
                <a:ext cx="220288" cy="264155"/>
              </a:xfrm>
              <a:custGeom>
                <a:avLst/>
                <a:gdLst>
                  <a:gd name="T0" fmla="*/ 0 w 203"/>
                  <a:gd name="T1" fmla="*/ 91 h 243"/>
                  <a:gd name="T2" fmla="*/ 0 w 203"/>
                  <a:gd name="T3" fmla="*/ 2 h 243"/>
                  <a:gd name="T4" fmla="*/ 2 w 203"/>
                  <a:gd name="T5" fmla="*/ 0 h 243"/>
                  <a:gd name="T6" fmla="*/ 200 w 203"/>
                  <a:gd name="T7" fmla="*/ 0 h 243"/>
                  <a:gd name="T8" fmla="*/ 203 w 203"/>
                  <a:gd name="T9" fmla="*/ 2 h 243"/>
                  <a:gd name="T10" fmla="*/ 203 w 203"/>
                  <a:gd name="T11" fmla="*/ 240 h 243"/>
                  <a:gd name="T12" fmla="*/ 200 w 203"/>
                  <a:gd name="T13" fmla="*/ 243 h 243"/>
                  <a:gd name="T14" fmla="*/ 26 w 203"/>
                  <a:gd name="T15" fmla="*/ 24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3" h="243">
                    <a:moveTo>
                      <a:pt x="0" y="91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200" y="0"/>
                      <a:pt x="200" y="0"/>
                      <a:pt x="200" y="0"/>
                    </a:cubicBezTo>
                    <a:cubicBezTo>
                      <a:pt x="202" y="0"/>
                      <a:pt x="203" y="1"/>
                      <a:pt x="203" y="2"/>
                    </a:cubicBezTo>
                    <a:cubicBezTo>
                      <a:pt x="203" y="240"/>
                      <a:pt x="203" y="240"/>
                      <a:pt x="203" y="240"/>
                    </a:cubicBezTo>
                    <a:cubicBezTo>
                      <a:pt x="203" y="242"/>
                      <a:pt x="202" y="243"/>
                      <a:pt x="200" y="243"/>
                    </a:cubicBezTo>
                    <a:cubicBezTo>
                      <a:pt x="26" y="243"/>
                      <a:pt x="26" y="243"/>
                      <a:pt x="26" y="243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53" name="Группа 52"/>
          <p:cNvGrpSpPr/>
          <p:nvPr/>
        </p:nvGrpSpPr>
        <p:grpSpPr>
          <a:xfrm>
            <a:off x="495021" y="4671166"/>
            <a:ext cx="452686" cy="435920"/>
            <a:chOff x="495021" y="4740547"/>
            <a:chExt cx="452686" cy="435920"/>
          </a:xfrm>
        </p:grpSpPr>
        <p:sp>
          <p:nvSpPr>
            <p:cNvPr id="369" name="Скругленный прямоугольник 368"/>
            <p:cNvSpPr/>
            <p:nvPr/>
          </p:nvSpPr>
          <p:spPr>
            <a:xfrm>
              <a:off x="495021" y="4740547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598" name="Group 455">
              <a:extLst>
                <a:ext uri="{FF2B5EF4-FFF2-40B4-BE49-F238E27FC236}">
                  <a16:creationId xmlns:a16="http://schemas.microsoft.com/office/drawing/2014/main" id="{9ED6F3A0-566B-4465-94F8-E9ABDDA462D4}"/>
                </a:ext>
              </a:extLst>
            </p:cNvPr>
            <p:cNvGrpSpPr/>
            <p:nvPr/>
          </p:nvGrpSpPr>
          <p:grpSpPr>
            <a:xfrm>
              <a:off x="552378" y="4815947"/>
              <a:ext cx="337972" cy="285120"/>
              <a:chOff x="3265488" y="2070100"/>
              <a:chExt cx="771525" cy="650875"/>
            </a:xfrm>
          </p:grpSpPr>
          <p:sp>
            <p:nvSpPr>
              <p:cNvPr id="599" name="Freeform 35">
                <a:extLst>
                  <a:ext uri="{FF2B5EF4-FFF2-40B4-BE49-F238E27FC236}">
                    <a16:creationId xmlns:a16="http://schemas.microsoft.com/office/drawing/2014/main" id="{33741DAB-C492-4143-802F-4F89C47152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9188" y="2330450"/>
                <a:ext cx="377825" cy="390525"/>
              </a:xfrm>
              <a:custGeom>
                <a:avLst/>
                <a:gdLst>
                  <a:gd name="T0" fmla="*/ 67 w 133"/>
                  <a:gd name="T1" fmla="*/ 137 h 137"/>
                  <a:gd name="T2" fmla="*/ 126 w 133"/>
                  <a:gd name="T3" fmla="*/ 19 h 137"/>
                  <a:gd name="T4" fmla="*/ 67 w 133"/>
                  <a:gd name="T5" fmla="*/ 0 h 137"/>
                  <a:gd name="T6" fmla="*/ 66 w 133"/>
                  <a:gd name="T7" fmla="*/ 0 h 137"/>
                  <a:gd name="T8" fmla="*/ 7 w 133"/>
                  <a:gd name="T9" fmla="*/ 19 h 137"/>
                  <a:gd name="T10" fmla="*/ 66 w 133"/>
                  <a:gd name="T11" fmla="*/ 137 h 137"/>
                  <a:gd name="T12" fmla="*/ 67 w 133"/>
                  <a:gd name="T13" fmla="*/ 137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3" h="137">
                    <a:moveTo>
                      <a:pt x="67" y="137"/>
                    </a:moveTo>
                    <a:cubicBezTo>
                      <a:pt x="133" y="109"/>
                      <a:pt x="126" y="19"/>
                      <a:pt x="126" y="19"/>
                    </a:cubicBezTo>
                    <a:cubicBezTo>
                      <a:pt x="81" y="24"/>
                      <a:pt x="67" y="0"/>
                      <a:pt x="67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6" y="0"/>
                      <a:pt x="52" y="24"/>
                      <a:pt x="7" y="19"/>
                    </a:cubicBezTo>
                    <a:cubicBezTo>
                      <a:pt x="7" y="19"/>
                      <a:pt x="0" y="109"/>
                      <a:pt x="66" y="137"/>
                    </a:cubicBezTo>
                    <a:lnTo>
                      <a:pt x="67" y="137"/>
                    </a:lnTo>
                    <a:close/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0" name="Freeform 36">
                <a:extLst>
                  <a:ext uri="{FF2B5EF4-FFF2-40B4-BE49-F238E27FC236}">
                    <a16:creationId xmlns:a16="http://schemas.microsoft.com/office/drawing/2014/main" id="{B98C638C-8DE7-43D4-AF3F-A49023C9EA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8250" y="2462213"/>
                <a:ext cx="144462" cy="104775"/>
              </a:xfrm>
              <a:custGeom>
                <a:avLst/>
                <a:gdLst>
                  <a:gd name="T0" fmla="*/ 0 w 91"/>
                  <a:gd name="T1" fmla="*/ 34 h 66"/>
                  <a:gd name="T2" fmla="*/ 39 w 91"/>
                  <a:gd name="T3" fmla="*/ 66 h 66"/>
                  <a:gd name="T4" fmla="*/ 91 w 91"/>
                  <a:gd name="T5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1" h="66">
                    <a:moveTo>
                      <a:pt x="0" y="34"/>
                    </a:moveTo>
                    <a:lnTo>
                      <a:pt x="39" y="66"/>
                    </a:lnTo>
                    <a:lnTo>
                      <a:pt x="91" y="0"/>
                    </a:ln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1" name="Freeform 37">
                <a:extLst>
                  <a:ext uri="{FF2B5EF4-FFF2-40B4-BE49-F238E27FC236}">
                    <a16:creationId xmlns:a16="http://schemas.microsoft.com/office/drawing/2014/main" id="{2576FDCF-1235-404A-B9F1-9A7AC26CD8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5488" y="2070100"/>
                <a:ext cx="581025" cy="601663"/>
              </a:xfrm>
              <a:custGeom>
                <a:avLst/>
                <a:gdLst>
                  <a:gd name="T0" fmla="*/ 366 w 366"/>
                  <a:gd name="T1" fmla="*/ 130 h 379"/>
                  <a:gd name="T2" fmla="*/ 366 w 366"/>
                  <a:gd name="T3" fmla="*/ 75 h 379"/>
                  <a:gd name="T4" fmla="*/ 181 w 366"/>
                  <a:gd name="T5" fmla="*/ 0 h 379"/>
                  <a:gd name="T6" fmla="*/ 0 w 366"/>
                  <a:gd name="T7" fmla="*/ 66 h 379"/>
                  <a:gd name="T8" fmla="*/ 0 w 366"/>
                  <a:gd name="T9" fmla="*/ 274 h 379"/>
                  <a:gd name="T10" fmla="*/ 172 w 366"/>
                  <a:gd name="T11" fmla="*/ 379 h 379"/>
                  <a:gd name="T12" fmla="*/ 249 w 366"/>
                  <a:gd name="T13" fmla="*/ 343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6" h="379">
                    <a:moveTo>
                      <a:pt x="366" y="130"/>
                    </a:moveTo>
                    <a:lnTo>
                      <a:pt x="366" y="75"/>
                    </a:lnTo>
                    <a:lnTo>
                      <a:pt x="181" y="0"/>
                    </a:lnTo>
                    <a:lnTo>
                      <a:pt x="0" y="66"/>
                    </a:lnTo>
                    <a:lnTo>
                      <a:pt x="0" y="274"/>
                    </a:lnTo>
                    <a:lnTo>
                      <a:pt x="172" y="379"/>
                    </a:lnTo>
                    <a:lnTo>
                      <a:pt x="249" y="343"/>
                    </a:ln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2" name="Freeform 38">
                <a:extLst>
                  <a:ext uri="{FF2B5EF4-FFF2-40B4-BE49-F238E27FC236}">
                    <a16:creationId xmlns:a16="http://schemas.microsoft.com/office/drawing/2014/main" id="{C1420F9A-DDDE-42AE-A6C5-0EA85E3415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5488" y="2174875"/>
                <a:ext cx="581025" cy="144463"/>
              </a:xfrm>
              <a:custGeom>
                <a:avLst/>
                <a:gdLst>
                  <a:gd name="T0" fmla="*/ 0 w 366"/>
                  <a:gd name="T1" fmla="*/ 0 h 91"/>
                  <a:gd name="T2" fmla="*/ 172 w 366"/>
                  <a:gd name="T3" fmla="*/ 91 h 91"/>
                  <a:gd name="T4" fmla="*/ 366 w 366"/>
                  <a:gd name="T5" fmla="*/ 9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6" h="91">
                    <a:moveTo>
                      <a:pt x="0" y="0"/>
                    </a:moveTo>
                    <a:lnTo>
                      <a:pt x="172" y="91"/>
                    </a:lnTo>
                    <a:lnTo>
                      <a:pt x="366" y="9"/>
                    </a:ln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3" name="Line 39">
                <a:extLst>
                  <a:ext uri="{FF2B5EF4-FFF2-40B4-BE49-F238E27FC236}">
                    <a16:creationId xmlns:a16="http://schemas.microsoft.com/office/drawing/2014/main" id="{0FD27076-8773-4B1E-97DB-93C5E63B7E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38538" y="2319338"/>
                <a:ext cx="0" cy="352425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4" name="Line 40">
                <a:extLst>
                  <a:ext uri="{FF2B5EF4-FFF2-40B4-BE49-F238E27FC236}">
                    <a16:creationId xmlns:a16="http://schemas.microsoft.com/office/drawing/2014/main" id="{7BBE3F7C-7CF6-4170-B5E1-4D24D3D27D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398838" y="2125663"/>
                <a:ext cx="290512" cy="120650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5" name="Line 41">
                <a:extLst>
                  <a:ext uri="{FF2B5EF4-FFF2-40B4-BE49-F238E27FC236}">
                    <a16:creationId xmlns:a16="http://schemas.microsoft.com/office/drawing/2014/main" id="{AF589D3D-5E4E-457B-9822-AEFA06C072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98838" y="2247900"/>
                <a:ext cx="0" cy="120650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bevel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54" name="Группа 53"/>
          <p:cNvGrpSpPr/>
          <p:nvPr/>
        </p:nvGrpSpPr>
        <p:grpSpPr>
          <a:xfrm>
            <a:off x="9661950" y="3571648"/>
            <a:ext cx="452686" cy="435920"/>
            <a:chOff x="9661950" y="3641029"/>
            <a:chExt cx="452686" cy="435920"/>
          </a:xfrm>
        </p:grpSpPr>
        <p:sp>
          <p:nvSpPr>
            <p:cNvPr id="355" name="Скругленный прямоугольник 354"/>
            <p:cNvSpPr/>
            <p:nvPr/>
          </p:nvSpPr>
          <p:spPr>
            <a:xfrm>
              <a:off x="9661950" y="3641029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606" name="Group 80">
              <a:extLst>
                <a:ext uri="{FF2B5EF4-FFF2-40B4-BE49-F238E27FC236}">
                  <a16:creationId xmlns:a16="http://schemas.microsoft.com/office/drawing/2014/main" id="{D9B00BE7-06F0-4C3E-843F-57821E0BACD9}"/>
                </a:ext>
              </a:extLst>
            </p:cNvPr>
            <p:cNvGrpSpPr/>
            <p:nvPr/>
          </p:nvGrpSpPr>
          <p:grpSpPr>
            <a:xfrm>
              <a:off x="9717113" y="3687057"/>
              <a:ext cx="342360" cy="343864"/>
              <a:chOff x="5664279" y="3057128"/>
              <a:chExt cx="650557" cy="653415"/>
            </a:xfrm>
          </p:grpSpPr>
          <p:sp>
            <p:nvSpPr>
              <p:cNvPr id="607" name="Freeform: Shape 22">
                <a:extLst>
                  <a:ext uri="{FF2B5EF4-FFF2-40B4-BE49-F238E27FC236}">
                    <a16:creationId xmlns:a16="http://schemas.microsoft.com/office/drawing/2014/main" id="{FFC349B8-4082-409C-AE2C-40E48EC5B3AA}"/>
                  </a:ext>
                </a:extLst>
              </p:cNvPr>
              <p:cNvSpPr/>
              <p:nvPr/>
            </p:nvSpPr>
            <p:spPr>
              <a:xfrm>
                <a:off x="6087189" y="3352403"/>
                <a:ext cx="76200" cy="161925"/>
              </a:xfrm>
              <a:custGeom>
                <a:avLst/>
                <a:gdLst>
                  <a:gd name="connsiteX0" fmla="*/ 17859 w 76200"/>
                  <a:gd name="connsiteY0" fmla="*/ 17859 h 161925"/>
                  <a:gd name="connsiteX1" fmla="*/ 30242 w 76200"/>
                  <a:gd name="connsiteY1" fmla="*/ 100727 h 161925"/>
                  <a:gd name="connsiteX2" fmla="*/ 60722 w 76200"/>
                  <a:gd name="connsiteY2" fmla="*/ 150257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200" h="161925">
                    <a:moveTo>
                      <a:pt x="17859" y="17859"/>
                    </a:moveTo>
                    <a:cubicBezTo>
                      <a:pt x="17859" y="17859"/>
                      <a:pt x="25479" y="81677"/>
                      <a:pt x="30242" y="100727"/>
                    </a:cubicBezTo>
                    <a:cubicBezTo>
                      <a:pt x="36909" y="127397"/>
                      <a:pt x="60722" y="150257"/>
                      <a:pt x="60722" y="150257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8" name="Freeform: Shape 23">
                <a:extLst>
                  <a:ext uri="{FF2B5EF4-FFF2-40B4-BE49-F238E27FC236}">
                    <a16:creationId xmlns:a16="http://schemas.microsoft.com/office/drawing/2014/main" id="{C74520A5-4DCA-462F-A48E-3457ABE38CF1}"/>
                  </a:ext>
                </a:extLst>
              </p:cNvPr>
              <p:cNvSpPr/>
              <p:nvPr/>
            </p:nvSpPr>
            <p:spPr>
              <a:xfrm>
                <a:off x="5956696" y="3482895"/>
                <a:ext cx="133350" cy="47625"/>
              </a:xfrm>
              <a:custGeom>
                <a:avLst/>
                <a:gdLst>
                  <a:gd name="connsiteX0" fmla="*/ 116919 w 133350"/>
                  <a:gd name="connsiteY0" fmla="*/ 35957 h 47625"/>
                  <a:gd name="connsiteX1" fmla="*/ 100727 w 133350"/>
                  <a:gd name="connsiteY1" fmla="*/ 30242 h 47625"/>
                  <a:gd name="connsiteX2" fmla="*/ 17859 w 133350"/>
                  <a:gd name="connsiteY2" fmla="*/ 17859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3350" h="47625">
                    <a:moveTo>
                      <a:pt x="116919" y="35957"/>
                    </a:moveTo>
                    <a:cubicBezTo>
                      <a:pt x="112157" y="34052"/>
                      <a:pt x="106442" y="31194"/>
                      <a:pt x="100727" y="30242"/>
                    </a:cubicBezTo>
                    <a:cubicBezTo>
                      <a:pt x="81677" y="25479"/>
                      <a:pt x="17859" y="17859"/>
                      <a:pt x="17859" y="17859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9" name="Freeform: Shape 24">
                <a:extLst>
                  <a:ext uri="{FF2B5EF4-FFF2-40B4-BE49-F238E27FC236}">
                    <a16:creationId xmlns:a16="http://schemas.microsoft.com/office/drawing/2014/main" id="{85FE6010-2ADB-4177-B346-CCE7A88C4C3C}"/>
                  </a:ext>
                </a:extLst>
              </p:cNvPr>
              <p:cNvSpPr/>
              <p:nvPr/>
            </p:nvSpPr>
            <p:spPr>
              <a:xfrm>
                <a:off x="5809883" y="3205661"/>
                <a:ext cx="409575" cy="409575"/>
              </a:xfrm>
              <a:custGeom>
                <a:avLst/>
                <a:gdLst>
                  <a:gd name="connsiteX0" fmla="*/ 25257 w 409575"/>
                  <a:gd name="connsiteY0" fmla="*/ 343828 h 409575"/>
                  <a:gd name="connsiteX1" fmla="*/ 343828 w 409575"/>
                  <a:gd name="connsiteY1" fmla="*/ 25257 h 409575"/>
                  <a:gd name="connsiteX2" fmla="*/ 386933 w 409575"/>
                  <a:gd name="connsiteY2" fmla="*/ 68362 h 409575"/>
                  <a:gd name="connsiteX3" fmla="*/ 68362 w 409575"/>
                  <a:gd name="connsiteY3" fmla="*/ 386933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75" h="409575">
                    <a:moveTo>
                      <a:pt x="25257" y="343828"/>
                    </a:moveTo>
                    <a:lnTo>
                      <a:pt x="343828" y="25257"/>
                    </a:lnTo>
                    <a:lnTo>
                      <a:pt x="386933" y="68362"/>
                    </a:lnTo>
                    <a:lnTo>
                      <a:pt x="68362" y="386933"/>
                    </a:lnTo>
                    <a:close/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0" name="Freeform: Shape 25">
                <a:extLst>
                  <a:ext uri="{FF2B5EF4-FFF2-40B4-BE49-F238E27FC236}">
                    <a16:creationId xmlns:a16="http://schemas.microsoft.com/office/drawing/2014/main" id="{42B0B7C0-5105-44D0-97CA-B894CC80460E}"/>
                  </a:ext>
                </a:extLst>
              </p:cNvPr>
              <p:cNvSpPr/>
              <p:nvPr/>
            </p:nvSpPr>
            <p:spPr>
              <a:xfrm>
                <a:off x="5664279" y="3417173"/>
                <a:ext cx="171450" cy="95250"/>
              </a:xfrm>
              <a:custGeom>
                <a:avLst/>
                <a:gdLst>
                  <a:gd name="connsiteX0" fmla="*/ 17859 w 171450"/>
                  <a:gd name="connsiteY0" fmla="*/ 17859 h 95250"/>
                  <a:gd name="connsiteX1" fmla="*/ 161687 w 171450"/>
                  <a:gd name="connsiteY1" fmla="*/ 7882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1450" h="95250">
                    <a:moveTo>
                      <a:pt x="17859" y="17859"/>
                    </a:moveTo>
                    <a:cubicBezTo>
                      <a:pt x="70247" y="24527"/>
                      <a:pt x="117872" y="44530"/>
                      <a:pt x="161687" y="78820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1" name="Freeform: Shape 26">
                <a:extLst>
                  <a:ext uri="{FF2B5EF4-FFF2-40B4-BE49-F238E27FC236}">
                    <a16:creationId xmlns:a16="http://schemas.microsoft.com/office/drawing/2014/main" id="{22D6A140-5DAE-4914-B376-82FAA90F4655}"/>
                  </a:ext>
                </a:extLst>
              </p:cNvPr>
              <p:cNvSpPr/>
              <p:nvPr/>
            </p:nvSpPr>
            <p:spPr>
              <a:xfrm>
                <a:off x="5773816" y="3057128"/>
                <a:ext cx="342900" cy="180975"/>
              </a:xfrm>
              <a:custGeom>
                <a:avLst/>
                <a:gdLst>
                  <a:gd name="connsiteX0" fmla="*/ 17859 w 342900"/>
                  <a:gd name="connsiteY0" fmla="*/ 17859 h 180975"/>
                  <a:gd name="connsiteX1" fmla="*/ 325517 w 342900"/>
                  <a:gd name="connsiteY1" fmla="*/ 165497 h 18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2900" h="180975">
                    <a:moveTo>
                      <a:pt x="17859" y="17859"/>
                    </a:moveTo>
                    <a:cubicBezTo>
                      <a:pt x="134064" y="37862"/>
                      <a:pt x="239792" y="90249"/>
                      <a:pt x="325517" y="165497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2" name="Freeform: Shape 27">
                <a:extLst>
                  <a:ext uri="{FF2B5EF4-FFF2-40B4-BE49-F238E27FC236}">
                    <a16:creationId xmlns:a16="http://schemas.microsoft.com/office/drawing/2014/main" id="{1850F30F-5A8E-4137-989B-16438A2FE119}"/>
                  </a:ext>
                </a:extLst>
              </p:cNvPr>
              <p:cNvSpPr/>
              <p:nvPr/>
            </p:nvSpPr>
            <p:spPr>
              <a:xfrm>
                <a:off x="5897641" y="3199050"/>
                <a:ext cx="28575" cy="104775"/>
              </a:xfrm>
              <a:custGeom>
                <a:avLst/>
                <a:gdLst>
                  <a:gd name="connsiteX0" fmla="*/ 17859 w 28575"/>
                  <a:gd name="connsiteY0" fmla="*/ 17859 h 104775"/>
                  <a:gd name="connsiteX1" fmla="*/ 17859 w 28575"/>
                  <a:gd name="connsiteY1" fmla="*/ 87392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 h="104775">
                    <a:moveTo>
                      <a:pt x="17859" y="17859"/>
                    </a:moveTo>
                    <a:lnTo>
                      <a:pt x="17859" y="87392"/>
                    </a:lnTo>
                  </a:path>
                </a:pathLst>
              </a:custGeom>
              <a:ln w="9525" cap="rnd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3" name="Freeform: Shape 28">
                <a:extLst>
                  <a:ext uri="{FF2B5EF4-FFF2-40B4-BE49-F238E27FC236}">
                    <a16:creationId xmlns:a16="http://schemas.microsoft.com/office/drawing/2014/main" id="{23EA832F-2B77-41BD-8467-1C0906678ED4}"/>
                  </a:ext>
                </a:extLst>
              </p:cNvPr>
              <p:cNvSpPr/>
              <p:nvPr/>
            </p:nvSpPr>
            <p:spPr>
              <a:xfrm>
                <a:off x="5863351" y="3233340"/>
                <a:ext cx="104775" cy="28575"/>
              </a:xfrm>
              <a:custGeom>
                <a:avLst/>
                <a:gdLst>
                  <a:gd name="connsiteX0" fmla="*/ 87392 w 104775"/>
                  <a:gd name="connsiteY0" fmla="*/ 17859 h 28575"/>
                  <a:gd name="connsiteX1" fmla="*/ 17859 w 104775"/>
                  <a:gd name="connsiteY1" fmla="*/ 17859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775" h="28575">
                    <a:moveTo>
                      <a:pt x="87392" y="17859"/>
                    </a:moveTo>
                    <a:lnTo>
                      <a:pt x="17859" y="17859"/>
                    </a:lnTo>
                  </a:path>
                </a:pathLst>
              </a:custGeom>
              <a:ln w="9525" cap="rnd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4" name="Freeform: Shape 29">
                <a:extLst>
                  <a:ext uri="{FF2B5EF4-FFF2-40B4-BE49-F238E27FC236}">
                    <a16:creationId xmlns:a16="http://schemas.microsoft.com/office/drawing/2014/main" id="{459D8356-42C0-4714-9284-1992157ECFDA}"/>
                  </a:ext>
                </a:extLst>
              </p:cNvPr>
              <p:cNvSpPr/>
              <p:nvPr/>
            </p:nvSpPr>
            <p:spPr>
              <a:xfrm>
                <a:off x="5754766" y="3238103"/>
                <a:ext cx="28575" cy="133350"/>
              </a:xfrm>
              <a:custGeom>
                <a:avLst/>
                <a:gdLst>
                  <a:gd name="connsiteX0" fmla="*/ 17859 w 28575"/>
                  <a:gd name="connsiteY0" fmla="*/ 17859 h 133350"/>
                  <a:gd name="connsiteX1" fmla="*/ 17859 w 28575"/>
                  <a:gd name="connsiteY1" fmla="*/ 119777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575" h="133350">
                    <a:moveTo>
                      <a:pt x="17859" y="17859"/>
                    </a:moveTo>
                    <a:lnTo>
                      <a:pt x="17859" y="119777"/>
                    </a:lnTo>
                  </a:path>
                </a:pathLst>
              </a:custGeom>
              <a:ln w="9525" cap="rnd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5" name="Freeform: Shape 30">
                <a:extLst>
                  <a:ext uri="{FF2B5EF4-FFF2-40B4-BE49-F238E27FC236}">
                    <a16:creationId xmlns:a16="http://schemas.microsoft.com/office/drawing/2014/main" id="{D0418FB4-FBD3-420C-A511-6C285E0904AF}"/>
                  </a:ext>
                </a:extLst>
              </p:cNvPr>
              <p:cNvSpPr/>
              <p:nvPr/>
            </p:nvSpPr>
            <p:spPr>
              <a:xfrm>
                <a:off x="5704284" y="3289538"/>
                <a:ext cx="133350" cy="28575"/>
              </a:xfrm>
              <a:custGeom>
                <a:avLst/>
                <a:gdLst>
                  <a:gd name="connsiteX0" fmla="*/ 118824 w 133350"/>
                  <a:gd name="connsiteY0" fmla="*/ 17859 h 28575"/>
                  <a:gd name="connsiteX1" fmla="*/ 17859 w 133350"/>
                  <a:gd name="connsiteY1" fmla="*/ 17859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3350" h="28575">
                    <a:moveTo>
                      <a:pt x="118824" y="17859"/>
                    </a:moveTo>
                    <a:lnTo>
                      <a:pt x="17859" y="17859"/>
                    </a:lnTo>
                  </a:path>
                </a:pathLst>
              </a:custGeom>
              <a:ln w="9525" cap="rnd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6" name="Freeform: Shape 31">
                <a:extLst>
                  <a:ext uri="{FF2B5EF4-FFF2-40B4-BE49-F238E27FC236}">
                    <a16:creationId xmlns:a16="http://schemas.microsoft.com/office/drawing/2014/main" id="{513246CF-7C0E-4F50-B049-D691AD113C98}"/>
                  </a:ext>
                </a:extLst>
              </p:cNvPr>
              <p:cNvSpPr/>
              <p:nvPr/>
            </p:nvSpPr>
            <p:spPr>
              <a:xfrm>
                <a:off x="6086236" y="3481943"/>
                <a:ext cx="228600" cy="228600"/>
              </a:xfrm>
              <a:custGeom>
                <a:avLst/>
                <a:gdLst>
                  <a:gd name="connsiteX0" fmla="*/ 17859 w 228600"/>
                  <a:gd name="connsiteY0" fmla="*/ 69294 h 228600"/>
                  <a:gd name="connsiteX1" fmla="*/ 152162 w 228600"/>
                  <a:gd name="connsiteY1" fmla="*/ 203597 h 228600"/>
                  <a:gd name="connsiteX2" fmla="*/ 206454 w 228600"/>
                  <a:gd name="connsiteY2" fmla="*/ 206454 h 228600"/>
                  <a:gd name="connsiteX3" fmla="*/ 203597 w 228600"/>
                  <a:gd name="connsiteY3" fmla="*/ 152162 h 228600"/>
                  <a:gd name="connsiteX4" fmla="*/ 69294 w 228600"/>
                  <a:gd name="connsiteY4" fmla="*/ 17859 h 228600"/>
                  <a:gd name="connsiteX5" fmla="*/ 17859 w 228600"/>
                  <a:gd name="connsiteY5" fmla="*/ 69294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8600" h="228600">
                    <a:moveTo>
                      <a:pt x="17859" y="69294"/>
                    </a:moveTo>
                    <a:lnTo>
                      <a:pt x="152162" y="203597"/>
                    </a:lnTo>
                    <a:cubicBezTo>
                      <a:pt x="168354" y="219789"/>
                      <a:pt x="192167" y="220742"/>
                      <a:pt x="206454" y="206454"/>
                    </a:cubicBezTo>
                    <a:cubicBezTo>
                      <a:pt x="220742" y="192167"/>
                      <a:pt x="219789" y="167402"/>
                      <a:pt x="203597" y="152162"/>
                    </a:cubicBezTo>
                    <a:lnTo>
                      <a:pt x="69294" y="17859"/>
                    </a:lnTo>
                    <a:lnTo>
                      <a:pt x="17859" y="69294"/>
                    </a:ln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62" name="Группа 61"/>
          <p:cNvGrpSpPr/>
          <p:nvPr/>
        </p:nvGrpSpPr>
        <p:grpSpPr>
          <a:xfrm>
            <a:off x="452257" y="2403457"/>
            <a:ext cx="2160000" cy="573264"/>
            <a:chOff x="452257" y="2403457"/>
            <a:chExt cx="2160000" cy="573264"/>
          </a:xfrm>
        </p:grpSpPr>
        <p:sp>
          <p:nvSpPr>
            <p:cNvPr id="207" name="Скругленный прямоугольник 206"/>
            <p:cNvSpPr/>
            <p:nvPr/>
          </p:nvSpPr>
          <p:spPr>
            <a:xfrm>
              <a:off x="452257" y="2403457"/>
              <a:ext cx="2160000" cy="573264"/>
            </a:xfrm>
            <a:prstGeom prst="roundRect">
              <a:avLst>
                <a:gd name="adj" fmla="val 15768"/>
              </a:avLst>
            </a:prstGeom>
            <a:noFill/>
            <a:ln w="12700">
              <a:solidFill>
                <a:srgbClr val="D8294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sp>
          <p:nvSpPr>
            <p:cNvPr id="208" name="Прямоугольник 207"/>
            <p:cNvSpPr/>
            <p:nvPr/>
          </p:nvSpPr>
          <p:spPr>
            <a:xfrm>
              <a:off x="1010974" y="2436172"/>
              <a:ext cx="1176584" cy="5078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ru-RU" sz="11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  <a:t>Участие</a:t>
              </a:r>
              <a:br>
                <a:rPr lang="ru-RU" sz="11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</a:br>
              <a:r>
                <a:rPr lang="ru-RU" sz="11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  <a:t>в местных мероприятиях</a:t>
              </a:r>
            </a:p>
          </p:txBody>
        </p:sp>
        <p:grpSp>
          <p:nvGrpSpPr>
            <p:cNvPr id="55" name="Группа 54"/>
            <p:cNvGrpSpPr/>
            <p:nvPr/>
          </p:nvGrpSpPr>
          <p:grpSpPr>
            <a:xfrm>
              <a:off x="495021" y="2472131"/>
              <a:ext cx="452686" cy="435920"/>
              <a:chOff x="495021" y="2541512"/>
              <a:chExt cx="452686" cy="435920"/>
            </a:xfrm>
          </p:grpSpPr>
          <p:sp>
            <p:nvSpPr>
              <p:cNvPr id="210" name="Скругленный прямоугольник 209"/>
              <p:cNvSpPr/>
              <p:nvPr/>
            </p:nvSpPr>
            <p:spPr>
              <a:xfrm>
                <a:off x="495021" y="2541512"/>
                <a:ext cx="452686" cy="435920"/>
              </a:xfrm>
              <a:prstGeom prst="roundRect">
                <a:avLst>
                  <a:gd name="adj" fmla="val 15768"/>
                </a:avLst>
              </a:prstGeom>
              <a:solidFill>
                <a:srgbClr val="F0F0F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/>
              <a:lstStyle/>
              <a:p>
                <a:pPr>
                  <a:lnSpc>
                    <a:spcPts val="2100"/>
                  </a:lnSpc>
                </a:pPr>
                <a:endParaRPr lang="ru-RU" sz="1400" b="1" dirty="0">
                  <a:latin typeface="Montserrat" panose="00000500000000000000" pitchFamily="2" charset="-52"/>
                </a:endParaRPr>
              </a:p>
            </p:txBody>
          </p:sp>
          <p:grpSp>
            <p:nvGrpSpPr>
              <p:cNvPr id="617" name="Group 4328">
                <a:extLst>
                  <a:ext uri="{FF2B5EF4-FFF2-40B4-BE49-F238E27FC236}">
                    <a16:creationId xmlns:a16="http://schemas.microsoft.com/office/drawing/2014/main" id="{F2E81917-3C01-4215-AAEE-64184C26C563}"/>
                  </a:ext>
                </a:extLst>
              </p:cNvPr>
              <p:cNvGrpSpPr/>
              <p:nvPr/>
            </p:nvGrpSpPr>
            <p:grpSpPr>
              <a:xfrm>
                <a:off x="536389" y="2614218"/>
                <a:ext cx="369951" cy="290509"/>
                <a:chOff x="11149013" y="4605338"/>
                <a:chExt cx="754063" cy="592138"/>
              </a:xfrm>
            </p:grpSpPr>
            <p:sp>
              <p:nvSpPr>
                <p:cNvPr id="618" name="Line 89">
                  <a:extLst>
                    <a:ext uri="{FF2B5EF4-FFF2-40B4-BE49-F238E27FC236}">
                      <a16:creationId xmlns:a16="http://schemas.microsoft.com/office/drawing/2014/main" id="{2D31CBB2-4529-482B-8475-65B7221798F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1436350" y="5080001"/>
                  <a:ext cx="0" cy="109538"/>
                </a:xfrm>
                <a:prstGeom prst="line">
                  <a:avLst/>
                </a:prstGeom>
                <a:noFill/>
                <a:ln w="9525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619" name="Line 90">
                  <a:extLst>
                    <a:ext uri="{FF2B5EF4-FFF2-40B4-BE49-F238E27FC236}">
                      <a16:creationId xmlns:a16="http://schemas.microsoft.com/office/drawing/2014/main" id="{7766C1DC-AA0A-43E1-AD9C-CFD2DED2B5E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1436350" y="5038726"/>
                  <a:ext cx="0" cy="114300"/>
                </a:xfrm>
                <a:prstGeom prst="line">
                  <a:avLst/>
                </a:prstGeom>
                <a:noFill/>
                <a:ln w="9525" cap="flat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620" name="Line 91">
                  <a:extLst>
                    <a:ext uri="{FF2B5EF4-FFF2-40B4-BE49-F238E27FC236}">
                      <a16:creationId xmlns:a16="http://schemas.microsoft.com/office/drawing/2014/main" id="{FDFC7D00-CEF6-476A-8EB9-18DF0C4F462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1312525" y="5092701"/>
                  <a:ext cx="123825" cy="96838"/>
                </a:xfrm>
                <a:prstGeom prst="line">
                  <a:avLst/>
                </a:prstGeom>
                <a:noFill/>
                <a:ln w="9525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621" name="Line 92">
                  <a:extLst>
                    <a:ext uri="{FF2B5EF4-FFF2-40B4-BE49-F238E27FC236}">
                      <a16:creationId xmlns:a16="http://schemas.microsoft.com/office/drawing/2014/main" id="{E236CB8F-5DD5-4808-AD0F-A72D0A2F691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1436350" y="5092701"/>
                  <a:ext cx="127000" cy="96838"/>
                </a:xfrm>
                <a:prstGeom prst="line">
                  <a:avLst/>
                </a:prstGeom>
                <a:noFill/>
                <a:ln w="9525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622" name="Freeform 93">
                  <a:extLst>
                    <a:ext uri="{FF2B5EF4-FFF2-40B4-BE49-F238E27FC236}">
                      <a16:creationId xmlns:a16="http://schemas.microsoft.com/office/drawing/2014/main" id="{76E023A0-A1F8-4C08-8016-57DC2B6BBA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34813" y="5027613"/>
                  <a:ext cx="68263" cy="84138"/>
                </a:xfrm>
                <a:custGeom>
                  <a:avLst/>
                  <a:gdLst>
                    <a:gd name="T0" fmla="*/ 25 w 25"/>
                    <a:gd name="T1" fmla="*/ 0 h 31"/>
                    <a:gd name="T2" fmla="*/ 0 w 25"/>
                    <a:gd name="T3" fmla="*/ 27 h 31"/>
                    <a:gd name="T4" fmla="*/ 0 w 25"/>
                    <a:gd name="T5" fmla="*/ 31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5" h="31">
                      <a:moveTo>
                        <a:pt x="25" y="0"/>
                      </a:moveTo>
                      <a:cubicBezTo>
                        <a:pt x="11" y="0"/>
                        <a:pt x="0" y="12"/>
                        <a:pt x="0" y="27"/>
                      </a:cubicBezTo>
                      <a:cubicBezTo>
                        <a:pt x="0" y="31"/>
                        <a:pt x="0" y="31"/>
                        <a:pt x="0" y="31"/>
                      </a:cubicBezTo>
                    </a:path>
                  </a:pathLst>
                </a:custGeom>
                <a:noFill/>
                <a:ln w="9525" cap="flat">
                  <a:solidFill>
                    <a:srgbClr val="40404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623" name="Freeform 94">
                  <a:extLst>
                    <a:ext uri="{FF2B5EF4-FFF2-40B4-BE49-F238E27FC236}">
                      <a16:creationId xmlns:a16="http://schemas.microsoft.com/office/drawing/2014/main" id="{38BD8442-8BF9-4E4C-84CA-0BF8769581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99875" y="5103813"/>
                  <a:ext cx="134938" cy="93663"/>
                </a:xfrm>
                <a:custGeom>
                  <a:avLst/>
                  <a:gdLst>
                    <a:gd name="T0" fmla="*/ 0 w 49"/>
                    <a:gd name="T1" fmla="*/ 0 h 34"/>
                    <a:gd name="T2" fmla="*/ 0 w 49"/>
                    <a:gd name="T3" fmla="*/ 6 h 34"/>
                    <a:gd name="T4" fmla="*/ 25 w 49"/>
                    <a:gd name="T5" fmla="*/ 34 h 34"/>
                    <a:gd name="T6" fmla="*/ 49 w 49"/>
                    <a:gd name="T7" fmla="*/ 6 h 34"/>
                    <a:gd name="T8" fmla="*/ 49 w 49"/>
                    <a:gd name="T9" fmla="*/ 2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9" h="34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2"/>
                        <a:pt x="11" y="34"/>
                        <a:pt x="25" y="34"/>
                      </a:cubicBezTo>
                      <a:cubicBezTo>
                        <a:pt x="38" y="34"/>
                        <a:pt x="49" y="21"/>
                        <a:pt x="49" y="6"/>
                      </a:cubicBezTo>
                      <a:cubicBezTo>
                        <a:pt x="49" y="2"/>
                        <a:pt x="49" y="2"/>
                        <a:pt x="49" y="2"/>
                      </a:cubicBezTo>
                    </a:path>
                  </a:pathLst>
                </a:custGeom>
                <a:noFill/>
                <a:ln w="9525" cap="flat">
                  <a:solidFill>
                    <a:srgbClr val="40404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624" name="Line 95">
                  <a:extLst>
                    <a:ext uri="{FF2B5EF4-FFF2-40B4-BE49-F238E27FC236}">
                      <a16:creationId xmlns:a16="http://schemas.microsoft.com/office/drawing/2014/main" id="{D9C83CB9-24A9-4D48-AD1C-363FD661833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1693525" y="4605338"/>
                  <a:ext cx="0" cy="90488"/>
                </a:xfrm>
                <a:prstGeom prst="line">
                  <a:avLst/>
                </a:prstGeom>
                <a:noFill/>
                <a:ln w="9525" cap="flat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625" name="Freeform 96">
                  <a:extLst>
                    <a:ext uri="{FF2B5EF4-FFF2-40B4-BE49-F238E27FC236}">
                      <a16:creationId xmlns:a16="http://schemas.microsoft.com/office/drawing/2014/main" id="{96B32E9E-16EB-4BE0-B2CA-FE60735FCF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180763" y="4605338"/>
                  <a:ext cx="371475" cy="381000"/>
                </a:xfrm>
                <a:custGeom>
                  <a:avLst/>
                  <a:gdLst>
                    <a:gd name="T0" fmla="*/ 0 w 135"/>
                    <a:gd name="T1" fmla="*/ 0 h 139"/>
                    <a:gd name="T2" fmla="*/ 0 w 135"/>
                    <a:gd name="T3" fmla="*/ 119 h 139"/>
                    <a:gd name="T4" fmla="*/ 20 w 135"/>
                    <a:gd name="T5" fmla="*/ 139 h 139"/>
                    <a:gd name="T6" fmla="*/ 135 w 135"/>
                    <a:gd name="T7" fmla="*/ 139 h 1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5" h="139">
                      <a:moveTo>
                        <a:pt x="0" y="0"/>
                      </a:moveTo>
                      <a:cubicBezTo>
                        <a:pt x="0" y="119"/>
                        <a:pt x="0" y="119"/>
                        <a:pt x="0" y="119"/>
                      </a:cubicBezTo>
                      <a:cubicBezTo>
                        <a:pt x="0" y="130"/>
                        <a:pt x="9" y="139"/>
                        <a:pt x="20" y="139"/>
                      </a:cubicBezTo>
                      <a:cubicBezTo>
                        <a:pt x="135" y="139"/>
                        <a:pt x="135" y="139"/>
                        <a:pt x="135" y="139"/>
                      </a:cubicBezTo>
                    </a:path>
                  </a:pathLst>
                </a:custGeom>
                <a:noFill/>
                <a:ln w="9525" cap="flat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626" name="Line 97">
                  <a:extLst>
                    <a:ext uri="{FF2B5EF4-FFF2-40B4-BE49-F238E27FC236}">
                      <a16:creationId xmlns:a16="http://schemas.microsoft.com/office/drawing/2014/main" id="{82D240E5-829A-4A50-8C5A-AC723863AD7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1149013" y="4605338"/>
                  <a:ext cx="577850" cy="0"/>
                </a:xfrm>
                <a:prstGeom prst="line">
                  <a:avLst/>
                </a:prstGeom>
                <a:noFill/>
                <a:ln w="9525" cap="rnd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627" name="Freeform 98">
                  <a:extLst>
                    <a:ext uri="{FF2B5EF4-FFF2-40B4-BE49-F238E27FC236}">
                      <a16:creationId xmlns:a16="http://schemas.microsoft.com/office/drawing/2014/main" id="{2CF95FD8-BA1C-4028-8514-7C5EDCF6B0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579225" y="4884738"/>
                  <a:ext cx="153988" cy="230188"/>
                </a:xfrm>
                <a:custGeom>
                  <a:avLst/>
                  <a:gdLst>
                    <a:gd name="T0" fmla="*/ 0 w 97"/>
                    <a:gd name="T1" fmla="*/ 19 h 145"/>
                    <a:gd name="T2" fmla="*/ 47 w 97"/>
                    <a:gd name="T3" fmla="*/ 145 h 145"/>
                    <a:gd name="T4" fmla="*/ 97 w 97"/>
                    <a:gd name="T5" fmla="*/ 130 h 145"/>
                    <a:gd name="T6" fmla="*/ 62 w 97"/>
                    <a:gd name="T7" fmla="*/ 0 h 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7" h="145">
                      <a:moveTo>
                        <a:pt x="0" y="19"/>
                      </a:moveTo>
                      <a:lnTo>
                        <a:pt x="47" y="145"/>
                      </a:lnTo>
                      <a:lnTo>
                        <a:pt x="97" y="130"/>
                      </a:lnTo>
                      <a:lnTo>
                        <a:pt x="62" y="0"/>
                      </a:lnTo>
                    </a:path>
                  </a:pathLst>
                </a:custGeom>
                <a:noFill/>
                <a:ln w="9525" cap="flat">
                  <a:solidFill>
                    <a:srgbClr val="40404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628" name="Freeform 99">
                  <a:extLst>
                    <a:ext uri="{FF2B5EF4-FFF2-40B4-BE49-F238E27FC236}">
                      <a16:creationId xmlns:a16="http://schemas.microsoft.com/office/drawing/2014/main" id="{771F3E99-AC63-4E5F-964E-65723C7D5C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499850" y="4710113"/>
                  <a:ext cx="219075" cy="219075"/>
                </a:xfrm>
                <a:custGeom>
                  <a:avLst/>
                  <a:gdLst>
                    <a:gd name="T0" fmla="*/ 5 w 80"/>
                    <a:gd name="T1" fmla="*/ 50 h 80"/>
                    <a:gd name="T2" fmla="*/ 50 w 80"/>
                    <a:gd name="T3" fmla="*/ 74 h 80"/>
                    <a:gd name="T4" fmla="*/ 74 w 80"/>
                    <a:gd name="T5" fmla="*/ 29 h 80"/>
                    <a:gd name="T6" fmla="*/ 29 w 80"/>
                    <a:gd name="T7" fmla="*/ 5 h 80"/>
                    <a:gd name="T8" fmla="*/ 5 w 80"/>
                    <a:gd name="T9" fmla="*/ 5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0" h="80">
                      <a:moveTo>
                        <a:pt x="5" y="50"/>
                      </a:moveTo>
                      <a:cubicBezTo>
                        <a:pt x="11" y="69"/>
                        <a:pt x="31" y="80"/>
                        <a:pt x="50" y="74"/>
                      </a:cubicBezTo>
                      <a:cubicBezTo>
                        <a:pt x="69" y="68"/>
                        <a:pt x="80" y="48"/>
                        <a:pt x="74" y="29"/>
                      </a:cubicBezTo>
                      <a:cubicBezTo>
                        <a:pt x="68" y="10"/>
                        <a:pt x="48" y="0"/>
                        <a:pt x="29" y="5"/>
                      </a:cubicBezTo>
                      <a:cubicBezTo>
                        <a:pt x="10" y="11"/>
                        <a:pt x="0" y="31"/>
                        <a:pt x="5" y="50"/>
                      </a:cubicBezTo>
                      <a:close/>
                    </a:path>
                  </a:pathLst>
                </a:custGeom>
                <a:noFill/>
                <a:ln w="9525" cap="flat">
                  <a:solidFill>
                    <a:srgbClr val="40404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629" name="Line 100">
                  <a:extLst>
                    <a:ext uri="{FF2B5EF4-FFF2-40B4-BE49-F238E27FC236}">
                      <a16:creationId xmlns:a16="http://schemas.microsoft.com/office/drawing/2014/main" id="{5B23FF2A-3EB8-4FA8-9386-D34F77FDC90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1523663" y="4805363"/>
                  <a:ext cx="176213" cy="55563"/>
                </a:xfrm>
                <a:prstGeom prst="line">
                  <a:avLst/>
                </a:prstGeom>
                <a:noFill/>
                <a:ln w="9525" cap="flat">
                  <a:solidFill>
                    <a:srgbClr val="40404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</p:grpSp>
        </p:grpSp>
      </p:grpSp>
      <p:grpSp>
        <p:nvGrpSpPr>
          <p:cNvPr id="56" name="Группа 55"/>
          <p:cNvGrpSpPr/>
          <p:nvPr/>
        </p:nvGrpSpPr>
        <p:grpSpPr>
          <a:xfrm>
            <a:off x="2786370" y="2472131"/>
            <a:ext cx="452686" cy="435920"/>
            <a:chOff x="2786370" y="2541512"/>
            <a:chExt cx="452686" cy="435920"/>
          </a:xfrm>
        </p:grpSpPr>
        <p:sp>
          <p:nvSpPr>
            <p:cNvPr id="284" name="Скругленный прямоугольник 283"/>
            <p:cNvSpPr/>
            <p:nvPr/>
          </p:nvSpPr>
          <p:spPr>
            <a:xfrm>
              <a:off x="2786370" y="2541512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630" name="Group 4123">
              <a:extLst>
                <a:ext uri="{FF2B5EF4-FFF2-40B4-BE49-F238E27FC236}">
                  <a16:creationId xmlns:a16="http://schemas.microsoft.com/office/drawing/2014/main" id="{5800DE0B-8B3B-413D-8896-0B86A67154E8}"/>
                </a:ext>
              </a:extLst>
            </p:cNvPr>
            <p:cNvGrpSpPr/>
            <p:nvPr/>
          </p:nvGrpSpPr>
          <p:grpSpPr>
            <a:xfrm>
              <a:off x="2867012" y="2605224"/>
              <a:ext cx="291402" cy="308497"/>
              <a:chOff x="4194549" y="3089073"/>
              <a:chExt cx="359693" cy="380794"/>
            </a:xfrm>
          </p:grpSpPr>
          <p:sp>
            <p:nvSpPr>
              <p:cNvPr id="631" name="Freeform 118">
                <a:extLst>
                  <a:ext uri="{FF2B5EF4-FFF2-40B4-BE49-F238E27FC236}">
                    <a16:creationId xmlns:a16="http://schemas.microsoft.com/office/drawing/2014/main" id="{B493E200-AA3C-46BF-98B8-90B4B70359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4712" y="3361480"/>
                <a:ext cx="166898" cy="108387"/>
              </a:xfrm>
              <a:custGeom>
                <a:avLst/>
                <a:gdLst>
                  <a:gd name="T0" fmla="*/ 52 w 63"/>
                  <a:gd name="T1" fmla="*/ 3 h 41"/>
                  <a:gd name="T2" fmla="*/ 35 w 63"/>
                  <a:gd name="T3" fmla="*/ 4 h 41"/>
                  <a:gd name="T4" fmla="*/ 32 w 63"/>
                  <a:gd name="T5" fmla="*/ 4 h 41"/>
                  <a:gd name="T6" fmla="*/ 16 w 63"/>
                  <a:gd name="T7" fmla="*/ 3 h 41"/>
                  <a:gd name="T8" fmla="*/ 13 w 63"/>
                  <a:gd name="T9" fmla="*/ 6 h 41"/>
                  <a:gd name="T10" fmla="*/ 32 w 63"/>
                  <a:gd name="T11" fmla="*/ 41 h 41"/>
                  <a:gd name="T12" fmla="*/ 35 w 63"/>
                  <a:gd name="T13" fmla="*/ 41 h 41"/>
                  <a:gd name="T14" fmla="*/ 56 w 63"/>
                  <a:gd name="T15" fmla="*/ 9 h 41"/>
                  <a:gd name="T16" fmla="*/ 52 w 63"/>
                  <a:gd name="T17" fmla="*/ 3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41">
                    <a:moveTo>
                      <a:pt x="52" y="3"/>
                    </a:moveTo>
                    <a:cubicBezTo>
                      <a:pt x="45" y="0"/>
                      <a:pt x="39" y="1"/>
                      <a:pt x="35" y="4"/>
                    </a:cubicBezTo>
                    <a:cubicBezTo>
                      <a:pt x="34" y="5"/>
                      <a:pt x="33" y="5"/>
                      <a:pt x="32" y="4"/>
                    </a:cubicBezTo>
                    <a:cubicBezTo>
                      <a:pt x="28" y="1"/>
                      <a:pt x="22" y="0"/>
                      <a:pt x="16" y="3"/>
                    </a:cubicBezTo>
                    <a:cubicBezTo>
                      <a:pt x="15" y="4"/>
                      <a:pt x="14" y="5"/>
                      <a:pt x="13" y="6"/>
                    </a:cubicBezTo>
                    <a:cubicBezTo>
                      <a:pt x="0" y="23"/>
                      <a:pt x="27" y="38"/>
                      <a:pt x="32" y="41"/>
                    </a:cubicBezTo>
                    <a:cubicBezTo>
                      <a:pt x="33" y="41"/>
                      <a:pt x="34" y="41"/>
                      <a:pt x="35" y="41"/>
                    </a:cubicBezTo>
                    <a:cubicBezTo>
                      <a:pt x="40" y="38"/>
                      <a:pt x="63" y="26"/>
                      <a:pt x="56" y="9"/>
                    </a:cubicBezTo>
                    <a:cubicBezTo>
                      <a:pt x="55" y="6"/>
                      <a:pt x="54" y="5"/>
                      <a:pt x="52" y="3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32" name="Freeform 119">
                <a:extLst>
                  <a:ext uri="{FF2B5EF4-FFF2-40B4-BE49-F238E27FC236}">
                    <a16:creationId xmlns:a16="http://schemas.microsoft.com/office/drawing/2014/main" id="{97E85A4D-E4F8-4B3F-9F38-883183E261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4549" y="3089073"/>
                <a:ext cx="359693" cy="243632"/>
              </a:xfrm>
              <a:custGeom>
                <a:avLst/>
                <a:gdLst>
                  <a:gd name="T0" fmla="*/ 124 w 136"/>
                  <a:gd name="T1" fmla="*/ 76 h 92"/>
                  <a:gd name="T2" fmla="*/ 80 w 136"/>
                  <a:gd name="T3" fmla="*/ 76 h 92"/>
                  <a:gd name="T4" fmla="*/ 68 w 136"/>
                  <a:gd name="T5" fmla="*/ 92 h 92"/>
                  <a:gd name="T6" fmla="*/ 56 w 136"/>
                  <a:gd name="T7" fmla="*/ 76 h 92"/>
                  <a:gd name="T8" fmla="*/ 12 w 136"/>
                  <a:gd name="T9" fmla="*/ 76 h 92"/>
                  <a:gd name="T10" fmla="*/ 0 w 136"/>
                  <a:gd name="T11" fmla="*/ 64 h 92"/>
                  <a:gd name="T12" fmla="*/ 0 w 136"/>
                  <a:gd name="T13" fmla="*/ 12 h 92"/>
                  <a:gd name="T14" fmla="*/ 12 w 136"/>
                  <a:gd name="T15" fmla="*/ 0 h 92"/>
                  <a:gd name="T16" fmla="*/ 124 w 136"/>
                  <a:gd name="T17" fmla="*/ 0 h 92"/>
                  <a:gd name="T18" fmla="*/ 136 w 136"/>
                  <a:gd name="T19" fmla="*/ 12 h 92"/>
                  <a:gd name="T20" fmla="*/ 136 w 136"/>
                  <a:gd name="T21" fmla="*/ 64 h 92"/>
                  <a:gd name="T22" fmla="*/ 124 w 136"/>
                  <a:gd name="T23" fmla="*/ 7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6" h="92">
                    <a:moveTo>
                      <a:pt x="124" y="76"/>
                    </a:moveTo>
                    <a:cubicBezTo>
                      <a:pt x="80" y="76"/>
                      <a:pt x="80" y="76"/>
                      <a:pt x="80" y="76"/>
                    </a:cubicBezTo>
                    <a:cubicBezTo>
                      <a:pt x="68" y="92"/>
                      <a:pt x="68" y="92"/>
                      <a:pt x="68" y="92"/>
                    </a:cubicBezTo>
                    <a:cubicBezTo>
                      <a:pt x="56" y="76"/>
                      <a:pt x="56" y="76"/>
                      <a:pt x="56" y="76"/>
                    </a:cubicBezTo>
                    <a:cubicBezTo>
                      <a:pt x="12" y="76"/>
                      <a:pt x="12" y="76"/>
                      <a:pt x="12" y="76"/>
                    </a:cubicBezTo>
                    <a:cubicBezTo>
                      <a:pt x="5" y="76"/>
                      <a:pt x="0" y="71"/>
                      <a:pt x="0" y="64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131" y="0"/>
                      <a:pt x="136" y="5"/>
                      <a:pt x="136" y="12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6" y="71"/>
                      <a:pt x="131" y="76"/>
                      <a:pt x="124" y="76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33" name="Freeform 120">
                <a:extLst>
                  <a:ext uri="{FF2B5EF4-FFF2-40B4-BE49-F238E27FC236}">
                    <a16:creationId xmlns:a16="http://schemas.microsoft.com/office/drawing/2014/main" id="{590BC6C1-3288-4FA2-8BD2-EBE7F626E0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8814" y="3162929"/>
                <a:ext cx="21102" cy="52755"/>
              </a:xfrm>
              <a:custGeom>
                <a:avLst/>
                <a:gdLst>
                  <a:gd name="T0" fmla="*/ 0 w 22"/>
                  <a:gd name="T1" fmla="*/ 0 h 55"/>
                  <a:gd name="T2" fmla="*/ 22 w 22"/>
                  <a:gd name="T3" fmla="*/ 0 h 55"/>
                  <a:gd name="T4" fmla="*/ 22 w 22"/>
                  <a:gd name="T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" h="55">
                    <a:moveTo>
                      <a:pt x="0" y="0"/>
                    </a:moveTo>
                    <a:lnTo>
                      <a:pt x="22" y="0"/>
                    </a:lnTo>
                    <a:lnTo>
                      <a:pt x="22" y="55"/>
                    </a:ln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34" name="Freeform 121">
                <a:extLst>
                  <a:ext uri="{FF2B5EF4-FFF2-40B4-BE49-F238E27FC236}">
                    <a16:creationId xmlns:a16="http://schemas.microsoft.com/office/drawing/2014/main" id="{3A040688-AFB7-4876-9D81-6C39CA64AD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1569" y="3162929"/>
                <a:ext cx="31653" cy="52755"/>
              </a:xfrm>
              <a:custGeom>
                <a:avLst/>
                <a:gdLst>
                  <a:gd name="T0" fmla="*/ 6 w 12"/>
                  <a:gd name="T1" fmla="*/ 20 h 20"/>
                  <a:gd name="T2" fmla="*/ 6 w 12"/>
                  <a:gd name="T3" fmla="*/ 20 h 20"/>
                  <a:gd name="T4" fmla="*/ 0 w 12"/>
                  <a:gd name="T5" fmla="*/ 14 h 20"/>
                  <a:gd name="T6" fmla="*/ 0 w 12"/>
                  <a:gd name="T7" fmla="*/ 6 h 20"/>
                  <a:gd name="T8" fmla="*/ 6 w 12"/>
                  <a:gd name="T9" fmla="*/ 0 h 20"/>
                  <a:gd name="T10" fmla="*/ 6 w 12"/>
                  <a:gd name="T11" fmla="*/ 0 h 20"/>
                  <a:gd name="T12" fmla="*/ 12 w 12"/>
                  <a:gd name="T13" fmla="*/ 6 h 20"/>
                  <a:gd name="T14" fmla="*/ 12 w 12"/>
                  <a:gd name="T15" fmla="*/ 14 h 20"/>
                  <a:gd name="T16" fmla="*/ 6 w 12"/>
                  <a:gd name="T17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20">
                    <a:moveTo>
                      <a:pt x="6" y="20"/>
                    </a:moveTo>
                    <a:cubicBezTo>
                      <a:pt x="6" y="20"/>
                      <a:pt x="6" y="20"/>
                      <a:pt x="6" y="20"/>
                    </a:cubicBezTo>
                    <a:cubicBezTo>
                      <a:pt x="3" y="20"/>
                      <a:pt x="0" y="17"/>
                      <a:pt x="0" y="1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2" y="17"/>
                      <a:pt x="9" y="20"/>
                      <a:pt x="6" y="20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35" name="Freeform 122">
                <a:extLst>
                  <a:ext uri="{FF2B5EF4-FFF2-40B4-BE49-F238E27FC236}">
                    <a16:creationId xmlns:a16="http://schemas.microsoft.com/office/drawing/2014/main" id="{74324F8B-A6B8-4C43-B522-047F716D0C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4875" y="3162929"/>
                <a:ext cx="31653" cy="52755"/>
              </a:xfrm>
              <a:custGeom>
                <a:avLst/>
                <a:gdLst>
                  <a:gd name="T0" fmla="*/ 6 w 12"/>
                  <a:gd name="T1" fmla="*/ 20 h 20"/>
                  <a:gd name="T2" fmla="*/ 6 w 12"/>
                  <a:gd name="T3" fmla="*/ 20 h 20"/>
                  <a:gd name="T4" fmla="*/ 0 w 12"/>
                  <a:gd name="T5" fmla="*/ 14 h 20"/>
                  <a:gd name="T6" fmla="*/ 0 w 12"/>
                  <a:gd name="T7" fmla="*/ 6 h 20"/>
                  <a:gd name="T8" fmla="*/ 6 w 12"/>
                  <a:gd name="T9" fmla="*/ 0 h 20"/>
                  <a:gd name="T10" fmla="*/ 6 w 12"/>
                  <a:gd name="T11" fmla="*/ 0 h 20"/>
                  <a:gd name="T12" fmla="*/ 12 w 12"/>
                  <a:gd name="T13" fmla="*/ 6 h 20"/>
                  <a:gd name="T14" fmla="*/ 12 w 12"/>
                  <a:gd name="T15" fmla="*/ 14 h 20"/>
                  <a:gd name="T16" fmla="*/ 6 w 12"/>
                  <a:gd name="T17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20">
                    <a:moveTo>
                      <a:pt x="6" y="20"/>
                    </a:moveTo>
                    <a:cubicBezTo>
                      <a:pt x="6" y="20"/>
                      <a:pt x="6" y="20"/>
                      <a:pt x="6" y="20"/>
                    </a:cubicBezTo>
                    <a:cubicBezTo>
                      <a:pt x="3" y="20"/>
                      <a:pt x="0" y="17"/>
                      <a:pt x="0" y="1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2" y="17"/>
                      <a:pt x="9" y="20"/>
                      <a:pt x="6" y="20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36" name="Freeform 123">
                <a:extLst>
                  <a:ext uri="{FF2B5EF4-FFF2-40B4-BE49-F238E27FC236}">
                    <a16:creationId xmlns:a16="http://schemas.microsoft.com/office/drawing/2014/main" id="{A2C9A9CC-CEFD-4A9D-88E7-CC3C13B979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8181" y="3162929"/>
                <a:ext cx="31653" cy="52755"/>
              </a:xfrm>
              <a:custGeom>
                <a:avLst/>
                <a:gdLst>
                  <a:gd name="T0" fmla="*/ 6 w 12"/>
                  <a:gd name="T1" fmla="*/ 20 h 20"/>
                  <a:gd name="T2" fmla="*/ 6 w 12"/>
                  <a:gd name="T3" fmla="*/ 20 h 20"/>
                  <a:gd name="T4" fmla="*/ 0 w 12"/>
                  <a:gd name="T5" fmla="*/ 14 h 20"/>
                  <a:gd name="T6" fmla="*/ 0 w 12"/>
                  <a:gd name="T7" fmla="*/ 6 h 20"/>
                  <a:gd name="T8" fmla="*/ 6 w 12"/>
                  <a:gd name="T9" fmla="*/ 0 h 20"/>
                  <a:gd name="T10" fmla="*/ 6 w 12"/>
                  <a:gd name="T11" fmla="*/ 0 h 20"/>
                  <a:gd name="T12" fmla="*/ 12 w 12"/>
                  <a:gd name="T13" fmla="*/ 6 h 20"/>
                  <a:gd name="T14" fmla="*/ 12 w 12"/>
                  <a:gd name="T15" fmla="*/ 14 h 20"/>
                  <a:gd name="T16" fmla="*/ 6 w 12"/>
                  <a:gd name="T17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20">
                    <a:moveTo>
                      <a:pt x="6" y="20"/>
                    </a:moveTo>
                    <a:cubicBezTo>
                      <a:pt x="6" y="20"/>
                      <a:pt x="6" y="20"/>
                      <a:pt x="6" y="20"/>
                    </a:cubicBezTo>
                    <a:cubicBezTo>
                      <a:pt x="3" y="20"/>
                      <a:pt x="0" y="17"/>
                      <a:pt x="0" y="1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2" y="17"/>
                      <a:pt x="9" y="20"/>
                      <a:pt x="6" y="20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57" name="Группа 56"/>
          <p:cNvGrpSpPr/>
          <p:nvPr/>
        </p:nvGrpSpPr>
        <p:grpSpPr>
          <a:xfrm>
            <a:off x="7369068" y="3571648"/>
            <a:ext cx="452686" cy="435920"/>
            <a:chOff x="7369068" y="3641029"/>
            <a:chExt cx="452686" cy="435920"/>
          </a:xfrm>
        </p:grpSpPr>
        <p:sp>
          <p:nvSpPr>
            <p:cNvPr id="340" name="Скругленный прямоугольник 339"/>
            <p:cNvSpPr/>
            <p:nvPr/>
          </p:nvSpPr>
          <p:spPr>
            <a:xfrm>
              <a:off x="7369068" y="3641029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637" name="Group 4119">
              <a:extLst>
                <a:ext uri="{FF2B5EF4-FFF2-40B4-BE49-F238E27FC236}">
                  <a16:creationId xmlns:a16="http://schemas.microsoft.com/office/drawing/2014/main" id="{E11A58A0-8E16-41A8-B2D0-7BBFF10834D4}"/>
                </a:ext>
              </a:extLst>
            </p:cNvPr>
            <p:cNvGrpSpPr/>
            <p:nvPr/>
          </p:nvGrpSpPr>
          <p:grpSpPr>
            <a:xfrm>
              <a:off x="7415167" y="3702420"/>
              <a:ext cx="360488" cy="313139"/>
              <a:chOff x="506347" y="4038281"/>
              <a:chExt cx="621654" cy="540000"/>
            </a:xfrm>
          </p:grpSpPr>
          <p:sp>
            <p:nvSpPr>
              <p:cNvPr id="638" name="Freeform 75">
                <a:extLst>
                  <a:ext uri="{FF2B5EF4-FFF2-40B4-BE49-F238E27FC236}">
                    <a16:creationId xmlns:a16="http://schemas.microsoft.com/office/drawing/2014/main" id="{14E285C7-281C-4F22-9CFB-913FB94F29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6509" y="4327878"/>
                <a:ext cx="212299" cy="250403"/>
              </a:xfrm>
              <a:custGeom>
                <a:avLst/>
                <a:gdLst>
                  <a:gd name="T0" fmla="*/ 65 w 65"/>
                  <a:gd name="T1" fmla="*/ 77 h 77"/>
                  <a:gd name="T2" fmla="*/ 40 w 65"/>
                  <a:gd name="T3" fmla="*/ 18 h 77"/>
                  <a:gd name="T4" fmla="*/ 0 w 65"/>
                  <a:gd name="T5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5" h="77">
                    <a:moveTo>
                      <a:pt x="65" y="77"/>
                    </a:moveTo>
                    <a:cubicBezTo>
                      <a:pt x="65" y="77"/>
                      <a:pt x="65" y="31"/>
                      <a:pt x="40" y="18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39" name="Freeform 76">
                <a:extLst>
                  <a:ext uri="{FF2B5EF4-FFF2-40B4-BE49-F238E27FC236}">
                    <a16:creationId xmlns:a16="http://schemas.microsoft.com/office/drawing/2014/main" id="{84C30F85-3C8D-4071-86B4-2E10352034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541" y="4327878"/>
                <a:ext cx="213387" cy="250403"/>
              </a:xfrm>
              <a:custGeom>
                <a:avLst/>
                <a:gdLst>
                  <a:gd name="T0" fmla="*/ 0 w 65"/>
                  <a:gd name="T1" fmla="*/ 77 h 77"/>
                  <a:gd name="T2" fmla="*/ 25 w 65"/>
                  <a:gd name="T3" fmla="*/ 18 h 77"/>
                  <a:gd name="T4" fmla="*/ 65 w 65"/>
                  <a:gd name="T5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5" h="77">
                    <a:moveTo>
                      <a:pt x="0" y="77"/>
                    </a:moveTo>
                    <a:cubicBezTo>
                      <a:pt x="0" y="77"/>
                      <a:pt x="0" y="31"/>
                      <a:pt x="25" y="18"/>
                    </a:cubicBezTo>
                    <a:cubicBezTo>
                      <a:pt x="65" y="0"/>
                      <a:pt x="65" y="0"/>
                      <a:pt x="65" y="0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0" name="Freeform 77">
                <a:extLst>
                  <a:ext uri="{FF2B5EF4-FFF2-40B4-BE49-F238E27FC236}">
                    <a16:creationId xmlns:a16="http://schemas.microsoft.com/office/drawing/2014/main" id="{F519A380-9D82-4C93-B88C-F57006DFA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7315" y="4347474"/>
                <a:ext cx="91451" cy="81654"/>
              </a:xfrm>
              <a:custGeom>
                <a:avLst/>
                <a:gdLst>
                  <a:gd name="T0" fmla="*/ 25 w 28"/>
                  <a:gd name="T1" fmla="*/ 0 h 25"/>
                  <a:gd name="T2" fmla="*/ 28 w 28"/>
                  <a:gd name="T3" fmla="*/ 25 h 25"/>
                  <a:gd name="T4" fmla="*/ 0 w 28"/>
                  <a:gd name="T5" fmla="*/ 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5">
                    <a:moveTo>
                      <a:pt x="25" y="0"/>
                    </a:moveTo>
                    <a:cubicBezTo>
                      <a:pt x="28" y="25"/>
                      <a:pt x="28" y="25"/>
                      <a:pt x="28" y="25"/>
                    </a:cubicBezTo>
                    <a:cubicBezTo>
                      <a:pt x="8" y="20"/>
                      <a:pt x="0" y="6"/>
                      <a:pt x="0" y="6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1" name="Freeform 78">
                <a:extLst>
                  <a:ext uri="{FF2B5EF4-FFF2-40B4-BE49-F238E27FC236}">
                    <a16:creationId xmlns:a16="http://schemas.microsoft.com/office/drawing/2014/main" id="{FB019544-EB94-410C-BE68-C107AE7E83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6670" y="4347474"/>
                <a:ext cx="91451" cy="81654"/>
              </a:xfrm>
              <a:custGeom>
                <a:avLst/>
                <a:gdLst>
                  <a:gd name="T0" fmla="*/ 3 w 28"/>
                  <a:gd name="T1" fmla="*/ 0 h 25"/>
                  <a:gd name="T2" fmla="*/ 0 w 28"/>
                  <a:gd name="T3" fmla="*/ 25 h 25"/>
                  <a:gd name="T4" fmla="*/ 28 w 28"/>
                  <a:gd name="T5" fmla="*/ 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5">
                    <a:moveTo>
                      <a:pt x="3" y="0"/>
                    </a:moveTo>
                    <a:cubicBezTo>
                      <a:pt x="0" y="25"/>
                      <a:pt x="0" y="25"/>
                      <a:pt x="0" y="25"/>
                    </a:cubicBezTo>
                    <a:cubicBezTo>
                      <a:pt x="20" y="20"/>
                      <a:pt x="28" y="6"/>
                      <a:pt x="28" y="6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2" name="Freeform 79">
                <a:extLst>
                  <a:ext uri="{FF2B5EF4-FFF2-40B4-BE49-F238E27FC236}">
                    <a16:creationId xmlns:a16="http://schemas.microsoft.com/office/drawing/2014/main" id="{8D8E83C9-F202-4627-826F-706E0B93AD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7315" y="4367071"/>
                <a:ext cx="26129" cy="211210"/>
              </a:xfrm>
              <a:custGeom>
                <a:avLst/>
                <a:gdLst>
                  <a:gd name="T0" fmla="*/ 0 w 8"/>
                  <a:gd name="T1" fmla="*/ 0 h 65"/>
                  <a:gd name="T2" fmla="*/ 0 w 8"/>
                  <a:gd name="T3" fmla="*/ 19 h 65"/>
                  <a:gd name="T4" fmla="*/ 6 w 8"/>
                  <a:gd name="T5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65">
                    <a:moveTo>
                      <a:pt x="0" y="0"/>
                    </a:moveTo>
                    <a:cubicBezTo>
                      <a:pt x="0" y="0"/>
                      <a:pt x="8" y="11"/>
                      <a:pt x="0" y="19"/>
                    </a:cubicBezTo>
                    <a:cubicBezTo>
                      <a:pt x="0" y="19"/>
                      <a:pt x="6" y="55"/>
                      <a:pt x="6" y="65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3" name="Freeform 80">
                <a:extLst>
                  <a:ext uri="{FF2B5EF4-FFF2-40B4-BE49-F238E27FC236}">
                    <a16:creationId xmlns:a16="http://schemas.microsoft.com/office/drawing/2014/main" id="{751C9D3D-40B7-4258-B955-343E4DB888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993" y="4367071"/>
                <a:ext cx="26129" cy="211210"/>
              </a:xfrm>
              <a:custGeom>
                <a:avLst/>
                <a:gdLst>
                  <a:gd name="T0" fmla="*/ 2 w 8"/>
                  <a:gd name="T1" fmla="*/ 65 h 65"/>
                  <a:gd name="T2" fmla="*/ 8 w 8"/>
                  <a:gd name="T3" fmla="*/ 19 h 65"/>
                  <a:gd name="T4" fmla="*/ 8 w 8"/>
                  <a:gd name="T5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65">
                    <a:moveTo>
                      <a:pt x="2" y="65"/>
                    </a:moveTo>
                    <a:cubicBezTo>
                      <a:pt x="2" y="55"/>
                      <a:pt x="8" y="19"/>
                      <a:pt x="8" y="19"/>
                    </a:cubicBezTo>
                    <a:cubicBezTo>
                      <a:pt x="0" y="11"/>
                      <a:pt x="8" y="0"/>
                      <a:pt x="8" y="0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4" name="Freeform 81">
                <a:extLst>
                  <a:ext uri="{FF2B5EF4-FFF2-40B4-BE49-F238E27FC236}">
                    <a16:creationId xmlns:a16="http://schemas.microsoft.com/office/drawing/2014/main" id="{10F8A99C-6277-4195-839B-770BD7A18B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3404" y="4038281"/>
                <a:ext cx="228629" cy="260201"/>
              </a:xfrm>
              <a:custGeom>
                <a:avLst/>
                <a:gdLst>
                  <a:gd name="T0" fmla="*/ 47 w 70"/>
                  <a:gd name="T1" fmla="*/ 80 h 80"/>
                  <a:gd name="T2" fmla="*/ 68 w 70"/>
                  <a:gd name="T3" fmla="*/ 41 h 80"/>
                  <a:gd name="T4" fmla="*/ 66 w 70"/>
                  <a:gd name="T5" fmla="*/ 16 h 80"/>
                  <a:gd name="T6" fmla="*/ 48 w 70"/>
                  <a:gd name="T7" fmla="*/ 2 h 80"/>
                  <a:gd name="T8" fmla="*/ 35 w 70"/>
                  <a:gd name="T9" fmla="*/ 0 h 80"/>
                  <a:gd name="T10" fmla="*/ 22 w 70"/>
                  <a:gd name="T11" fmla="*/ 2 h 80"/>
                  <a:gd name="T12" fmla="*/ 4 w 70"/>
                  <a:gd name="T13" fmla="*/ 16 h 80"/>
                  <a:gd name="T14" fmla="*/ 2 w 70"/>
                  <a:gd name="T15" fmla="*/ 41 h 80"/>
                  <a:gd name="T16" fmla="*/ 23 w 70"/>
                  <a:gd name="T17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0" h="80">
                    <a:moveTo>
                      <a:pt x="47" y="80"/>
                    </a:moveTo>
                    <a:cubicBezTo>
                      <a:pt x="65" y="72"/>
                      <a:pt x="67" y="56"/>
                      <a:pt x="68" y="41"/>
                    </a:cubicBezTo>
                    <a:cubicBezTo>
                      <a:pt x="69" y="33"/>
                      <a:pt x="70" y="24"/>
                      <a:pt x="66" y="16"/>
                    </a:cubicBezTo>
                    <a:cubicBezTo>
                      <a:pt x="62" y="9"/>
                      <a:pt x="55" y="4"/>
                      <a:pt x="48" y="2"/>
                    </a:cubicBezTo>
                    <a:cubicBezTo>
                      <a:pt x="44" y="0"/>
                      <a:pt x="39" y="0"/>
                      <a:pt x="35" y="0"/>
                    </a:cubicBezTo>
                    <a:cubicBezTo>
                      <a:pt x="31" y="0"/>
                      <a:pt x="26" y="0"/>
                      <a:pt x="22" y="2"/>
                    </a:cubicBezTo>
                    <a:cubicBezTo>
                      <a:pt x="15" y="4"/>
                      <a:pt x="8" y="9"/>
                      <a:pt x="4" y="16"/>
                    </a:cubicBezTo>
                    <a:cubicBezTo>
                      <a:pt x="0" y="24"/>
                      <a:pt x="1" y="33"/>
                      <a:pt x="2" y="41"/>
                    </a:cubicBezTo>
                    <a:cubicBezTo>
                      <a:pt x="3" y="56"/>
                      <a:pt x="5" y="72"/>
                      <a:pt x="23" y="80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5" name="Freeform 82">
                <a:extLst>
                  <a:ext uri="{FF2B5EF4-FFF2-40B4-BE49-F238E27FC236}">
                    <a16:creationId xmlns:a16="http://schemas.microsoft.com/office/drawing/2014/main" id="{72AF3602-41E3-4141-9AF2-CA76C1CADA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8928" y="4288684"/>
                <a:ext cx="117580" cy="78387"/>
              </a:xfrm>
              <a:custGeom>
                <a:avLst/>
                <a:gdLst>
                  <a:gd name="T0" fmla="*/ 36 w 36"/>
                  <a:gd name="T1" fmla="*/ 0 h 24"/>
                  <a:gd name="T2" fmla="*/ 36 w 36"/>
                  <a:gd name="T3" fmla="*/ 6 h 24"/>
                  <a:gd name="T4" fmla="*/ 18 w 36"/>
                  <a:gd name="T5" fmla="*/ 24 h 24"/>
                  <a:gd name="T6" fmla="*/ 18 w 36"/>
                  <a:gd name="T7" fmla="*/ 24 h 24"/>
                  <a:gd name="T8" fmla="*/ 0 w 36"/>
                  <a:gd name="T9" fmla="*/ 6 h 24"/>
                  <a:gd name="T10" fmla="*/ 0 w 36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6" h="24">
                    <a:moveTo>
                      <a:pt x="36" y="0"/>
                    </a:moveTo>
                    <a:cubicBezTo>
                      <a:pt x="36" y="6"/>
                      <a:pt x="36" y="6"/>
                      <a:pt x="36" y="6"/>
                    </a:cubicBezTo>
                    <a:cubicBezTo>
                      <a:pt x="36" y="16"/>
                      <a:pt x="28" y="24"/>
                      <a:pt x="18" y="24"/>
                    </a:cubicBezTo>
                    <a:cubicBezTo>
                      <a:pt x="18" y="24"/>
                      <a:pt x="18" y="24"/>
                      <a:pt x="18" y="24"/>
                    </a:cubicBezTo>
                    <a:cubicBezTo>
                      <a:pt x="8" y="24"/>
                      <a:pt x="0" y="16"/>
                      <a:pt x="0" y="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6" name="Freeform 83">
                <a:extLst>
                  <a:ext uri="{FF2B5EF4-FFF2-40B4-BE49-F238E27FC236}">
                    <a16:creationId xmlns:a16="http://schemas.microsoft.com/office/drawing/2014/main" id="{5661DBD9-4774-438E-B168-A03B2D8822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347" y="4308281"/>
                <a:ext cx="161129" cy="120847"/>
              </a:xfrm>
              <a:custGeom>
                <a:avLst/>
                <a:gdLst>
                  <a:gd name="T0" fmla="*/ 49 w 49"/>
                  <a:gd name="T1" fmla="*/ 3 h 37"/>
                  <a:gd name="T2" fmla="*/ 33 w 49"/>
                  <a:gd name="T3" fmla="*/ 0 h 37"/>
                  <a:gd name="T4" fmla="*/ 12 w 49"/>
                  <a:gd name="T5" fmla="*/ 9 h 37"/>
                  <a:gd name="T6" fmla="*/ 0 w 49"/>
                  <a:gd name="T7" fmla="*/ 30 h 37"/>
                  <a:gd name="T8" fmla="*/ 0 w 49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7">
                    <a:moveTo>
                      <a:pt x="49" y="3"/>
                    </a:moveTo>
                    <a:cubicBezTo>
                      <a:pt x="40" y="3"/>
                      <a:pt x="33" y="0"/>
                      <a:pt x="33" y="0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0" y="15"/>
                      <a:pt x="0" y="30"/>
                      <a:pt x="0" y="30"/>
                    </a:cubicBezTo>
                    <a:cubicBezTo>
                      <a:pt x="0" y="37"/>
                      <a:pt x="0" y="37"/>
                      <a:pt x="0" y="37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7" name="Freeform 84">
                <a:extLst>
                  <a:ext uri="{FF2B5EF4-FFF2-40B4-BE49-F238E27FC236}">
                    <a16:creationId xmlns:a16="http://schemas.microsoft.com/office/drawing/2014/main" id="{F8804CA5-19AC-4F9B-9C4E-27611CA0C4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065" y="4126467"/>
                <a:ext cx="66411" cy="139354"/>
              </a:xfrm>
              <a:custGeom>
                <a:avLst/>
                <a:gdLst>
                  <a:gd name="T0" fmla="*/ 20 w 20"/>
                  <a:gd name="T1" fmla="*/ 0 h 43"/>
                  <a:gd name="T2" fmla="*/ 12 w 20"/>
                  <a:gd name="T3" fmla="*/ 2 h 43"/>
                  <a:gd name="T4" fmla="*/ 2 w 20"/>
                  <a:gd name="T5" fmla="*/ 10 h 43"/>
                  <a:gd name="T6" fmla="*/ 0 w 20"/>
                  <a:gd name="T7" fmla="*/ 24 h 43"/>
                  <a:gd name="T8" fmla="*/ 11 w 20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43">
                    <a:moveTo>
                      <a:pt x="20" y="0"/>
                    </a:moveTo>
                    <a:cubicBezTo>
                      <a:pt x="17" y="0"/>
                      <a:pt x="15" y="1"/>
                      <a:pt x="12" y="2"/>
                    </a:cubicBezTo>
                    <a:cubicBezTo>
                      <a:pt x="8" y="3"/>
                      <a:pt x="4" y="6"/>
                      <a:pt x="2" y="10"/>
                    </a:cubicBezTo>
                    <a:cubicBezTo>
                      <a:pt x="0" y="14"/>
                      <a:pt x="0" y="19"/>
                      <a:pt x="0" y="24"/>
                    </a:cubicBezTo>
                    <a:cubicBezTo>
                      <a:pt x="2" y="33"/>
                      <a:pt x="1" y="37"/>
                      <a:pt x="11" y="43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8" name="Freeform 85">
                <a:extLst>
                  <a:ext uri="{FF2B5EF4-FFF2-40B4-BE49-F238E27FC236}">
                    <a16:creationId xmlns:a16="http://schemas.microsoft.com/office/drawing/2014/main" id="{E36D2A0A-3893-4B85-A3AD-B24D2958C9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7960" y="4308281"/>
                <a:ext cx="160041" cy="120847"/>
              </a:xfrm>
              <a:custGeom>
                <a:avLst/>
                <a:gdLst>
                  <a:gd name="T0" fmla="*/ 0 w 49"/>
                  <a:gd name="T1" fmla="*/ 3 h 37"/>
                  <a:gd name="T2" fmla="*/ 16 w 49"/>
                  <a:gd name="T3" fmla="*/ 0 h 37"/>
                  <a:gd name="T4" fmla="*/ 37 w 49"/>
                  <a:gd name="T5" fmla="*/ 9 h 37"/>
                  <a:gd name="T6" fmla="*/ 49 w 49"/>
                  <a:gd name="T7" fmla="*/ 30 h 37"/>
                  <a:gd name="T8" fmla="*/ 49 w 49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7">
                    <a:moveTo>
                      <a:pt x="0" y="3"/>
                    </a:moveTo>
                    <a:cubicBezTo>
                      <a:pt x="9" y="3"/>
                      <a:pt x="16" y="0"/>
                      <a:pt x="16" y="0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49" y="15"/>
                      <a:pt x="49" y="30"/>
                      <a:pt x="49" y="30"/>
                    </a:cubicBezTo>
                    <a:cubicBezTo>
                      <a:pt x="49" y="37"/>
                      <a:pt x="49" y="37"/>
                      <a:pt x="49" y="37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9" name="Freeform 86">
                <a:extLst>
                  <a:ext uri="{FF2B5EF4-FFF2-40B4-BE49-F238E27FC236}">
                    <a16:creationId xmlns:a16="http://schemas.microsoft.com/office/drawing/2014/main" id="{9F06C31E-820D-477C-8788-A8D3464E7C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7960" y="4126467"/>
                <a:ext cx="65322" cy="139354"/>
              </a:xfrm>
              <a:custGeom>
                <a:avLst/>
                <a:gdLst>
                  <a:gd name="T0" fmla="*/ 9 w 20"/>
                  <a:gd name="T1" fmla="*/ 43 h 43"/>
                  <a:gd name="T2" fmla="*/ 20 w 20"/>
                  <a:gd name="T3" fmla="*/ 24 h 43"/>
                  <a:gd name="T4" fmla="*/ 18 w 20"/>
                  <a:gd name="T5" fmla="*/ 10 h 43"/>
                  <a:gd name="T6" fmla="*/ 8 w 20"/>
                  <a:gd name="T7" fmla="*/ 2 h 43"/>
                  <a:gd name="T8" fmla="*/ 0 w 20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43">
                    <a:moveTo>
                      <a:pt x="9" y="43"/>
                    </a:moveTo>
                    <a:cubicBezTo>
                      <a:pt x="19" y="37"/>
                      <a:pt x="18" y="33"/>
                      <a:pt x="20" y="24"/>
                    </a:cubicBezTo>
                    <a:cubicBezTo>
                      <a:pt x="20" y="19"/>
                      <a:pt x="20" y="14"/>
                      <a:pt x="18" y="10"/>
                    </a:cubicBezTo>
                    <a:cubicBezTo>
                      <a:pt x="16" y="6"/>
                      <a:pt x="12" y="3"/>
                      <a:pt x="8" y="2"/>
                    </a:cubicBezTo>
                    <a:cubicBezTo>
                      <a:pt x="5" y="1"/>
                      <a:pt x="3" y="0"/>
                      <a:pt x="0" y="0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58" name="Группа 57"/>
          <p:cNvGrpSpPr/>
          <p:nvPr/>
        </p:nvGrpSpPr>
        <p:grpSpPr>
          <a:xfrm>
            <a:off x="2786370" y="4671166"/>
            <a:ext cx="452686" cy="435920"/>
            <a:chOff x="2786370" y="4740547"/>
            <a:chExt cx="452686" cy="435920"/>
          </a:xfrm>
        </p:grpSpPr>
        <p:sp>
          <p:nvSpPr>
            <p:cNvPr id="385" name="Скругленный прямоугольник 384"/>
            <p:cNvSpPr/>
            <p:nvPr/>
          </p:nvSpPr>
          <p:spPr>
            <a:xfrm>
              <a:off x="2786370" y="4740547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650" name="Group 972">
              <a:extLst>
                <a:ext uri="{FF2B5EF4-FFF2-40B4-BE49-F238E27FC236}">
                  <a16:creationId xmlns:a16="http://schemas.microsoft.com/office/drawing/2014/main" id="{82605159-EB3F-47FB-A13E-E885CB3FD030}"/>
                </a:ext>
              </a:extLst>
            </p:cNvPr>
            <p:cNvGrpSpPr/>
            <p:nvPr/>
          </p:nvGrpSpPr>
          <p:grpSpPr>
            <a:xfrm>
              <a:off x="2848838" y="4815796"/>
              <a:ext cx="327751" cy="285423"/>
              <a:chOff x="9887264" y="3094525"/>
              <a:chExt cx="512500" cy="446312"/>
            </a:xfrm>
          </p:grpSpPr>
          <p:sp>
            <p:nvSpPr>
              <p:cNvPr id="651" name="Freeform 134">
                <a:extLst>
                  <a:ext uri="{FF2B5EF4-FFF2-40B4-BE49-F238E27FC236}">
                    <a16:creationId xmlns:a16="http://schemas.microsoft.com/office/drawing/2014/main" id="{DC08D670-337B-45E3-BE29-87FF593993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37525" y="3142823"/>
                <a:ext cx="279057" cy="181566"/>
              </a:xfrm>
              <a:custGeom>
                <a:avLst/>
                <a:gdLst>
                  <a:gd name="T0" fmla="*/ 104 w 104"/>
                  <a:gd name="T1" fmla="*/ 0 h 68"/>
                  <a:gd name="T2" fmla="*/ 89 w 104"/>
                  <a:gd name="T3" fmla="*/ 10 h 68"/>
                  <a:gd name="T4" fmla="*/ 46 w 104"/>
                  <a:gd name="T5" fmla="*/ 10 h 68"/>
                  <a:gd name="T6" fmla="*/ 18 w 104"/>
                  <a:gd name="T7" fmla="*/ 20 h 68"/>
                  <a:gd name="T8" fmla="*/ 12 w 104"/>
                  <a:gd name="T9" fmla="*/ 26 h 68"/>
                  <a:gd name="T10" fmla="*/ 0 w 104"/>
                  <a:gd name="T11" fmla="*/ 54 h 68"/>
                  <a:gd name="T12" fmla="*/ 5 w 104"/>
                  <a:gd name="T13" fmla="*/ 63 h 68"/>
                  <a:gd name="T14" fmla="*/ 23 w 104"/>
                  <a:gd name="T15" fmla="*/ 63 h 68"/>
                  <a:gd name="T16" fmla="*/ 39 w 104"/>
                  <a:gd name="T17" fmla="*/ 40 h 68"/>
                  <a:gd name="T18" fmla="*/ 67 w 104"/>
                  <a:gd name="T19" fmla="*/ 4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4" h="68">
                    <a:moveTo>
                      <a:pt x="104" y="0"/>
                    </a:moveTo>
                    <a:cubicBezTo>
                      <a:pt x="89" y="10"/>
                      <a:pt x="89" y="10"/>
                      <a:pt x="89" y="10"/>
                    </a:cubicBezTo>
                    <a:cubicBezTo>
                      <a:pt x="89" y="10"/>
                      <a:pt x="57" y="9"/>
                      <a:pt x="46" y="10"/>
                    </a:cubicBezTo>
                    <a:cubicBezTo>
                      <a:pt x="40" y="10"/>
                      <a:pt x="25" y="17"/>
                      <a:pt x="18" y="20"/>
                    </a:cubicBezTo>
                    <a:cubicBezTo>
                      <a:pt x="15" y="21"/>
                      <a:pt x="13" y="24"/>
                      <a:pt x="12" y="26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54"/>
                      <a:pt x="0" y="59"/>
                      <a:pt x="5" y="63"/>
                    </a:cubicBezTo>
                    <a:cubicBezTo>
                      <a:pt x="9" y="68"/>
                      <a:pt x="19" y="66"/>
                      <a:pt x="23" y="63"/>
                    </a:cubicBezTo>
                    <a:cubicBezTo>
                      <a:pt x="28" y="59"/>
                      <a:pt x="39" y="40"/>
                      <a:pt x="39" y="40"/>
                    </a:cubicBezTo>
                    <a:cubicBezTo>
                      <a:pt x="67" y="40"/>
                      <a:pt x="67" y="40"/>
                      <a:pt x="67" y="40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2" name="Freeform 135">
                <a:extLst>
                  <a:ext uri="{FF2B5EF4-FFF2-40B4-BE49-F238E27FC236}">
                    <a16:creationId xmlns:a16="http://schemas.microsoft.com/office/drawing/2014/main" id="{88EDA423-E531-41DE-B35D-B96A52A457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16583" y="3094525"/>
                <a:ext cx="83181" cy="173516"/>
              </a:xfrm>
              <a:custGeom>
                <a:avLst/>
                <a:gdLst>
                  <a:gd name="T0" fmla="*/ 31 w 31"/>
                  <a:gd name="T1" fmla="*/ 65 h 65"/>
                  <a:gd name="T2" fmla="*/ 0 w 31"/>
                  <a:gd name="T3" fmla="*/ 18 h 65"/>
                  <a:gd name="T4" fmla="*/ 31 w 31"/>
                  <a:gd name="T5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65">
                    <a:moveTo>
                      <a:pt x="31" y="65"/>
                    </a:moveTo>
                    <a:cubicBezTo>
                      <a:pt x="31" y="65"/>
                      <a:pt x="26" y="41"/>
                      <a:pt x="0" y="18"/>
                    </a:cubicBezTo>
                    <a:cubicBezTo>
                      <a:pt x="31" y="0"/>
                      <a:pt x="31" y="0"/>
                      <a:pt x="31" y="0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3" name="Freeform 136">
                <a:extLst>
                  <a:ext uri="{FF2B5EF4-FFF2-40B4-BE49-F238E27FC236}">
                    <a16:creationId xmlns:a16="http://schemas.microsoft.com/office/drawing/2014/main" id="{8166CE7B-EEB1-4D6D-9648-3269ECE2D2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48782" y="3316340"/>
                <a:ext cx="50982" cy="59031"/>
              </a:xfrm>
              <a:custGeom>
                <a:avLst/>
                <a:gdLst>
                  <a:gd name="T0" fmla="*/ 0 w 19"/>
                  <a:gd name="T1" fmla="*/ 22 h 22"/>
                  <a:gd name="T2" fmla="*/ 8 w 19"/>
                  <a:gd name="T3" fmla="*/ 6 h 22"/>
                  <a:gd name="T4" fmla="*/ 19 w 19"/>
                  <a:gd name="T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22">
                    <a:moveTo>
                      <a:pt x="0" y="22"/>
                    </a:moveTo>
                    <a:cubicBezTo>
                      <a:pt x="0" y="22"/>
                      <a:pt x="7" y="12"/>
                      <a:pt x="8" y="6"/>
                    </a:cubicBezTo>
                    <a:cubicBezTo>
                      <a:pt x="19" y="0"/>
                      <a:pt x="19" y="0"/>
                      <a:pt x="19" y="0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4" name="Freeform 137">
                <a:extLst>
                  <a:ext uri="{FF2B5EF4-FFF2-40B4-BE49-F238E27FC236}">
                    <a16:creationId xmlns:a16="http://schemas.microsoft.com/office/drawing/2014/main" id="{A86F36F7-024B-4966-982A-0F7F643DF6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09253" y="3316340"/>
                <a:ext cx="136846" cy="144895"/>
              </a:xfrm>
              <a:custGeom>
                <a:avLst/>
                <a:gdLst>
                  <a:gd name="T0" fmla="*/ 9 w 51"/>
                  <a:gd name="T1" fmla="*/ 0 h 54"/>
                  <a:gd name="T2" fmla="*/ 46 w 51"/>
                  <a:gd name="T3" fmla="*/ 33 h 54"/>
                  <a:gd name="T4" fmla="*/ 47 w 51"/>
                  <a:gd name="T5" fmla="*/ 49 h 54"/>
                  <a:gd name="T6" fmla="*/ 47 w 51"/>
                  <a:gd name="T7" fmla="*/ 49 h 54"/>
                  <a:gd name="T8" fmla="*/ 31 w 51"/>
                  <a:gd name="T9" fmla="*/ 50 h 54"/>
                  <a:gd name="T10" fmla="*/ 0 w 51"/>
                  <a:gd name="T11" fmla="*/ 25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1" h="54">
                    <a:moveTo>
                      <a:pt x="9" y="0"/>
                    </a:moveTo>
                    <a:cubicBezTo>
                      <a:pt x="46" y="33"/>
                      <a:pt x="46" y="33"/>
                      <a:pt x="46" y="33"/>
                    </a:cubicBezTo>
                    <a:cubicBezTo>
                      <a:pt x="51" y="37"/>
                      <a:pt x="51" y="44"/>
                      <a:pt x="47" y="49"/>
                    </a:cubicBezTo>
                    <a:cubicBezTo>
                      <a:pt x="47" y="49"/>
                      <a:pt x="47" y="49"/>
                      <a:pt x="47" y="49"/>
                    </a:cubicBezTo>
                    <a:cubicBezTo>
                      <a:pt x="43" y="53"/>
                      <a:pt x="36" y="54"/>
                      <a:pt x="31" y="50"/>
                    </a:cubicBezTo>
                    <a:cubicBezTo>
                      <a:pt x="0" y="25"/>
                      <a:pt x="0" y="25"/>
                      <a:pt x="0" y="25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5" name="Freeform 138">
                <a:extLst>
                  <a:ext uri="{FF2B5EF4-FFF2-40B4-BE49-F238E27FC236}">
                    <a16:creationId xmlns:a16="http://schemas.microsoft.com/office/drawing/2014/main" id="{ACDB82E6-C9F4-43AF-99DB-CCB9FACFD2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93153" y="3447818"/>
                <a:ext cx="112696" cy="60820"/>
              </a:xfrm>
              <a:custGeom>
                <a:avLst/>
                <a:gdLst>
                  <a:gd name="T0" fmla="*/ 42 w 42"/>
                  <a:gd name="T1" fmla="*/ 16 h 23"/>
                  <a:gd name="T2" fmla="*/ 40 w 42"/>
                  <a:gd name="T3" fmla="*/ 18 h 23"/>
                  <a:gd name="T4" fmla="*/ 40 w 42"/>
                  <a:gd name="T5" fmla="*/ 18 h 23"/>
                  <a:gd name="T6" fmla="*/ 25 w 42"/>
                  <a:gd name="T7" fmla="*/ 19 h 23"/>
                  <a:gd name="T8" fmla="*/ 0 w 42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3">
                    <a:moveTo>
                      <a:pt x="42" y="16"/>
                    </a:moveTo>
                    <a:cubicBezTo>
                      <a:pt x="42" y="17"/>
                      <a:pt x="41" y="17"/>
                      <a:pt x="40" y="18"/>
                    </a:cubicBezTo>
                    <a:cubicBezTo>
                      <a:pt x="40" y="18"/>
                      <a:pt x="40" y="18"/>
                      <a:pt x="40" y="18"/>
                    </a:cubicBezTo>
                    <a:cubicBezTo>
                      <a:pt x="36" y="23"/>
                      <a:pt x="29" y="23"/>
                      <a:pt x="25" y="19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6" name="Freeform 139">
                <a:extLst>
                  <a:ext uri="{FF2B5EF4-FFF2-40B4-BE49-F238E27FC236}">
                    <a16:creationId xmlns:a16="http://schemas.microsoft.com/office/drawing/2014/main" id="{43D105DF-D8B0-4B2E-B9B7-BADA833901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85104" y="3505955"/>
                <a:ext cx="48298" cy="21466"/>
              </a:xfrm>
              <a:custGeom>
                <a:avLst/>
                <a:gdLst>
                  <a:gd name="T0" fmla="*/ 18 w 18"/>
                  <a:gd name="T1" fmla="*/ 6 h 8"/>
                  <a:gd name="T2" fmla="*/ 5 w 18"/>
                  <a:gd name="T3" fmla="*/ 5 h 8"/>
                  <a:gd name="T4" fmla="*/ 0 w 18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8">
                    <a:moveTo>
                      <a:pt x="18" y="6"/>
                    </a:moveTo>
                    <a:cubicBezTo>
                      <a:pt x="14" y="8"/>
                      <a:pt x="9" y="8"/>
                      <a:pt x="5" y="5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7" name="Freeform 140">
                <a:extLst>
                  <a:ext uri="{FF2B5EF4-FFF2-40B4-BE49-F238E27FC236}">
                    <a16:creationId xmlns:a16="http://schemas.microsoft.com/office/drawing/2014/main" id="{5C39F9F0-43C1-452B-848B-BDEE028B5C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87264" y="3094525"/>
                <a:ext cx="206610" cy="75131"/>
              </a:xfrm>
              <a:custGeom>
                <a:avLst/>
                <a:gdLst>
                  <a:gd name="T0" fmla="*/ 0 w 77"/>
                  <a:gd name="T1" fmla="*/ 0 h 28"/>
                  <a:gd name="T2" fmla="*/ 37 w 77"/>
                  <a:gd name="T3" fmla="*/ 28 h 28"/>
                  <a:gd name="T4" fmla="*/ 77 w 77"/>
                  <a:gd name="T5" fmla="*/ 2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7" h="28">
                    <a:moveTo>
                      <a:pt x="0" y="0"/>
                    </a:moveTo>
                    <a:cubicBezTo>
                      <a:pt x="37" y="28"/>
                      <a:pt x="37" y="28"/>
                      <a:pt x="37" y="28"/>
                    </a:cubicBezTo>
                    <a:cubicBezTo>
                      <a:pt x="37" y="28"/>
                      <a:pt x="58" y="23"/>
                      <a:pt x="77" y="25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8" name="Freeform 141">
                <a:extLst>
                  <a:ext uri="{FF2B5EF4-FFF2-40B4-BE49-F238E27FC236}">
                    <a16:creationId xmlns:a16="http://schemas.microsoft.com/office/drawing/2014/main" id="{6CCE6CBD-966B-4078-845F-910D44D250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87264" y="3209904"/>
                <a:ext cx="83181" cy="146684"/>
              </a:xfrm>
              <a:custGeom>
                <a:avLst/>
                <a:gdLst>
                  <a:gd name="T0" fmla="*/ 31 w 31"/>
                  <a:gd name="T1" fmla="*/ 0 h 55"/>
                  <a:gd name="T2" fmla="*/ 0 w 31"/>
                  <a:gd name="T3" fmla="*/ 43 h 55"/>
                  <a:gd name="T4" fmla="*/ 12 w 31"/>
                  <a:gd name="T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55">
                    <a:moveTo>
                      <a:pt x="31" y="0"/>
                    </a:moveTo>
                    <a:cubicBezTo>
                      <a:pt x="31" y="0"/>
                      <a:pt x="21" y="32"/>
                      <a:pt x="0" y="43"/>
                    </a:cubicBezTo>
                    <a:cubicBezTo>
                      <a:pt x="0" y="43"/>
                      <a:pt x="9" y="51"/>
                      <a:pt x="12" y="55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9" name="Freeform 142">
                <a:extLst>
                  <a:ext uri="{FF2B5EF4-FFF2-40B4-BE49-F238E27FC236}">
                    <a16:creationId xmlns:a16="http://schemas.microsoft.com/office/drawing/2014/main" id="{61D6B8C4-C711-4826-B7F5-E44CEC5BD3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19463" y="3359271"/>
                <a:ext cx="88547" cy="83181"/>
              </a:xfrm>
              <a:custGeom>
                <a:avLst/>
                <a:gdLst>
                  <a:gd name="T0" fmla="*/ 30 w 33"/>
                  <a:gd name="T1" fmla="*/ 6 h 31"/>
                  <a:gd name="T2" fmla="*/ 32 w 33"/>
                  <a:gd name="T3" fmla="*/ 8 h 31"/>
                  <a:gd name="T4" fmla="*/ 29 w 33"/>
                  <a:gd name="T5" fmla="*/ 20 h 31"/>
                  <a:gd name="T6" fmla="*/ 18 w 33"/>
                  <a:gd name="T7" fmla="*/ 28 h 31"/>
                  <a:gd name="T8" fmla="*/ 5 w 33"/>
                  <a:gd name="T9" fmla="*/ 27 h 31"/>
                  <a:gd name="T10" fmla="*/ 3 w 33"/>
                  <a:gd name="T11" fmla="*/ 25 h 31"/>
                  <a:gd name="T12" fmla="*/ 4 w 33"/>
                  <a:gd name="T13" fmla="*/ 12 h 31"/>
                  <a:gd name="T14" fmla="*/ 15 w 33"/>
                  <a:gd name="T15" fmla="*/ 3 h 31"/>
                  <a:gd name="T16" fmla="*/ 29 w 33"/>
                  <a:gd name="T17" fmla="*/ 4 h 31"/>
                  <a:gd name="T18" fmla="*/ 30 w 33"/>
                  <a:gd name="T19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3" h="31">
                    <a:moveTo>
                      <a:pt x="30" y="6"/>
                    </a:moveTo>
                    <a:cubicBezTo>
                      <a:pt x="31" y="7"/>
                      <a:pt x="31" y="8"/>
                      <a:pt x="32" y="8"/>
                    </a:cubicBezTo>
                    <a:cubicBezTo>
                      <a:pt x="33" y="12"/>
                      <a:pt x="33" y="17"/>
                      <a:pt x="29" y="20"/>
                    </a:cubicBezTo>
                    <a:cubicBezTo>
                      <a:pt x="18" y="28"/>
                      <a:pt x="18" y="28"/>
                      <a:pt x="18" y="28"/>
                    </a:cubicBezTo>
                    <a:cubicBezTo>
                      <a:pt x="14" y="31"/>
                      <a:pt x="8" y="31"/>
                      <a:pt x="5" y="27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0" y="21"/>
                      <a:pt x="0" y="15"/>
                      <a:pt x="4" y="12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9" y="0"/>
                      <a:pt x="25" y="0"/>
                      <a:pt x="29" y="4"/>
                    </a:cubicBezTo>
                    <a:lnTo>
                      <a:pt x="30" y="6"/>
                    </a:lnTo>
                    <a:close/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0" name="Freeform 143">
                <a:extLst>
                  <a:ext uri="{FF2B5EF4-FFF2-40B4-BE49-F238E27FC236}">
                    <a16:creationId xmlns:a16="http://schemas.microsoft.com/office/drawing/2014/main" id="{DEACD7FE-98A9-4DF2-B19E-13D044AAF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67761" y="3380737"/>
                <a:ext cx="110013" cy="99280"/>
              </a:xfrm>
              <a:custGeom>
                <a:avLst/>
                <a:gdLst>
                  <a:gd name="T0" fmla="*/ 28 w 41"/>
                  <a:gd name="T1" fmla="*/ 0 h 37"/>
                  <a:gd name="T2" fmla="*/ 36 w 41"/>
                  <a:gd name="T3" fmla="*/ 4 h 37"/>
                  <a:gd name="T4" fmla="*/ 37 w 41"/>
                  <a:gd name="T5" fmla="*/ 6 h 37"/>
                  <a:gd name="T6" fmla="*/ 36 w 41"/>
                  <a:gd name="T7" fmla="*/ 19 h 37"/>
                  <a:gd name="T8" fmla="*/ 18 w 41"/>
                  <a:gd name="T9" fmla="*/ 33 h 37"/>
                  <a:gd name="T10" fmla="*/ 5 w 41"/>
                  <a:gd name="T11" fmla="*/ 32 h 37"/>
                  <a:gd name="T12" fmla="*/ 3 w 41"/>
                  <a:gd name="T13" fmla="*/ 30 h 37"/>
                  <a:gd name="T14" fmla="*/ 2 w 41"/>
                  <a:gd name="T15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7">
                    <a:moveTo>
                      <a:pt x="28" y="0"/>
                    </a:moveTo>
                    <a:cubicBezTo>
                      <a:pt x="31" y="0"/>
                      <a:pt x="34" y="1"/>
                      <a:pt x="36" y="4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41" y="10"/>
                      <a:pt x="40" y="16"/>
                      <a:pt x="36" y="19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14" y="37"/>
                      <a:pt x="8" y="36"/>
                      <a:pt x="5" y="32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0" y="27"/>
                      <a:pt x="0" y="23"/>
                      <a:pt x="2" y="19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1" name="Freeform 144">
                <a:extLst>
                  <a:ext uri="{FF2B5EF4-FFF2-40B4-BE49-F238E27FC236}">
                    <a16:creationId xmlns:a16="http://schemas.microsoft.com/office/drawing/2014/main" id="{55DC73CC-EB16-45FA-8A64-BB86CF0E97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13377" y="3415619"/>
                <a:ext cx="118063" cy="101069"/>
              </a:xfrm>
              <a:custGeom>
                <a:avLst/>
                <a:gdLst>
                  <a:gd name="T0" fmla="*/ 36 w 44"/>
                  <a:gd name="T1" fmla="*/ 0 h 38"/>
                  <a:gd name="T2" fmla="*/ 39 w 44"/>
                  <a:gd name="T3" fmla="*/ 2 h 38"/>
                  <a:gd name="T4" fmla="*/ 40 w 44"/>
                  <a:gd name="T5" fmla="*/ 4 h 38"/>
                  <a:gd name="T6" fmla="*/ 39 w 44"/>
                  <a:gd name="T7" fmla="*/ 18 h 38"/>
                  <a:gd name="T8" fmla="*/ 19 w 44"/>
                  <a:gd name="T9" fmla="*/ 34 h 38"/>
                  <a:gd name="T10" fmla="*/ 5 w 44"/>
                  <a:gd name="T11" fmla="*/ 33 h 38"/>
                  <a:gd name="T12" fmla="*/ 4 w 44"/>
                  <a:gd name="T13" fmla="*/ 31 h 38"/>
                  <a:gd name="T14" fmla="*/ 5 w 44"/>
                  <a:gd name="T15" fmla="*/ 1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38">
                    <a:moveTo>
                      <a:pt x="36" y="0"/>
                    </a:moveTo>
                    <a:cubicBezTo>
                      <a:pt x="37" y="0"/>
                      <a:pt x="38" y="1"/>
                      <a:pt x="39" y="2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44" y="8"/>
                      <a:pt x="43" y="14"/>
                      <a:pt x="39" y="18"/>
                    </a:cubicBezTo>
                    <a:cubicBezTo>
                      <a:pt x="19" y="34"/>
                      <a:pt x="19" y="34"/>
                      <a:pt x="19" y="34"/>
                    </a:cubicBezTo>
                    <a:cubicBezTo>
                      <a:pt x="15" y="38"/>
                      <a:pt x="9" y="37"/>
                      <a:pt x="5" y="33"/>
                    </a:cubicBezTo>
                    <a:cubicBezTo>
                      <a:pt x="4" y="31"/>
                      <a:pt x="4" y="31"/>
                      <a:pt x="4" y="31"/>
                    </a:cubicBezTo>
                    <a:cubicBezTo>
                      <a:pt x="0" y="27"/>
                      <a:pt x="1" y="21"/>
                      <a:pt x="5" y="17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2" name="Freeform 145">
                <a:extLst>
                  <a:ext uri="{FF2B5EF4-FFF2-40B4-BE49-F238E27FC236}">
                    <a16:creationId xmlns:a16="http://schemas.microsoft.com/office/drawing/2014/main" id="{E79143FD-3F96-4E79-9A6D-E6EE8348A4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75091" y="3482700"/>
                <a:ext cx="80497" cy="58137"/>
              </a:xfrm>
              <a:custGeom>
                <a:avLst/>
                <a:gdLst>
                  <a:gd name="T0" fmla="*/ 27 w 30"/>
                  <a:gd name="T1" fmla="*/ 0 h 22"/>
                  <a:gd name="T2" fmla="*/ 26 w 30"/>
                  <a:gd name="T3" fmla="*/ 13 h 22"/>
                  <a:gd name="T4" fmla="*/ 18 w 30"/>
                  <a:gd name="T5" fmla="*/ 19 h 22"/>
                  <a:gd name="T6" fmla="*/ 5 w 30"/>
                  <a:gd name="T7" fmla="*/ 18 h 22"/>
                  <a:gd name="T8" fmla="*/ 3 w 30"/>
                  <a:gd name="T9" fmla="*/ 16 h 22"/>
                  <a:gd name="T10" fmla="*/ 4 w 30"/>
                  <a:gd name="T11" fmla="*/ 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22">
                    <a:moveTo>
                      <a:pt x="27" y="0"/>
                    </a:moveTo>
                    <a:cubicBezTo>
                      <a:pt x="30" y="4"/>
                      <a:pt x="29" y="10"/>
                      <a:pt x="26" y="13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14" y="22"/>
                      <a:pt x="8" y="22"/>
                      <a:pt x="5" y="18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0" y="12"/>
                      <a:pt x="0" y="6"/>
                      <a:pt x="4" y="3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59" name="Группа 58"/>
          <p:cNvGrpSpPr/>
          <p:nvPr/>
        </p:nvGrpSpPr>
        <p:grpSpPr>
          <a:xfrm>
            <a:off x="5077719" y="2472131"/>
            <a:ext cx="452686" cy="435920"/>
            <a:chOff x="5077719" y="2541512"/>
            <a:chExt cx="452686" cy="435920"/>
          </a:xfrm>
        </p:grpSpPr>
        <p:sp>
          <p:nvSpPr>
            <p:cNvPr id="300" name="Скругленный прямоугольник 299"/>
            <p:cNvSpPr/>
            <p:nvPr/>
          </p:nvSpPr>
          <p:spPr>
            <a:xfrm>
              <a:off x="5077719" y="2541512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663" name="Group 4577">
              <a:extLst>
                <a:ext uri="{FF2B5EF4-FFF2-40B4-BE49-F238E27FC236}">
                  <a16:creationId xmlns:a16="http://schemas.microsoft.com/office/drawing/2014/main" id="{36BD11F3-254E-4FFD-86E6-613F155FDF41}"/>
                </a:ext>
              </a:extLst>
            </p:cNvPr>
            <p:cNvGrpSpPr/>
            <p:nvPr/>
          </p:nvGrpSpPr>
          <p:grpSpPr>
            <a:xfrm>
              <a:off x="5126964" y="2582374"/>
              <a:ext cx="354197" cy="354197"/>
              <a:chOff x="3639501" y="487321"/>
              <a:chExt cx="883889" cy="883889"/>
            </a:xfrm>
          </p:grpSpPr>
          <p:sp>
            <p:nvSpPr>
              <p:cNvPr id="664" name="Freeform: Shape 729">
                <a:extLst>
                  <a:ext uri="{FF2B5EF4-FFF2-40B4-BE49-F238E27FC236}">
                    <a16:creationId xmlns:a16="http://schemas.microsoft.com/office/drawing/2014/main" id="{20172882-73FF-4AFE-898D-BF12D4102342}"/>
                  </a:ext>
                </a:extLst>
              </p:cNvPr>
              <p:cNvSpPr/>
              <p:nvPr/>
            </p:nvSpPr>
            <p:spPr>
              <a:xfrm>
                <a:off x="4297493" y="842983"/>
                <a:ext cx="219311" cy="458559"/>
              </a:xfrm>
              <a:custGeom>
                <a:avLst/>
                <a:gdLst>
                  <a:gd name="connsiteX0" fmla="*/ 208345 w 219310"/>
                  <a:gd name="connsiteY0" fmla="*/ 14953 h 458558"/>
                  <a:gd name="connsiteX1" fmla="*/ 208345 w 219310"/>
                  <a:gd name="connsiteY1" fmla="*/ 450252 h 458558"/>
                  <a:gd name="connsiteX2" fmla="*/ 14953 w 219310"/>
                  <a:gd name="connsiteY2" fmla="*/ 450252 h 458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9310" h="458558">
                    <a:moveTo>
                      <a:pt x="208345" y="14953"/>
                    </a:moveTo>
                    <a:lnTo>
                      <a:pt x="208345" y="450252"/>
                    </a:lnTo>
                    <a:lnTo>
                      <a:pt x="14953" y="450252"/>
                    </a:ln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5" name="Freeform: Shape 730">
                <a:extLst>
                  <a:ext uri="{FF2B5EF4-FFF2-40B4-BE49-F238E27FC236}">
                    <a16:creationId xmlns:a16="http://schemas.microsoft.com/office/drawing/2014/main" id="{0E5273B4-2192-4660-8BB9-25FF04606930}"/>
                  </a:ext>
                </a:extLst>
              </p:cNvPr>
              <p:cNvSpPr/>
              <p:nvPr/>
            </p:nvSpPr>
            <p:spPr>
              <a:xfrm>
                <a:off x="4358634" y="609716"/>
                <a:ext cx="159499" cy="59812"/>
              </a:xfrm>
              <a:custGeom>
                <a:avLst/>
                <a:gdLst>
                  <a:gd name="connsiteX0" fmla="*/ 14953 w 159498"/>
                  <a:gd name="connsiteY0" fmla="*/ 14953 h 59812"/>
                  <a:gd name="connsiteX1" fmla="*/ 147204 w 159498"/>
                  <a:gd name="connsiteY1" fmla="*/ 14953 h 59812"/>
                  <a:gd name="connsiteX2" fmla="*/ 147204 w 159498"/>
                  <a:gd name="connsiteY2" fmla="*/ 45524 h 59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9498" h="59812">
                    <a:moveTo>
                      <a:pt x="14953" y="14953"/>
                    </a:moveTo>
                    <a:lnTo>
                      <a:pt x="147204" y="14953"/>
                    </a:lnTo>
                    <a:lnTo>
                      <a:pt x="147204" y="45524"/>
                    </a:ln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6" name="Freeform: Shape 739">
                <a:extLst>
                  <a:ext uri="{FF2B5EF4-FFF2-40B4-BE49-F238E27FC236}">
                    <a16:creationId xmlns:a16="http://schemas.microsoft.com/office/drawing/2014/main" id="{1F5C9195-2C7A-4401-9F17-C796E29DDBFE}"/>
                  </a:ext>
                </a:extLst>
              </p:cNvPr>
              <p:cNvSpPr/>
              <p:nvPr/>
            </p:nvSpPr>
            <p:spPr>
              <a:xfrm>
                <a:off x="3821655" y="1185241"/>
                <a:ext cx="305706" cy="119624"/>
              </a:xfrm>
              <a:custGeom>
                <a:avLst/>
                <a:gdLst>
                  <a:gd name="connsiteX0" fmla="*/ 291418 w 305705"/>
                  <a:gd name="connsiteY0" fmla="*/ 107994 h 119624"/>
                  <a:gd name="connsiteX1" fmla="*/ 14953 w 305705"/>
                  <a:gd name="connsiteY1" fmla="*/ 107994 h 119624"/>
                  <a:gd name="connsiteX2" fmla="*/ 14953 w 305705"/>
                  <a:gd name="connsiteY2" fmla="*/ 14953 h 119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5705" h="119624">
                    <a:moveTo>
                      <a:pt x="291418" y="107994"/>
                    </a:moveTo>
                    <a:lnTo>
                      <a:pt x="14953" y="107994"/>
                    </a:lnTo>
                    <a:lnTo>
                      <a:pt x="14953" y="14953"/>
                    </a:ln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7" name="Freeform: Shape 748">
                <a:extLst>
                  <a:ext uri="{FF2B5EF4-FFF2-40B4-BE49-F238E27FC236}">
                    <a16:creationId xmlns:a16="http://schemas.microsoft.com/office/drawing/2014/main" id="{206F3848-2946-413D-AAEE-D03FF570E0F0}"/>
                  </a:ext>
                </a:extLst>
              </p:cNvPr>
              <p:cNvSpPr/>
              <p:nvPr/>
            </p:nvSpPr>
            <p:spPr>
              <a:xfrm>
                <a:off x="3639501" y="487321"/>
                <a:ext cx="883889" cy="883889"/>
              </a:xfrm>
              <a:custGeom>
                <a:avLst/>
                <a:gdLst>
                  <a:gd name="connsiteX0" fmla="*/ 232350 w 883888"/>
                  <a:gd name="connsiteY0" fmla="*/ 18944 h 883888"/>
                  <a:gd name="connsiteX1" fmla="*/ 865950 w 883888"/>
                  <a:gd name="connsiteY1" fmla="*/ 232350 h 883888"/>
                  <a:gd name="connsiteX2" fmla="*/ 652544 w 883888"/>
                  <a:gd name="connsiteY2" fmla="*/ 865950 h 883888"/>
                  <a:gd name="connsiteX3" fmla="*/ 18944 w 883888"/>
                  <a:gd name="connsiteY3" fmla="*/ 652544 h 883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83888" h="883888">
                    <a:moveTo>
                      <a:pt x="232350" y="18944"/>
                    </a:moveTo>
                    <a:lnTo>
                      <a:pt x="865950" y="232350"/>
                    </a:lnTo>
                    <a:lnTo>
                      <a:pt x="652544" y="865950"/>
                    </a:lnTo>
                    <a:lnTo>
                      <a:pt x="18944" y="652544"/>
                    </a:lnTo>
                    <a:close/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8" name="Freeform: Shape 752">
                <a:extLst>
                  <a:ext uri="{FF2B5EF4-FFF2-40B4-BE49-F238E27FC236}">
                    <a16:creationId xmlns:a16="http://schemas.microsoft.com/office/drawing/2014/main" id="{C2988305-1F84-4BB7-817F-CDCEE8EC714A}"/>
                  </a:ext>
                </a:extLst>
              </p:cNvPr>
              <p:cNvSpPr/>
              <p:nvPr/>
            </p:nvSpPr>
            <p:spPr>
              <a:xfrm>
                <a:off x="4066884" y="519334"/>
                <a:ext cx="166145" cy="332289"/>
              </a:xfrm>
              <a:custGeom>
                <a:avLst/>
                <a:gdLst>
                  <a:gd name="connsiteX0" fmla="*/ 20270 w 166144"/>
                  <a:gd name="connsiteY0" fmla="*/ 59480 h 332289"/>
                  <a:gd name="connsiteX1" fmla="*/ 86063 w 166144"/>
                  <a:gd name="connsiteY1" fmla="*/ 14953 h 332289"/>
                  <a:gd name="connsiteX2" fmla="*/ 86063 w 166144"/>
                  <a:gd name="connsiteY2" fmla="*/ 14953 h 332289"/>
                  <a:gd name="connsiteX3" fmla="*/ 157172 w 166144"/>
                  <a:gd name="connsiteY3" fmla="*/ 86063 h 332289"/>
                  <a:gd name="connsiteX4" fmla="*/ 157172 w 166144"/>
                  <a:gd name="connsiteY4" fmla="*/ 248884 h 332289"/>
                  <a:gd name="connsiteX5" fmla="*/ 86063 w 166144"/>
                  <a:gd name="connsiteY5" fmla="*/ 319994 h 332289"/>
                  <a:gd name="connsiteX6" fmla="*/ 86063 w 166144"/>
                  <a:gd name="connsiteY6" fmla="*/ 319994 h 332289"/>
                  <a:gd name="connsiteX7" fmla="*/ 14953 w 166144"/>
                  <a:gd name="connsiteY7" fmla="*/ 248884 h 332289"/>
                  <a:gd name="connsiteX8" fmla="*/ 14953 w 166144"/>
                  <a:gd name="connsiteY8" fmla="*/ 167141 h 332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6144" h="332289">
                    <a:moveTo>
                      <a:pt x="20270" y="59480"/>
                    </a:moveTo>
                    <a:cubicBezTo>
                      <a:pt x="30903" y="33561"/>
                      <a:pt x="56157" y="14953"/>
                      <a:pt x="86063" y="14953"/>
                    </a:cubicBezTo>
                    <a:lnTo>
                      <a:pt x="86063" y="14953"/>
                    </a:lnTo>
                    <a:cubicBezTo>
                      <a:pt x="125273" y="14953"/>
                      <a:pt x="157172" y="46853"/>
                      <a:pt x="157172" y="86063"/>
                    </a:cubicBezTo>
                    <a:lnTo>
                      <a:pt x="157172" y="248884"/>
                    </a:lnTo>
                    <a:cubicBezTo>
                      <a:pt x="157172" y="288095"/>
                      <a:pt x="125273" y="319994"/>
                      <a:pt x="86063" y="319994"/>
                    </a:cubicBezTo>
                    <a:lnTo>
                      <a:pt x="86063" y="319994"/>
                    </a:lnTo>
                    <a:cubicBezTo>
                      <a:pt x="46853" y="319994"/>
                      <a:pt x="14953" y="288095"/>
                      <a:pt x="14953" y="248884"/>
                    </a:cubicBezTo>
                    <a:lnTo>
                      <a:pt x="14953" y="167141"/>
                    </a:ln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9" name="Freeform: Shape 762">
                <a:extLst>
                  <a:ext uri="{FF2B5EF4-FFF2-40B4-BE49-F238E27FC236}">
                    <a16:creationId xmlns:a16="http://schemas.microsoft.com/office/drawing/2014/main" id="{E794B2D2-CB46-4794-8D2A-C558C1111B56}"/>
                  </a:ext>
                </a:extLst>
              </p:cNvPr>
              <p:cNvSpPr/>
              <p:nvPr/>
            </p:nvSpPr>
            <p:spPr>
              <a:xfrm>
                <a:off x="4120051" y="671522"/>
                <a:ext cx="46520" cy="126270"/>
              </a:xfrm>
              <a:custGeom>
                <a:avLst/>
                <a:gdLst>
                  <a:gd name="connsiteX0" fmla="*/ 14953 w 46520"/>
                  <a:gd name="connsiteY0" fmla="*/ 14953 h 126269"/>
                  <a:gd name="connsiteX1" fmla="*/ 14953 w 46520"/>
                  <a:gd name="connsiteY1" fmla="*/ 96032 h 126269"/>
                  <a:gd name="connsiteX2" fmla="*/ 32897 w 46520"/>
                  <a:gd name="connsiteY2" fmla="*/ 113311 h 12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520" h="126269">
                    <a:moveTo>
                      <a:pt x="14953" y="14953"/>
                    </a:moveTo>
                    <a:lnTo>
                      <a:pt x="14953" y="96032"/>
                    </a:lnTo>
                    <a:cubicBezTo>
                      <a:pt x="14953" y="106000"/>
                      <a:pt x="22928" y="113311"/>
                      <a:pt x="32897" y="113311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0" name="Freeform: Shape 784">
                <a:extLst>
                  <a:ext uri="{FF2B5EF4-FFF2-40B4-BE49-F238E27FC236}">
                    <a16:creationId xmlns:a16="http://schemas.microsoft.com/office/drawing/2014/main" id="{34A3149E-C4B7-4CEB-B5D9-4265BD8946A7}"/>
                  </a:ext>
                </a:extLst>
              </p:cNvPr>
              <p:cNvSpPr/>
              <p:nvPr/>
            </p:nvSpPr>
            <p:spPr>
              <a:xfrm>
                <a:off x="3928652" y="886181"/>
                <a:ext cx="279123" cy="112978"/>
              </a:xfrm>
              <a:custGeom>
                <a:avLst/>
                <a:gdLst>
                  <a:gd name="connsiteX0" fmla="*/ 14953 w 279122"/>
                  <a:gd name="connsiteY0" fmla="*/ 14953 h 112978"/>
                  <a:gd name="connsiteX1" fmla="*/ 269486 w 279122"/>
                  <a:gd name="connsiteY1" fmla="*/ 100684 h 112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9122" h="112978">
                    <a:moveTo>
                      <a:pt x="14953" y="14953"/>
                    </a:moveTo>
                    <a:lnTo>
                      <a:pt x="269486" y="100684"/>
                    </a:lnTo>
                  </a:path>
                </a:pathLst>
              </a:custGeom>
              <a:ln w="9525" cap="rnd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1" name="Freeform: Shape 793">
                <a:extLst>
                  <a:ext uri="{FF2B5EF4-FFF2-40B4-BE49-F238E27FC236}">
                    <a16:creationId xmlns:a16="http://schemas.microsoft.com/office/drawing/2014/main" id="{16382778-27E2-4936-8E7D-30CD4E2E8435}"/>
                  </a:ext>
                </a:extLst>
              </p:cNvPr>
              <p:cNvSpPr/>
              <p:nvPr/>
            </p:nvSpPr>
            <p:spPr>
              <a:xfrm>
                <a:off x="3891436" y="988526"/>
                <a:ext cx="279123" cy="112978"/>
              </a:xfrm>
              <a:custGeom>
                <a:avLst/>
                <a:gdLst>
                  <a:gd name="connsiteX0" fmla="*/ 14953 w 279122"/>
                  <a:gd name="connsiteY0" fmla="*/ 14953 h 112978"/>
                  <a:gd name="connsiteX1" fmla="*/ 269486 w 279122"/>
                  <a:gd name="connsiteY1" fmla="*/ 100684 h 112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9122" h="112978">
                    <a:moveTo>
                      <a:pt x="14953" y="14953"/>
                    </a:moveTo>
                    <a:lnTo>
                      <a:pt x="269486" y="100684"/>
                    </a:lnTo>
                  </a:path>
                </a:pathLst>
              </a:custGeom>
              <a:ln w="9525" cap="rnd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60" name="Группа 59"/>
          <p:cNvGrpSpPr/>
          <p:nvPr/>
        </p:nvGrpSpPr>
        <p:grpSpPr>
          <a:xfrm>
            <a:off x="495021" y="3571648"/>
            <a:ext cx="452686" cy="435920"/>
            <a:chOff x="495021" y="3641029"/>
            <a:chExt cx="452686" cy="435920"/>
          </a:xfrm>
        </p:grpSpPr>
        <p:sp>
          <p:nvSpPr>
            <p:cNvPr id="291" name="Скругленный прямоугольник 290"/>
            <p:cNvSpPr/>
            <p:nvPr/>
          </p:nvSpPr>
          <p:spPr>
            <a:xfrm>
              <a:off x="495021" y="3641029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672" name="Group 4187">
              <a:extLst>
                <a:ext uri="{FF2B5EF4-FFF2-40B4-BE49-F238E27FC236}">
                  <a16:creationId xmlns:a16="http://schemas.microsoft.com/office/drawing/2014/main" id="{92DAB587-ED3D-47E9-9E00-4C2F01116BF4}"/>
                </a:ext>
              </a:extLst>
            </p:cNvPr>
            <p:cNvGrpSpPr/>
            <p:nvPr/>
          </p:nvGrpSpPr>
          <p:grpSpPr>
            <a:xfrm>
              <a:off x="541913" y="3687972"/>
              <a:ext cx="358903" cy="342035"/>
              <a:chOff x="557213" y="3079750"/>
              <a:chExt cx="608013" cy="579437"/>
            </a:xfrm>
          </p:grpSpPr>
          <p:sp>
            <p:nvSpPr>
              <p:cNvPr id="673" name="Freeform 19">
                <a:extLst>
                  <a:ext uri="{FF2B5EF4-FFF2-40B4-BE49-F238E27FC236}">
                    <a16:creationId xmlns:a16="http://schemas.microsoft.com/office/drawing/2014/main" id="{E8135299-8932-42E9-A05E-EFE539985C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213" y="3079750"/>
                <a:ext cx="438150" cy="579437"/>
              </a:xfrm>
              <a:custGeom>
                <a:avLst/>
                <a:gdLst>
                  <a:gd name="T0" fmla="*/ 174 w 174"/>
                  <a:gd name="T1" fmla="*/ 59 h 231"/>
                  <a:gd name="T2" fmla="*/ 174 w 174"/>
                  <a:gd name="T3" fmla="*/ 16 h 231"/>
                  <a:gd name="T4" fmla="*/ 158 w 174"/>
                  <a:gd name="T5" fmla="*/ 0 h 231"/>
                  <a:gd name="T6" fmla="*/ 45 w 174"/>
                  <a:gd name="T7" fmla="*/ 0 h 231"/>
                  <a:gd name="T8" fmla="*/ 0 w 174"/>
                  <a:gd name="T9" fmla="*/ 39 h 231"/>
                  <a:gd name="T10" fmla="*/ 0 w 174"/>
                  <a:gd name="T11" fmla="*/ 215 h 231"/>
                  <a:gd name="T12" fmla="*/ 16 w 174"/>
                  <a:gd name="T13" fmla="*/ 231 h 231"/>
                  <a:gd name="T14" fmla="*/ 158 w 174"/>
                  <a:gd name="T15" fmla="*/ 231 h 231"/>
                  <a:gd name="T16" fmla="*/ 174 w 174"/>
                  <a:gd name="T17" fmla="*/ 215 h 231"/>
                  <a:gd name="T18" fmla="*/ 174 w 174"/>
                  <a:gd name="T19" fmla="*/ 205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4" h="231">
                    <a:moveTo>
                      <a:pt x="174" y="59"/>
                    </a:moveTo>
                    <a:cubicBezTo>
                      <a:pt x="174" y="16"/>
                      <a:pt x="174" y="16"/>
                      <a:pt x="174" y="16"/>
                    </a:cubicBezTo>
                    <a:cubicBezTo>
                      <a:pt x="174" y="7"/>
                      <a:pt x="166" y="0"/>
                      <a:pt x="158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215"/>
                      <a:pt x="0" y="215"/>
                      <a:pt x="0" y="215"/>
                    </a:cubicBezTo>
                    <a:cubicBezTo>
                      <a:pt x="0" y="224"/>
                      <a:pt x="7" y="231"/>
                      <a:pt x="16" y="231"/>
                    </a:cubicBezTo>
                    <a:cubicBezTo>
                      <a:pt x="158" y="231"/>
                      <a:pt x="158" y="231"/>
                      <a:pt x="158" y="231"/>
                    </a:cubicBezTo>
                    <a:cubicBezTo>
                      <a:pt x="166" y="231"/>
                      <a:pt x="174" y="224"/>
                      <a:pt x="174" y="215"/>
                    </a:cubicBezTo>
                    <a:cubicBezTo>
                      <a:pt x="174" y="205"/>
                      <a:pt x="174" y="205"/>
                      <a:pt x="174" y="205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4" name="Freeform 20">
                <a:extLst>
                  <a:ext uri="{FF2B5EF4-FFF2-40B4-BE49-F238E27FC236}">
                    <a16:creationId xmlns:a16="http://schemas.microsoft.com/office/drawing/2014/main" id="{03AADB79-B417-4643-AC59-0CFD99E699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238" y="3087688"/>
                <a:ext cx="76200" cy="125412"/>
              </a:xfrm>
              <a:custGeom>
                <a:avLst/>
                <a:gdLst>
                  <a:gd name="T0" fmla="*/ 48 w 48"/>
                  <a:gd name="T1" fmla="*/ 0 h 79"/>
                  <a:gd name="T2" fmla="*/ 48 w 48"/>
                  <a:gd name="T3" fmla="*/ 79 h 79"/>
                  <a:gd name="T4" fmla="*/ 0 w 48"/>
                  <a:gd name="T5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79">
                    <a:moveTo>
                      <a:pt x="48" y="0"/>
                    </a:moveTo>
                    <a:lnTo>
                      <a:pt x="48" y="79"/>
                    </a:lnTo>
                    <a:lnTo>
                      <a:pt x="0" y="79"/>
                    </a:ln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5" name="Oval 21">
                <a:extLst>
                  <a:ext uri="{FF2B5EF4-FFF2-40B4-BE49-F238E27FC236}">
                    <a16:creationId xmlns:a16="http://schemas.microsoft.com/office/drawing/2014/main" id="{4F5DE1C7-74CC-4049-9BE8-ED4D82B3A1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7413" y="3271838"/>
                <a:ext cx="277813" cy="279400"/>
              </a:xfrm>
              <a:prstGeom prst="ellips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6" name="Freeform 22">
                <a:extLst>
                  <a:ext uri="{FF2B5EF4-FFF2-40B4-BE49-F238E27FC236}">
                    <a16:creationId xmlns:a16="http://schemas.microsoft.com/office/drawing/2014/main" id="{7F28C32C-F768-4430-92EF-C2B12CAE78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2025" y="3357563"/>
                <a:ext cx="130175" cy="93662"/>
              </a:xfrm>
              <a:custGeom>
                <a:avLst/>
                <a:gdLst>
                  <a:gd name="T0" fmla="*/ 0 w 82"/>
                  <a:gd name="T1" fmla="*/ 30 h 59"/>
                  <a:gd name="T2" fmla="*/ 36 w 82"/>
                  <a:gd name="T3" fmla="*/ 59 h 59"/>
                  <a:gd name="T4" fmla="*/ 82 w 82"/>
                  <a:gd name="T5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2" h="59">
                    <a:moveTo>
                      <a:pt x="0" y="30"/>
                    </a:moveTo>
                    <a:lnTo>
                      <a:pt x="36" y="59"/>
                    </a:lnTo>
                    <a:lnTo>
                      <a:pt x="82" y="0"/>
                    </a:ln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7" name="Rectangle 23">
                <a:extLst>
                  <a:ext uri="{FF2B5EF4-FFF2-40B4-BE49-F238E27FC236}">
                    <a16:creationId xmlns:a16="http://schemas.microsoft.com/office/drawing/2014/main" id="{C2B27880-6AD0-4347-8489-1C221D98A6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700" y="3365500"/>
                <a:ext cx="7938" cy="9525"/>
              </a:xfrm>
              <a:prstGeom prst="rect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8" name="Line 24">
                <a:extLst>
                  <a:ext uri="{FF2B5EF4-FFF2-40B4-BE49-F238E27FC236}">
                    <a16:creationId xmlns:a16="http://schemas.microsoft.com/office/drawing/2014/main" id="{9655F4ED-2221-44F0-8DD5-1355510EE3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11200" y="3370263"/>
                <a:ext cx="138113" cy="0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9" name="Rectangle 25">
                <a:extLst>
                  <a:ext uri="{FF2B5EF4-FFF2-40B4-BE49-F238E27FC236}">
                    <a16:creationId xmlns:a16="http://schemas.microsoft.com/office/drawing/2014/main" id="{1841D92A-C4F9-47B4-9544-D8660D736D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700" y="3444875"/>
                <a:ext cx="7938" cy="11112"/>
              </a:xfrm>
              <a:prstGeom prst="rect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0" name="Line 26">
                <a:extLst>
                  <a:ext uri="{FF2B5EF4-FFF2-40B4-BE49-F238E27FC236}">
                    <a16:creationId xmlns:a16="http://schemas.microsoft.com/office/drawing/2014/main" id="{68D86C33-605F-458E-9CB9-67FA441E05C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11200" y="3451225"/>
                <a:ext cx="138113" cy="0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1" name="Rectangle 27">
                <a:extLst>
                  <a:ext uri="{FF2B5EF4-FFF2-40B4-BE49-F238E27FC236}">
                    <a16:creationId xmlns:a16="http://schemas.microsoft.com/office/drawing/2014/main" id="{F848FEBC-A53C-47AB-B1B8-C03510CAF3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700" y="3529013"/>
                <a:ext cx="7938" cy="6350"/>
              </a:xfrm>
              <a:prstGeom prst="rect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2" name="Line 28">
                <a:extLst>
                  <a:ext uri="{FF2B5EF4-FFF2-40B4-BE49-F238E27FC236}">
                    <a16:creationId xmlns:a16="http://schemas.microsoft.com/office/drawing/2014/main" id="{B454C75A-4602-4AD8-88EB-9161B1670C7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11200" y="3530600"/>
                <a:ext cx="176213" cy="0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pic>
        <p:nvPicPr>
          <p:cNvPr id="1782" name="Picture 8">
            <a:extLst>
              <a:ext uri="{FF2B5EF4-FFF2-40B4-BE49-F238E27FC236}">
                <a16:creationId xmlns:a16="http://schemas.microsoft.com/office/drawing/2014/main" id="{721A5093-0614-468C-A4A2-F6BA86B70A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 l="10521" t="15962" r="77292" b="69215"/>
          <a:stretch>
            <a:fillRect/>
          </a:stretch>
        </p:blipFill>
        <p:spPr bwMode="auto">
          <a:xfrm>
            <a:off x="11358316" y="0"/>
            <a:ext cx="833684" cy="862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7554567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5495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1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/>
          <p:cNvSpPr/>
          <p:nvPr/>
        </p:nvSpPr>
        <p:spPr>
          <a:xfrm>
            <a:off x="204216" y="6598515"/>
            <a:ext cx="252990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1200" b="1" i="1" dirty="0">
                <a:solidFill>
                  <a:srgbClr val="4950D0"/>
                </a:solidFill>
                <a:latin typeface="Montserrat" panose="00000500000000000000" pitchFamily="2" charset="-52"/>
              </a:rPr>
              <a:t>6</a:t>
            </a:r>
            <a:r>
              <a:rPr lang="en-US" sz="1200" dirty="0">
                <a:solidFill>
                  <a:srgbClr val="4950D0"/>
                </a:solidFill>
                <a:latin typeface="Montserrat" panose="00000500000000000000" pitchFamily="2" charset="-52"/>
              </a:rPr>
              <a:t>/</a:t>
            </a:r>
            <a:r>
              <a:rPr lang="en-US" sz="800" dirty="0">
                <a:solidFill>
                  <a:srgbClr val="4950D0"/>
                </a:solidFill>
                <a:latin typeface="Montserrat" panose="00000500000000000000" pitchFamily="2" charset="-52"/>
              </a:rPr>
              <a:t>13</a:t>
            </a:r>
            <a:endParaRPr lang="ru-RU" sz="800" dirty="0">
              <a:solidFill>
                <a:srgbClr val="4950D0"/>
              </a:solidFill>
              <a:latin typeface="Montserrat" panose="00000500000000000000" pitchFamily="2" charset="-52"/>
            </a:endParaRPr>
          </a:p>
        </p:txBody>
      </p:sp>
      <p:grpSp>
        <p:nvGrpSpPr>
          <p:cNvPr id="125" name="Группа 124"/>
          <p:cNvGrpSpPr/>
          <p:nvPr/>
        </p:nvGrpSpPr>
        <p:grpSpPr>
          <a:xfrm>
            <a:off x="70414" y="56746"/>
            <a:ext cx="11642162" cy="422119"/>
            <a:chOff x="70414" y="56746"/>
            <a:chExt cx="11642162" cy="422119"/>
          </a:xfrm>
        </p:grpSpPr>
        <p:sp>
          <p:nvSpPr>
            <p:cNvPr id="126" name="Скругленный прямоугольник 125"/>
            <p:cNvSpPr/>
            <p:nvPr/>
          </p:nvSpPr>
          <p:spPr>
            <a:xfrm>
              <a:off x="70414" y="56746"/>
              <a:ext cx="11642162" cy="422119"/>
            </a:xfrm>
            <a:prstGeom prst="roundRect">
              <a:avLst>
                <a:gd name="adj" fmla="val 17873"/>
              </a:avLst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7" name="Скругленный прямоугольник 126"/>
            <p:cNvSpPr/>
            <p:nvPr/>
          </p:nvSpPr>
          <p:spPr>
            <a:xfrm>
              <a:off x="108899" y="103316"/>
              <a:ext cx="710251" cy="328978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Введение</a:t>
              </a:r>
            </a:p>
          </p:txBody>
        </p:sp>
        <p:sp>
          <p:nvSpPr>
            <p:cNvPr id="128" name="Скругленный прямоугольник 127"/>
            <p:cNvSpPr/>
            <p:nvPr/>
          </p:nvSpPr>
          <p:spPr>
            <a:xfrm>
              <a:off x="938864" y="103317"/>
              <a:ext cx="949961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Методология разработки</a:t>
              </a:r>
            </a:p>
          </p:txBody>
        </p:sp>
        <p:sp>
          <p:nvSpPr>
            <p:cNvPr id="129" name="Скругленный прямоугольник 128"/>
            <p:cNvSpPr/>
            <p:nvPr/>
          </p:nvSpPr>
          <p:spPr>
            <a:xfrm>
              <a:off x="2008539" y="103317"/>
              <a:ext cx="190318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Бизнес-модель и бизнес-план </a:t>
              </a:r>
              <a:r>
                <a:rPr lang="ru-RU" sz="800" dirty="0" err="1">
                  <a:solidFill>
                    <a:schemeClr val="bg1"/>
                  </a:solidFill>
                  <a:latin typeface="Montserrat Light" panose="00000400000000000000" pitchFamily="2" charset="-52"/>
                </a:rPr>
                <a:t>стартап</a:t>
              </a:r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-проекта</a:t>
              </a:r>
            </a:p>
          </p:txBody>
        </p:sp>
        <p:sp>
          <p:nvSpPr>
            <p:cNvPr id="130" name="Скругленный прямоугольник 129"/>
            <p:cNvSpPr/>
            <p:nvPr/>
          </p:nvSpPr>
          <p:spPr>
            <a:xfrm>
              <a:off x="4031433" y="103317"/>
              <a:ext cx="1716250" cy="328977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tx1"/>
                  </a:solidFill>
                  <a:latin typeface="Montserrat ExtraBold" panose="00000900000000000000" pitchFamily="2" charset="-52"/>
                </a:rPr>
                <a:t>Маркетинговый анализ, стратегия и сбыт продукта</a:t>
              </a:r>
            </a:p>
          </p:txBody>
        </p:sp>
        <p:sp>
          <p:nvSpPr>
            <p:cNvPr id="131" name="Скругленный прямоугольник 130"/>
            <p:cNvSpPr/>
            <p:nvPr/>
          </p:nvSpPr>
          <p:spPr>
            <a:xfrm>
              <a:off x="5867397" y="103317"/>
              <a:ext cx="1290695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Производственный план</a:t>
              </a:r>
            </a:p>
          </p:txBody>
        </p:sp>
        <p:sp>
          <p:nvSpPr>
            <p:cNvPr id="132" name="Скругленный прямоугольник 131"/>
            <p:cNvSpPr/>
            <p:nvPr/>
          </p:nvSpPr>
          <p:spPr>
            <a:xfrm>
              <a:off x="7277806" y="103317"/>
              <a:ext cx="1177370" cy="328976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Организационный план</a:t>
              </a:r>
            </a:p>
          </p:txBody>
        </p:sp>
        <p:sp>
          <p:nvSpPr>
            <p:cNvPr id="133" name="Скругленный прямоугольник 132"/>
            <p:cNvSpPr/>
            <p:nvPr/>
          </p:nvSpPr>
          <p:spPr>
            <a:xfrm>
              <a:off x="8574890" y="103317"/>
              <a:ext cx="871316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Финансовый план</a:t>
              </a:r>
            </a:p>
          </p:txBody>
        </p:sp>
        <p:sp>
          <p:nvSpPr>
            <p:cNvPr id="134" name="Скругленный прямоугольник 133"/>
            <p:cNvSpPr/>
            <p:nvPr/>
          </p:nvSpPr>
          <p:spPr>
            <a:xfrm>
              <a:off x="9565920" y="103317"/>
              <a:ext cx="73861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Риски</a:t>
              </a:r>
              <a:b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</a:br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и гарантии</a:t>
              </a:r>
            </a:p>
          </p:txBody>
        </p:sp>
        <p:sp>
          <p:nvSpPr>
            <p:cNvPr id="135" name="Скругленный прямоугольник 134"/>
            <p:cNvSpPr/>
            <p:nvPr/>
          </p:nvSpPr>
          <p:spPr>
            <a:xfrm>
              <a:off x="10424241" y="103317"/>
              <a:ext cx="802559" cy="328976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Заключение</a:t>
              </a:r>
            </a:p>
          </p:txBody>
        </p:sp>
        <p:grpSp>
          <p:nvGrpSpPr>
            <p:cNvPr id="136" name="Группа 135"/>
            <p:cNvGrpSpPr/>
            <p:nvPr/>
          </p:nvGrpSpPr>
          <p:grpSpPr>
            <a:xfrm>
              <a:off x="879007" y="109521"/>
              <a:ext cx="9485380" cy="316568"/>
              <a:chOff x="879007" y="69805"/>
              <a:chExt cx="9485380" cy="396000"/>
            </a:xfrm>
          </p:grpSpPr>
          <p:cxnSp>
            <p:nvCxnSpPr>
              <p:cNvPr id="137" name="Прямая соединительная линия 136"/>
              <p:cNvCxnSpPr/>
              <p:nvPr/>
            </p:nvCxnSpPr>
            <p:spPr>
              <a:xfrm>
                <a:off x="87900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Прямая соединительная линия 137"/>
              <p:cNvCxnSpPr/>
              <p:nvPr/>
            </p:nvCxnSpPr>
            <p:spPr>
              <a:xfrm>
                <a:off x="1948682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Прямая соединительная линия 138"/>
              <p:cNvCxnSpPr/>
              <p:nvPr/>
            </p:nvCxnSpPr>
            <p:spPr>
              <a:xfrm>
                <a:off x="3971576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Прямая соединительная линия 139"/>
              <p:cNvCxnSpPr/>
              <p:nvPr/>
            </p:nvCxnSpPr>
            <p:spPr>
              <a:xfrm>
                <a:off x="5807540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Прямая соединительная линия 140"/>
              <p:cNvCxnSpPr/>
              <p:nvPr/>
            </p:nvCxnSpPr>
            <p:spPr>
              <a:xfrm>
                <a:off x="7217949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Прямая соединительная линия 141"/>
              <p:cNvCxnSpPr/>
              <p:nvPr/>
            </p:nvCxnSpPr>
            <p:spPr>
              <a:xfrm>
                <a:off x="851503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Прямая соединительная линия 142"/>
              <p:cNvCxnSpPr/>
              <p:nvPr/>
            </p:nvCxnSpPr>
            <p:spPr>
              <a:xfrm>
                <a:off x="950606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Прямая соединительная линия 143"/>
              <p:cNvCxnSpPr/>
              <p:nvPr/>
            </p:nvCxnSpPr>
            <p:spPr>
              <a:xfrm>
                <a:off x="1036438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" name="Прямоугольник 40"/>
          <p:cNvSpPr/>
          <p:nvPr/>
        </p:nvSpPr>
        <p:spPr>
          <a:xfrm>
            <a:off x="351657" y="720917"/>
            <a:ext cx="11505381" cy="15388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4000"/>
              </a:lnSpc>
            </a:pPr>
            <a:r>
              <a:rPr lang="ru-RU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В районе ЖК «Пряничная слобода» </a:t>
            </a:r>
            <a:r>
              <a:rPr lang="ru-RU" sz="3200" b="1" dirty="0">
                <a:solidFill>
                  <a:srgbClr val="D8294C"/>
                </a:solidFill>
                <a:latin typeface="Montserrat" panose="00000500000000000000" pitchFamily="2" charset="-52"/>
              </a:rPr>
              <a:t>основной конкурент </a:t>
            </a:r>
            <a:r>
              <a:rPr lang="en-US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—</a:t>
            </a:r>
            <a:r>
              <a:rPr lang="ru-RU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 салон</a:t>
            </a:r>
            <a:r>
              <a:rPr lang="en-US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 </a:t>
            </a:r>
            <a:r>
              <a:rPr lang="ru-RU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«Комильфо», это позволит студии «</a:t>
            </a:r>
            <a:r>
              <a:rPr lang="ru-RU" sz="3200" b="1" dirty="0" err="1">
                <a:solidFill>
                  <a:srgbClr val="404040"/>
                </a:solidFill>
                <a:latin typeface="Montserrat" panose="00000500000000000000" pitchFamily="2" charset="-52"/>
              </a:rPr>
              <a:t>Magic</a:t>
            </a:r>
            <a:r>
              <a:rPr lang="ru-RU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 </a:t>
            </a:r>
            <a:r>
              <a:rPr lang="ru-RU" sz="3200" b="1" dirty="0" err="1">
                <a:solidFill>
                  <a:srgbClr val="404040"/>
                </a:solidFill>
                <a:latin typeface="Montserrat" panose="00000500000000000000" pitchFamily="2" charset="-52"/>
              </a:rPr>
              <a:t>nails</a:t>
            </a:r>
            <a:r>
              <a:rPr lang="ru-RU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» укрепить позицию на рынке</a:t>
            </a:r>
          </a:p>
        </p:txBody>
      </p:sp>
      <p:sp>
        <p:nvSpPr>
          <p:cNvPr id="469" name="Скругленный прямоугольник 468"/>
          <p:cNvSpPr/>
          <p:nvPr/>
        </p:nvSpPr>
        <p:spPr>
          <a:xfrm>
            <a:off x="351657" y="2372983"/>
            <a:ext cx="6465832" cy="4151642"/>
          </a:xfrm>
          <a:prstGeom prst="roundRect">
            <a:avLst>
              <a:gd name="adj" fmla="val 425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9" name="Группа 38"/>
          <p:cNvGrpSpPr/>
          <p:nvPr/>
        </p:nvGrpSpPr>
        <p:grpSpPr>
          <a:xfrm>
            <a:off x="452257" y="2418958"/>
            <a:ext cx="6283873" cy="369332"/>
            <a:chOff x="516918" y="2014407"/>
            <a:chExt cx="11304000" cy="369332"/>
          </a:xfrm>
        </p:grpSpPr>
        <p:sp>
          <p:nvSpPr>
            <p:cNvPr id="44" name="Прямоугольник 43"/>
            <p:cNvSpPr/>
            <p:nvPr/>
          </p:nvSpPr>
          <p:spPr>
            <a:xfrm>
              <a:off x="516918" y="2014407"/>
              <a:ext cx="7249695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ru-RU" sz="1200" dirty="0">
                  <a:solidFill>
                    <a:srgbClr val="777777"/>
                  </a:solidFill>
                  <a:latin typeface="Montserrat Medium" panose="00000600000000000000" pitchFamily="2" charset="-52"/>
                </a:rPr>
                <a:t>Для определения сильных и слабых сторон проекта, проведён </a:t>
              </a:r>
              <a:r>
                <a:rPr lang="ru-RU" sz="12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  <a:t>SWOT-анализ</a:t>
              </a:r>
              <a:r>
                <a:rPr lang="ru-RU" sz="1200" dirty="0">
                  <a:solidFill>
                    <a:srgbClr val="777777"/>
                  </a:solidFill>
                  <a:latin typeface="Montserrat Medium" panose="00000600000000000000" pitchFamily="2" charset="-52"/>
                </a:rPr>
                <a:t> </a:t>
              </a:r>
            </a:p>
          </p:txBody>
        </p:sp>
        <p:cxnSp>
          <p:nvCxnSpPr>
            <p:cNvPr id="5" name="Прямая соединительная линия 4"/>
            <p:cNvCxnSpPr/>
            <p:nvPr/>
          </p:nvCxnSpPr>
          <p:spPr>
            <a:xfrm>
              <a:off x="516918" y="2376928"/>
              <a:ext cx="11304000" cy="0"/>
            </a:xfrm>
            <a:prstGeom prst="line">
              <a:avLst/>
            </a:prstGeom>
            <a:ln w="12700" cap="rnd">
              <a:solidFill>
                <a:srgbClr val="969696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Группа 7"/>
          <p:cNvGrpSpPr/>
          <p:nvPr/>
        </p:nvGrpSpPr>
        <p:grpSpPr>
          <a:xfrm>
            <a:off x="452257" y="2965424"/>
            <a:ext cx="3096000" cy="1692000"/>
            <a:chOff x="452257" y="2965424"/>
            <a:chExt cx="3096000" cy="1692000"/>
          </a:xfrm>
        </p:grpSpPr>
        <p:sp>
          <p:nvSpPr>
            <p:cNvPr id="276" name="Скругленный прямоугольник 275"/>
            <p:cNvSpPr/>
            <p:nvPr/>
          </p:nvSpPr>
          <p:spPr>
            <a:xfrm>
              <a:off x="452257" y="2965424"/>
              <a:ext cx="3096000" cy="1692000"/>
            </a:xfrm>
            <a:prstGeom prst="roundRect">
              <a:avLst>
                <a:gd name="adj" fmla="val 8719"/>
              </a:avLst>
            </a:prstGeom>
            <a:noFill/>
            <a:ln w="12700">
              <a:solidFill>
                <a:srgbClr val="D8294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sp>
          <p:nvSpPr>
            <p:cNvPr id="279" name="Скругленный прямоугольник 278"/>
            <p:cNvSpPr/>
            <p:nvPr/>
          </p:nvSpPr>
          <p:spPr>
            <a:xfrm>
              <a:off x="2708910" y="3851421"/>
              <a:ext cx="831727" cy="800924"/>
            </a:xfrm>
            <a:prstGeom prst="roundRect">
              <a:avLst>
                <a:gd name="adj" fmla="val 18136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216000" rIns="36000" bIns="36000" rtlCol="0" anchor="ctr"/>
            <a:lstStyle/>
            <a:p>
              <a:pPr algn="ctr">
                <a:lnSpc>
                  <a:spcPts val="2100"/>
                </a:lnSpc>
              </a:pPr>
              <a:r>
                <a:rPr lang="en-US" sz="4000" b="1" dirty="0">
                  <a:solidFill>
                    <a:srgbClr val="D8294C"/>
                  </a:solidFill>
                  <a:latin typeface="Montserrat" panose="00000500000000000000" pitchFamily="2" charset="-52"/>
                </a:rPr>
                <a:t>S</a:t>
              </a:r>
              <a:endParaRPr lang="ru-RU" sz="1600" b="1" dirty="0">
                <a:solidFill>
                  <a:srgbClr val="D8294C"/>
                </a:solidFill>
                <a:latin typeface="Montserrat" panose="00000500000000000000" pitchFamily="2" charset="-52"/>
              </a:endParaRPr>
            </a:p>
          </p:txBody>
        </p:sp>
      </p:grpSp>
      <p:sp>
        <p:nvSpPr>
          <p:cNvPr id="341" name="Скругленный прямоугольник 340"/>
          <p:cNvSpPr/>
          <p:nvPr/>
        </p:nvSpPr>
        <p:spPr>
          <a:xfrm>
            <a:off x="452257" y="4764804"/>
            <a:ext cx="3096000" cy="1692000"/>
          </a:xfrm>
          <a:prstGeom prst="roundRect">
            <a:avLst>
              <a:gd name="adj" fmla="val 8719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342" name="Скругленный прямоугольник 341"/>
          <p:cNvSpPr/>
          <p:nvPr/>
        </p:nvSpPr>
        <p:spPr>
          <a:xfrm>
            <a:off x="2708910" y="4773685"/>
            <a:ext cx="831727" cy="800924"/>
          </a:xfrm>
          <a:prstGeom prst="roundRect">
            <a:avLst>
              <a:gd name="adj" fmla="val 18136"/>
            </a:avLst>
          </a:prstGeom>
          <a:solidFill>
            <a:srgbClr val="F0F0F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252000" rIns="36000" bIns="36000" rtlCol="0" anchor="ctr"/>
          <a:lstStyle/>
          <a:p>
            <a:pPr algn="ctr">
              <a:lnSpc>
                <a:spcPts val="2100"/>
              </a:lnSpc>
            </a:pPr>
            <a:r>
              <a:rPr lang="en-US" sz="4000" b="1" dirty="0">
                <a:solidFill>
                  <a:srgbClr val="D8294C"/>
                </a:solidFill>
                <a:latin typeface="Montserrat" panose="00000500000000000000" pitchFamily="2" charset="-52"/>
              </a:rPr>
              <a:t>O</a:t>
            </a:r>
            <a:endParaRPr lang="ru-RU" sz="4000" b="1" dirty="0">
              <a:solidFill>
                <a:srgbClr val="D8294C"/>
              </a:solidFill>
              <a:latin typeface="Montserrat" panose="00000500000000000000" pitchFamily="2" charset="-52"/>
            </a:endParaRPr>
          </a:p>
        </p:txBody>
      </p:sp>
      <p:sp>
        <p:nvSpPr>
          <p:cNvPr id="344" name="Скругленный прямоугольник 343"/>
          <p:cNvSpPr/>
          <p:nvPr/>
        </p:nvSpPr>
        <p:spPr>
          <a:xfrm>
            <a:off x="3640130" y="2965424"/>
            <a:ext cx="3096000" cy="1692000"/>
          </a:xfrm>
          <a:prstGeom prst="roundRect">
            <a:avLst>
              <a:gd name="adj" fmla="val 8719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345" name="Скругленный прямоугольник 344"/>
          <p:cNvSpPr/>
          <p:nvPr/>
        </p:nvSpPr>
        <p:spPr>
          <a:xfrm>
            <a:off x="3647867" y="3851421"/>
            <a:ext cx="831727" cy="800924"/>
          </a:xfrm>
          <a:prstGeom prst="roundRect">
            <a:avLst>
              <a:gd name="adj" fmla="val 18136"/>
            </a:avLst>
          </a:prstGeom>
          <a:solidFill>
            <a:srgbClr val="F0F0F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252000" rIns="36000" bIns="36000" rtlCol="0" anchor="ctr"/>
          <a:lstStyle/>
          <a:p>
            <a:pPr algn="ctr">
              <a:lnSpc>
                <a:spcPts val="2100"/>
              </a:lnSpc>
            </a:pPr>
            <a:r>
              <a:rPr lang="en-US" sz="4000" b="1" dirty="0">
                <a:solidFill>
                  <a:srgbClr val="D8294C"/>
                </a:solidFill>
                <a:latin typeface="Montserrat" panose="00000500000000000000" pitchFamily="2" charset="-52"/>
              </a:rPr>
              <a:t>W</a:t>
            </a:r>
            <a:endParaRPr lang="ru-RU" sz="4000" b="1" dirty="0">
              <a:solidFill>
                <a:srgbClr val="D8294C"/>
              </a:solidFill>
              <a:latin typeface="Montserrat" panose="00000500000000000000" pitchFamily="2" charset="-52"/>
            </a:endParaRPr>
          </a:p>
        </p:txBody>
      </p:sp>
      <p:sp>
        <p:nvSpPr>
          <p:cNvPr id="347" name="Скругленный прямоугольник 346"/>
          <p:cNvSpPr/>
          <p:nvPr/>
        </p:nvSpPr>
        <p:spPr>
          <a:xfrm>
            <a:off x="3640130" y="4764804"/>
            <a:ext cx="3096000" cy="1692000"/>
          </a:xfrm>
          <a:prstGeom prst="roundRect">
            <a:avLst>
              <a:gd name="adj" fmla="val 8719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348" name="Скругленный прямоугольник 347"/>
          <p:cNvSpPr/>
          <p:nvPr/>
        </p:nvSpPr>
        <p:spPr>
          <a:xfrm>
            <a:off x="3647867" y="4773685"/>
            <a:ext cx="831727" cy="800924"/>
          </a:xfrm>
          <a:prstGeom prst="roundRect">
            <a:avLst>
              <a:gd name="adj" fmla="val 18136"/>
            </a:avLst>
          </a:prstGeom>
          <a:solidFill>
            <a:srgbClr val="F0F0F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288000" rIns="36000" bIns="36000" rtlCol="0" anchor="ctr"/>
          <a:lstStyle/>
          <a:p>
            <a:pPr algn="ctr">
              <a:lnSpc>
                <a:spcPts val="2100"/>
              </a:lnSpc>
            </a:pPr>
            <a:r>
              <a:rPr lang="en-US" sz="4000" b="1" dirty="0">
                <a:solidFill>
                  <a:srgbClr val="D8294C"/>
                </a:solidFill>
                <a:latin typeface="Montserrat" panose="00000500000000000000" pitchFamily="2" charset="-52"/>
              </a:rPr>
              <a:t>T</a:t>
            </a:r>
            <a:endParaRPr lang="ru-RU" sz="4000" b="1" dirty="0">
              <a:solidFill>
                <a:srgbClr val="D8294C"/>
              </a:solidFill>
              <a:latin typeface="Montserrat" panose="00000500000000000000" pitchFamily="2" charset="-52"/>
            </a:endParaRPr>
          </a:p>
        </p:txBody>
      </p:sp>
      <p:sp>
        <p:nvSpPr>
          <p:cNvPr id="350" name="Прямоугольник 349"/>
          <p:cNvSpPr/>
          <p:nvPr/>
        </p:nvSpPr>
        <p:spPr>
          <a:xfrm>
            <a:off x="616483" y="3189976"/>
            <a:ext cx="2011068" cy="14388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Большой спектр услуг</a:t>
            </a:r>
          </a:p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Удобный подъезд к салону</a:t>
            </a:r>
          </a:p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Своевременные поставки косметических средств</a:t>
            </a:r>
          </a:p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Высокий квалификация сотрудников</a:t>
            </a:r>
          </a:p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Хорошее оснащение оборудованием</a:t>
            </a:r>
          </a:p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Выезд специалиста на дом </a:t>
            </a:r>
          </a:p>
        </p:txBody>
      </p:sp>
      <p:sp>
        <p:nvSpPr>
          <p:cNvPr id="351" name="Прямоугольник 350"/>
          <p:cNvSpPr/>
          <p:nvPr/>
        </p:nvSpPr>
        <p:spPr>
          <a:xfrm>
            <a:off x="616482" y="3017647"/>
            <a:ext cx="1901161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900" b="1" dirty="0">
                <a:solidFill>
                  <a:srgbClr val="D8294C"/>
                </a:solidFill>
                <a:latin typeface="Montserrat" panose="00000500000000000000" pitchFamily="2" charset="-52"/>
              </a:rPr>
              <a:t>Strengths — </a:t>
            </a:r>
            <a:r>
              <a:rPr lang="ru-RU" sz="900" b="1" dirty="0">
                <a:solidFill>
                  <a:srgbClr val="D8294C"/>
                </a:solidFill>
                <a:latin typeface="Montserrat" panose="00000500000000000000" pitchFamily="2" charset="-52"/>
              </a:rPr>
              <a:t>сильные стороны</a:t>
            </a:r>
          </a:p>
        </p:txBody>
      </p:sp>
      <p:sp>
        <p:nvSpPr>
          <p:cNvPr id="352" name="Прямоугольник 351"/>
          <p:cNvSpPr/>
          <p:nvPr/>
        </p:nvSpPr>
        <p:spPr>
          <a:xfrm>
            <a:off x="4571468" y="3189976"/>
            <a:ext cx="2134132" cy="14157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171450" indent="-171450">
              <a:spcAft>
                <a:spcPts val="6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Не насыщенный ассортимент по сравнению с конкурентами</a:t>
            </a:r>
          </a:p>
          <a:p>
            <a:pPr marL="171450" indent="-171450">
              <a:spcAft>
                <a:spcPts val="6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Отсутствие известности</a:t>
            </a:r>
            <a:b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на рынке</a:t>
            </a:r>
          </a:p>
          <a:p>
            <a:pPr marL="171450" indent="-171450">
              <a:spcAft>
                <a:spcPts val="6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Нет комплексного пакета услуг</a:t>
            </a:r>
          </a:p>
          <a:p>
            <a:pPr marL="171450" indent="-171450">
              <a:spcAft>
                <a:spcPts val="6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Нет собственного сайта</a:t>
            </a:r>
          </a:p>
          <a:p>
            <a:pPr marL="171450" indent="-171450">
              <a:spcAft>
                <a:spcPts val="6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Отсутствие программы продвижения услуг</a:t>
            </a:r>
          </a:p>
        </p:txBody>
      </p:sp>
      <p:sp>
        <p:nvSpPr>
          <p:cNvPr id="356" name="Прямоугольник 355"/>
          <p:cNvSpPr/>
          <p:nvPr/>
        </p:nvSpPr>
        <p:spPr>
          <a:xfrm>
            <a:off x="4571467" y="3017647"/>
            <a:ext cx="1979709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900" b="1" dirty="0">
                <a:solidFill>
                  <a:srgbClr val="D8294C"/>
                </a:solidFill>
                <a:latin typeface="Montserrat" panose="00000500000000000000" pitchFamily="2" charset="-52"/>
              </a:rPr>
              <a:t>Weaknesses </a:t>
            </a:r>
            <a:r>
              <a:rPr lang="ru-RU" sz="900" b="1" dirty="0">
                <a:solidFill>
                  <a:srgbClr val="D8294C"/>
                </a:solidFill>
                <a:latin typeface="Montserrat" panose="00000500000000000000" pitchFamily="2" charset="-52"/>
              </a:rPr>
              <a:t>—</a:t>
            </a:r>
            <a:r>
              <a:rPr lang="en-US" sz="900" b="1" dirty="0">
                <a:solidFill>
                  <a:srgbClr val="D8294C"/>
                </a:solidFill>
                <a:latin typeface="Montserrat" panose="00000500000000000000" pitchFamily="2" charset="-52"/>
              </a:rPr>
              <a:t> </a:t>
            </a:r>
            <a:r>
              <a:rPr lang="ru-RU" sz="900" b="1" dirty="0">
                <a:solidFill>
                  <a:srgbClr val="D8294C"/>
                </a:solidFill>
                <a:latin typeface="Montserrat" panose="00000500000000000000" pitchFamily="2" charset="-52"/>
              </a:rPr>
              <a:t>слабые стороны</a:t>
            </a:r>
          </a:p>
        </p:txBody>
      </p:sp>
      <p:sp>
        <p:nvSpPr>
          <p:cNvPr id="357" name="Прямоугольник 356"/>
          <p:cNvSpPr/>
          <p:nvPr/>
        </p:nvSpPr>
        <p:spPr>
          <a:xfrm>
            <a:off x="616483" y="4994588"/>
            <a:ext cx="2011068" cy="14388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Расширение ассортимента</a:t>
            </a:r>
          </a:p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Увеличение количества потенциальных клиентов за счёт внедрения новых услуг</a:t>
            </a:r>
          </a:p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Увеличение доли рынка</a:t>
            </a:r>
          </a:p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Улучшение навыков администраторов</a:t>
            </a:r>
          </a:p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Улучшение рекламной компании</a:t>
            </a:r>
          </a:p>
        </p:txBody>
      </p:sp>
      <p:sp>
        <p:nvSpPr>
          <p:cNvPr id="358" name="Прямоугольник 357"/>
          <p:cNvSpPr/>
          <p:nvPr/>
        </p:nvSpPr>
        <p:spPr>
          <a:xfrm>
            <a:off x="616482" y="4822259"/>
            <a:ext cx="1881925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900" b="1" dirty="0">
                <a:solidFill>
                  <a:srgbClr val="D8294C"/>
                </a:solidFill>
                <a:latin typeface="Montserrat" panose="00000500000000000000" pitchFamily="2" charset="-52"/>
              </a:rPr>
              <a:t>Opportunities </a:t>
            </a:r>
            <a:r>
              <a:rPr lang="ru-RU" sz="900" b="1" dirty="0">
                <a:solidFill>
                  <a:srgbClr val="D8294C"/>
                </a:solidFill>
                <a:latin typeface="Montserrat" panose="00000500000000000000" pitchFamily="2" charset="-52"/>
              </a:rPr>
              <a:t>—</a:t>
            </a:r>
            <a:r>
              <a:rPr lang="en-US" sz="900" b="1" dirty="0">
                <a:solidFill>
                  <a:srgbClr val="D8294C"/>
                </a:solidFill>
                <a:latin typeface="Montserrat" panose="00000500000000000000" pitchFamily="2" charset="-52"/>
              </a:rPr>
              <a:t> </a:t>
            </a:r>
            <a:r>
              <a:rPr lang="ru-RU" sz="900" b="1" dirty="0">
                <a:solidFill>
                  <a:srgbClr val="D8294C"/>
                </a:solidFill>
                <a:latin typeface="Montserrat" panose="00000500000000000000" pitchFamily="2" charset="-52"/>
              </a:rPr>
              <a:t>возможности</a:t>
            </a:r>
          </a:p>
        </p:txBody>
      </p:sp>
      <p:sp>
        <p:nvSpPr>
          <p:cNvPr id="359" name="Прямоугольник 358"/>
          <p:cNvSpPr/>
          <p:nvPr/>
        </p:nvSpPr>
        <p:spPr>
          <a:xfrm>
            <a:off x="4571468" y="4994588"/>
            <a:ext cx="2134132" cy="14516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Увеличение доли рынка основных конкурентов</a:t>
            </a:r>
          </a:p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Уменьшение цен на услуги</a:t>
            </a:r>
            <a:b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у конкурентов</a:t>
            </a:r>
          </a:p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Появление новых конкурентов в зоне действия нашей маникюрной студии красоты</a:t>
            </a:r>
          </a:p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Потеря клиентов</a:t>
            </a:r>
          </a:p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Спад спроса из-за кризиса</a:t>
            </a:r>
          </a:p>
        </p:txBody>
      </p:sp>
      <p:sp>
        <p:nvSpPr>
          <p:cNvPr id="360" name="Прямоугольник 359"/>
          <p:cNvSpPr/>
          <p:nvPr/>
        </p:nvSpPr>
        <p:spPr>
          <a:xfrm>
            <a:off x="4571467" y="4822259"/>
            <a:ext cx="1083630" cy="138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900" b="1" dirty="0">
                <a:solidFill>
                  <a:srgbClr val="D8294C"/>
                </a:solidFill>
                <a:latin typeface="Montserrat" panose="00000500000000000000" pitchFamily="2" charset="-52"/>
              </a:rPr>
              <a:t>Threats </a:t>
            </a:r>
            <a:r>
              <a:rPr lang="ru-RU" sz="900" b="1" dirty="0">
                <a:solidFill>
                  <a:srgbClr val="D8294C"/>
                </a:solidFill>
                <a:latin typeface="Montserrat" panose="00000500000000000000" pitchFamily="2" charset="-52"/>
              </a:rPr>
              <a:t>—</a:t>
            </a:r>
            <a:r>
              <a:rPr lang="en-US" sz="900" b="1" dirty="0">
                <a:solidFill>
                  <a:srgbClr val="D8294C"/>
                </a:solidFill>
                <a:latin typeface="Montserrat" panose="00000500000000000000" pitchFamily="2" charset="-52"/>
              </a:rPr>
              <a:t> </a:t>
            </a:r>
            <a:r>
              <a:rPr lang="ru-RU" sz="900" b="1" dirty="0">
                <a:solidFill>
                  <a:srgbClr val="D8294C"/>
                </a:solidFill>
                <a:latin typeface="Montserrat" panose="00000500000000000000" pitchFamily="2" charset="-52"/>
              </a:rPr>
              <a:t>угрозы</a:t>
            </a:r>
          </a:p>
        </p:txBody>
      </p:sp>
      <p:sp>
        <p:nvSpPr>
          <p:cNvPr id="362" name="Скругленный прямоугольник 361"/>
          <p:cNvSpPr/>
          <p:nvPr/>
        </p:nvSpPr>
        <p:spPr>
          <a:xfrm>
            <a:off x="6965817" y="2372983"/>
            <a:ext cx="4891221" cy="4151642"/>
          </a:xfrm>
          <a:prstGeom prst="roundRect">
            <a:avLst>
              <a:gd name="adj" fmla="val 425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63" name="Группа 362"/>
          <p:cNvGrpSpPr/>
          <p:nvPr/>
        </p:nvGrpSpPr>
        <p:grpSpPr>
          <a:xfrm>
            <a:off x="7066418" y="2418958"/>
            <a:ext cx="4692990" cy="369332"/>
            <a:chOff x="516918" y="2014407"/>
            <a:chExt cx="11304000" cy="369332"/>
          </a:xfrm>
        </p:grpSpPr>
        <p:sp>
          <p:nvSpPr>
            <p:cNvPr id="387" name="Прямоугольник 386"/>
            <p:cNvSpPr/>
            <p:nvPr/>
          </p:nvSpPr>
          <p:spPr>
            <a:xfrm>
              <a:off x="516918" y="2014407"/>
              <a:ext cx="8736308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ru-RU" sz="1200" dirty="0">
                  <a:solidFill>
                    <a:srgbClr val="777777"/>
                  </a:solidFill>
                  <a:latin typeface="Montserrat Medium" panose="00000600000000000000" pitchFamily="2" charset="-52"/>
                </a:rPr>
                <a:t>Для изучения внешней среды</a:t>
              </a:r>
              <a:br>
                <a:rPr lang="ru-RU" sz="1200" dirty="0">
                  <a:solidFill>
                    <a:srgbClr val="777777"/>
                  </a:solidFill>
                  <a:latin typeface="Montserrat Medium" panose="00000600000000000000" pitchFamily="2" charset="-52"/>
                </a:rPr>
              </a:br>
              <a:r>
                <a:rPr lang="ru-RU" sz="1200" dirty="0">
                  <a:solidFill>
                    <a:srgbClr val="777777"/>
                  </a:solidFill>
                  <a:latin typeface="Montserrat Medium" panose="00000600000000000000" pitchFamily="2" charset="-52"/>
                </a:rPr>
                <a:t>в исследовании применён </a:t>
              </a:r>
              <a:r>
                <a:rPr lang="ru-RU" sz="1200" b="1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PEST-анализ</a:t>
              </a:r>
            </a:p>
          </p:txBody>
        </p:sp>
        <p:cxnSp>
          <p:nvCxnSpPr>
            <p:cNvPr id="388" name="Прямая соединительная линия 387"/>
            <p:cNvCxnSpPr/>
            <p:nvPr/>
          </p:nvCxnSpPr>
          <p:spPr>
            <a:xfrm>
              <a:off x="516918" y="2376928"/>
              <a:ext cx="11304000" cy="0"/>
            </a:xfrm>
            <a:prstGeom prst="line">
              <a:avLst/>
            </a:prstGeom>
            <a:ln w="12700" cap="rnd">
              <a:solidFill>
                <a:srgbClr val="969696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2" name="Скругленный прямоугольник 381"/>
          <p:cNvSpPr/>
          <p:nvPr/>
        </p:nvSpPr>
        <p:spPr>
          <a:xfrm>
            <a:off x="7066417" y="2965424"/>
            <a:ext cx="2277336" cy="1692000"/>
          </a:xfrm>
          <a:prstGeom prst="roundRect">
            <a:avLst>
              <a:gd name="adj" fmla="val 8719"/>
            </a:avLst>
          </a:prstGeom>
          <a:noFill/>
          <a:ln w="12700">
            <a:solidFill>
              <a:srgbClr val="4950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386" name="Скругленный прямоугольник 385"/>
          <p:cNvSpPr/>
          <p:nvPr/>
        </p:nvSpPr>
        <p:spPr>
          <a:xfrm>
            <a:off x="8535347" y="3851421"/>
            <a:ext cx="802800" cy="800924"/>
          </a:xfrm>
          <a:prstGeom prst="roundRect">
            <a:avLst>
              <a:gd name="adj" fmla="val 18136"/>
            </a:avLst>
          </a:prstGeom>
          <a:solidFill>
            <a:srgbClr val="F0F0F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216000" rIns="36000" bIns="36000" rtlCol="0" anchor="ctr"/>
          <a:lstStyle/>
          <a:p>
            <a:pPr algn="ctr">
              <a:lnSpc>
                <a:spcPts val="2100"/>
              </a:lnSpc>
            </a:pPr>
            <a:r>
              <a:rPr lang="en-US" sz="4000" b="1" dirty="0">
                <a:solidFill>
                  <a:srgbClr val="4950D0"/>
                </a:solidFill>
                <a:latin typeface="Montserrat" panose="00000500000000000000" pitchFamily="2" charset="-52"/>
              </a:rPr>
              <a:t>P</a:t>
            </a:r>
            <a:endParaRPr lang="ru-RU" sz="1600" b="1" dirty="0">
              <a:solidFill>
                <a:srgbClr val="4950D0"/>
              </a:solidFill>
              <a:latin typeface="Montserrat" panose="00000500000000000000" pitchFamily="2" charset="-52"/>
            </a:endParaRPr>
          </a:p>
        </p:txBody>
      </p:sp>
      <p:sp>
        <p:nvSpPr>
          <p:cNvPr id="365" name="Скругленный прямоугольник 364"/>
          <p:cNvSpPr/>
          <p:nvPr/>
        </p:nvSpPr>
        <p:spPr>
          <a:xfrm>
            <a:off x="7066418" y="4764804"/>
            <a:ext cx="2277336" cy="1692000"/>
          </a:xfrm>
          <a:prstGeom prst="roundRect">
            <a:avLst>
              <a:gd name="adj" fmla="val 8719"/>
            </a:avLst>
          </a:prstGeom>
          <a:noFill/>
          <a:ln w="12700">
            <a:solidFill>
              <a:srgbClr val="4950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366" name="Скругленный прямоугольник 365"/>
          <p:cNvSpPr/>
          <p:nvPr/>
        </p:nvSpPr>
        <p:spPr>
          <a:xfrm>
            <a:off x="8535347" y="4773685"/>
            <a:ext cx="802800" cy="800924"/>
          </a:xfrm>
          <a:prstGeom prst="roundRect">
            <a:avLst>
              <a:gd name="adj" fmla="val 18136"/>
            </a:avLst>
          </a:prstGeom>
          <a:solidFill>
            <a:srgbClr val="F0F0F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252000" rIns="36000" bIns="36000" rtlCol="0" anchor="ctr"/>
          <a:lstStyle/>
          <a:p>
            <a:pPr algn="ctr">
              <a:lnSpc>
                <a:spcPts val="2100"/>
              </a:lnSpc>
            </a:pPr>
            <a:r>
              <a:rPr lang="en-US" sz="4000" b="1" dirty="0">
                <a:solidFill>
                  <a:srgbClr val="4950D0"/>
                </a:solidFill>
                <a:latin typeface="Montserrat" panose="00000500000000000000" pitchFamily="2" charset="-52"/>
              </a:rPr>
              <a:t>S</a:t>
            </a:r>
            <a:endParaRPr lang="ru-RU" sz="4000" b="1" dirty="0">
              <a:solidFill>
                <a:srgbClr val="4950D0"/>
              </a:solidFill>
              <a:latin typeface="Montserrat" panose="00000500000000000000" pitchFamily="2" charset="-52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9496728" y="2965424"/>
            <a:ext cx="2277336" cy="1692000"/>
            <a:chOff x="10254290" y="2965424"/>
            <a:chExt cx="3096000" cy="1692000"/>
          </a:xfrm>
        </p:grpSpPr>
        <p:sp>
          <p:nvSpPr>
            <p:cNvPr id="370" name="Скругленный прямоугольник 369"/>
            <p:cNvSpPr/>
            <p:nvPr/>
          </p:nvSpPr>
          <p:spPr>
            <a:xfrm>
              <a:off x="10254290" y="2965424"/>
              <a:ext cx="3096000" cy="1692000"/>
            </a:xfrm>
            <a:prstGeom prst="roundRect">
              <a:avLst>
                <a:gd name="adj" fmla="val 8719"/>
              </a:avLst>
            </a:prstGeom>
            <a:noFill/>
            <a:ln w="12700">
              <a:solidFill>
                <a:srgbClr val="4950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sp>
          <p:nvSpPr>
            <p:cNvPr id="371" name="Скругленный прямоугольник 370"/>
            <p:cNvSpPr/>
            <p:nvPr/>
          </p:nvSpPr>
          <p:spPr>
            <a:xfrm>
              <a:off x="10262027" y="3851421"/>
              <a:ext cx="1091393" cy="800924"/>
            </a:xfrm>
            <a:prstGeom prst="roundRect">
              <a:avLst>
                <a:gd name="adj" fmla="val 18136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252000" rIns="36000" bIns="36000" rtlCol="0" anchor="ctr"/>
            <a:lstStyle/>
            <a:p>
              <a:pPr algn="ctr">
                <a:lnSpc>
                  <a:spcPts val="2100"/>
                </a:lnSpc>
              </a:pPr>
              <a:r>
                <a:rPr lang="en-US" sz="4000" b="1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E</a:t>
              </a:r>
              <a:endParaRPr lang="ru-RU" sz="4000" b="1" dirty="0">
                <a:solidFill>
                  <a:srgbClr val="4950D0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9496728" y="4764804"/>
            <a:ext cx="2277336" cy="1692000"/>
            <a:chOff x="10254290" y="4764804"/>
            <a:chExt cx="3096000" cy="1692000"/>
          </a:xfrm>
        </p:grpSpPr>
        <p:sp>
          <p:nvSpPr>
            <p:cNvPr id="372" name="Скругленный прямоугольник 371"/>
            <p:cNvSpPr/>
            <p:nvPr/>
          </p:nvSpPr>
          <p:spPr>
            <a:xfrm>
              <a:off x="10254290" y="4764804"/>
              <a:ext cx="3096000" cy="1692000"/>
            </a:xfrm>
            <a:prstGeom prst="roundRect">
              <a:avLst>
                <a:gd name="adj" fmla="val 8719"/>
              </a:avLst>
            </a:prstGeom>
            <a:noFill/>
            <a:ln w="12700">
              <a:solidFill>
                <a:srgbClr val="4950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sp>
          <p:nvSpPr>
            <p:cNvPr id="373" name="Скругленный прямоугольник 372"/>
            <p:cNvSpPr/>
            <p:nvPr/>
          </p:nvSpPr>
          <p:spPr>
            <a:xfrm>
              <a:off x="10262027" y="4773685"/>
              <a:ext cx="1091393" cy="800924"/>
            </a:xfrm>
            <a:prstGeom prst="roundRect">
              <a:avLst>
                <a:gd name="adj" fmla="val 18136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288000" rIns="36000" bIns="36000" rtlCol="0" anchor="ctr"/>
            <a:lstStyle/>
            <a:p>
              <a:pPr algn="ctr">
                <a:lnSpc>
                  <a:spcPts val="2100"/>
                </a:lnSpc>
              </a:pPr>
              <a:r>
                <a:rPr lang="en-US" sz="4000" b="1" dirty="0">
                  <a:solidFill>
                    <a:srgbClr val="4950D0"/>
                  </a:solidFill>
                  <a:latin typeface="Montserrat" panose="00000500000000000000" pitchFamily="2" charset="-52"/>
                </a:rPr>
                <a:t>T</a:t>
              </a:r>
              <a:endParaRPr lang="ru-RU" sz="4000" b="1" dirty="0">
                <a:solidFill>
                  <a:srgbClr val="4950D0"/>
                </a:solidFill>
                <a:latin typeface="Montserrat" panose="00000500000000000000" pitchFamily="2" charset="-52"/>
              </a:endParaRPr>
            </a:p>
          </p:txBody>
        </p:sp>
      </p:grpSp>
      <p:sp>
        <p:nvSpPr>
          <p:cNvPr id="392" name="Прямоугольник 391"/>
          <p:cNvSpPr/>
          <p:nvPr/>
        </p:nvSpPr>
        <p:spPr>
          <a:xfrm>
            <a:off x="7158093" y="3339469"/>
            <a:ext cx="1578403" cy="1284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Изменение законодательства</a:t>
            </a:r>
            <a:b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в области налогообложения</a:t>
            </a:r>
            <a:b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и лицензирования</a:t>
            </a:r>
          </a:p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Государственный контроль</a:t>
            </a:r>
            <a:b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за деятельностью бизнеса</a:t>
            </a:r>
          </a:p>
        </p:txBody>
      </p:sp>
      <p:sp>
        <p:nvSpPr>
          <p:cNvPr id="393" name="Прямоугольник 392"/>
          <p:cNvSpPr/>
          <p:nvPr/>
        </p:nvSpPr>
        <p:spPr>
          <a:xfrm>
            <a:off x="7158092" y="3017647"/>
            <a:ext cx="916918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900" b="1" dirty="0">
                <a:solidFill>
                  <a:srgbClr val="4950D0"/>
                </a:solidFill>
                <a:latin typeface="Montserrat" panose="00000500000000000000" pitchFamily="2" charset="-52"/>
              </a:rPr>
              <a:t>Политические</a:t>
            </a:r>
            <a:br>
              <a:rPr lang="ru-RU" sz="900" b="1" dirty="0">
                <a:solidFill>
                  <a:srgbClr val="4950D0"/>
                </a:solidFill>
                <a:latin typeface="Montserrat" panose="00000500000000000000" pitchFamily="2" charset="-52"/>
              </a:rPr>
            </a:br>
            <a:r>
              <a:rPr lang="ru-RU" sz="900" b="1" dirty="0">
                <a:solidFill>
                  <a:srgbClr val="4950D0"/>
                </a:solidFill>
                <a:latin typeface="Montserrat" panose="00000500000000000000" pitchFamily="2" charset="-52"/>
              </a:rPr>
              <a:t>факторы</a:t>
            </a:r>
          </a:p>
        </p:txBody>
      </p:sp>
      <p:sp>
        <p:nvSpPr>
          <p:cNvPr id="394" name="Прямоугольник 393"/>
          <p:cNvSpPr/>
          <p:nvPr/>
        </p:nvSpPr>
        <p:spPr>
          <a:xfrm>
            <a:off x="10391285" y="3339469"/>
            <a:ext cx="1351259" cy="8079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171450" indent="-171450">
              <a:spcAft>
                <a:spcPts val="6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Уровень инфляции</a:t>
            </a:r>
          </a:p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Покупательная способность</a:t>
            </a:r>
          </a:p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Колебания курса доллара и евро</a:t>
            </a:r>
          </a:p>
        </p:txBody>
      </p:sp>
      <p:sp>
        <p:nvSpPr>
          <p:cNvPr id="395" name="Прямоугольник 394"/>
          <p:cNvSpPr/>
          <p:nvPr/>
        </p:nvSpPr>
        <p:spPr>
          <a:xfrm>
            <a:off x="10391269" y="3017647"/>
            <a:ext cx="1008289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900" b="1" dirty="0">
                <a:solidFill>
                  <a:srgbClr val="4950D0"/>
                </a:solidFill>
                <a:latin typeface="Montserrat" panose="00000500000000000000" pitchFamily="2" charset="-52"/>
              </a:rPr>
              <a:t>Экономические</a:t>
            </a:r>
            <a:br>
              <a:rPr lang="ru-RU" sz="900" b="1" dirty="0">
                <a:solidFill>
                  <a:srgbClr val="4950D0"/>
                </a:solidFill>
                <a:latin typeface="Montserrat" panose="00000500000000000000" pitchFamily="2" charset="-52"/>
              </a:rPr>
            </a:br>
            <a:r>
              <a:rPr lang="ru-RU" sz="900" b="1" dirty="0">
                <a:solidFill>
                  <a:srgbClr val="4950D0"/>
                </a:solidFill>
                <a:latin typeface="Montserrat" panose="00000500000000000000" pitchFamily="2" charset="-52"/>
              </a:rPr>
              <a:t>факторы</a:t>
            </a:r>
          </a:p>
        </p:txBody>
      </p:sp>
      <p:sp>
        <p:nvSpPr>
          <p:cNvPr id="396" name="Прямоугольник 395"/>
          <p:cNvSpPr/>
          <p:nvPr/>
        </p:nvSpPr>
        <p:spPr>
          <a:xfrm>
            <a:off x="7158093" y="5084356"/>
            <a:ext cx="1578403" cy="1361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Общественные ценности,</a:t>
            </a:r>
          </a:p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Демографические факторы,</a:t>
            </a:r>
          </a:p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Уровень индивидуального дохода</a:t>
            </a:r>
          </a:p>
          <a:p>
            <a:pPr marL="171450" indent="-171450"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Новинки</a:t>
            </a:r>
            <a:b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в области моды</a:t>
            </a:r>
          </a:p>
        </p:txBody>
      </p:sp>
      <p:sp>
        <p:nvSpPr>
          <p:cNvPr id="397" name="Прямоугольник 396"/>
          <p:cNvSpPr/>
          <p:nvPr/>
        </p:nvSpPr>
        <p:spPr>
          <a:xfrm>
            <a:off x="7158092" y="4800566"/>
            <a:ext cx="1200650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900" b="1" dirty="0">
                <a:solidFill>
                  <a:srgbClr val="4950D0"/>
                </a:solidFill>
                <a:latin typeface="Montserrat" panose="00000500000000000000" pitchFamily="2" charset="-52"/>
              </a:rPr>
              <a:t>Социо-культурные</a:t>
            </a:r>
            <a:br>
              <a:rPr lang="ru-RU" sz="900" b="1" dirty="0">
                <a:solidFill>
                  <a:srgbClr val="4950D0"/>
                </a:solidFill>
                <a:latin typeface="Montserrat" panose="00000500000000000000" pitchFamily="2" charset="-52"/>
              </a:rPr>
            </a:br>
            <a:r>
              <a:rPr lang="ru-RU" sz="900" b="1" dirty="0">
                <a:solidFill>
                  <a:srgbClr val="4950D0"/>
                </a:solidFill>
                <a:latin typeface="Montserrat" panose="00000500000000000000" pitchFamily="2" charset="-52"/>
              </a:rPr>
              <a:t>факторы</a:t>
            </a:r>
          </a:p>
        </p:txBody>
      </p:sp>
      <p:sp>
        <p:nvSpPr>
          <p:cNvPr id="398" name="Прямоугольник 397"/>
          <p:cNvSpPr/>
          <p:nvPr/>
        </p:nvSpPr>
        <p:spPr>
          <a:xfrm>
            <a:off x="10391270" y="5084356"/>
            <a:ext cx="1393909" cy="12618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171450" indent="-171450">
              <a:spcAft>
                <a:spcPts val="6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Нововведения,</a:t>
            </a:r>
          </a:p>
          <a:p>
            <a:pPr marL="171450" indent="-171450">
              <a:spcAft>
                <a:spcPts val="6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Инновации</a:t>
            </a:r>
            <a:b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в области косметологии</a:t>
            </a:r>
          </a:p>
          <a:p>
            <a:pPr marL="171450" indent="-171450">
              <a:spcAft>
                <a:spcPts val="6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Достижения</a:t>
            </a:r>
            <a:b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в области химии, медицины</a:t>
            </a:r>
            <a:b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900" dirty="0">
                <a:solidFill>
                  <a:srgbClr val="404040"/>
                </a:solidFill>
                <a:latin typeface="Montserrat" panose="00000500000000000000" pitchFamily="2" charset="-52"/>
              </a:rPr>
              <a:t>и косметологии</a:t>
            </a:r>
          </a:p>
        </p:txBody>
      </p:sp>
      <p:sp>
        <p:nvSpPr>
          <p:cNvPr id="399" name="Прямоугольник 398"/>
          <p:cNvSpPr/>
          <p:nvPr/>
        </p:nvSpPr>
        <p:spPr>
          <a:xfrm>
            <a:off x="10391269" y="4800566"/>
            <a:ext cx="1110882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ru-RU" sz="900" b="1" dirty="0">
                <a:solidFill>
                  <a:srgbClr val="4950D0"/>
                </a:solidFill>
                <a:latin typeface="Montserrat" panose="00000500000000000000" pitchFamily="2" charset="-52"/>
              </a:rPr>
              <a:t>Технологические</a:t>
            </a:r>
            <a:br>
              <a:rPr lang="ru-RU" sz="900" b="1" dirty="0">
                <a:solidFill>
                  <a:srgbClr val="4950D0"/>
                </a:solidFill>
                <a:latin typeface="Montserrat" panose="00000500000000000000" pitchFamily="2" charset="-52"/>
              </a:rPr>
            </a:br>
            <a:r>
              <a:rPr lang="ru-RU" sz="900" b="1" dirty="0">
                <a:solidFill>
                  <a:srgbClr val="4950D0"/>
                </a:solidFill>
                <a:latin typeface="Montserrat" panose="00000500000000000000" pitchFamily="2" charset="-52"/>
              </a:rPr>
              <a:t>факторы</a:t>
            </a:r>
          </a:p>
        </p:txBody>
      </p:sp>
      <p:pic>
        <p:nvPicPr>
          <p:cNvPr id="1410" name="Picture 8">
            <a:extLst>
              <a:ext uri="{FF2B5EF4-FFF2-40B4-BE49-F238E27FC236}">
                <a16:creationId xmlns:a16="http://schemas.microsoft.com/office/drawing/2014/main" id="{056A7848-48E4-4E7C-B3A8-8028000288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 l="10521" t="15962" r="77292" b="69215"/>
          <a:stretch>
            <a:fillRect/>
          </a:stretch>
        </p:blipFill>
        <p:spPr bwMode="auto">
          <a:xfrm>
            <a:off x="11231752" y="0"/>
            <a:ext cx="960247" cy="92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656045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5495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5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/>
          <p:cNvSpPr/>
          <p:nvPr/>
        </p:nvSpPr>
        <p:spPr>
          <a:xfrm>
            <a:off x="204216" y="6598515"/>
            <a:ext cx="252990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ru-RU" sz="1200" b="1" i="1" dirty="0">
                <a:solidFill>
                  <a:srgbClr val="4950D0"/>
                </a:solidFill>
                <a:latin typeface="Montserrat" panose="00000500000000000000" pitchFamily="2" charset="-52"/>
              </a:rPr>
              <a:t>7</a:t>
            </a:r>
            <a:r>
              <a:rPr lang="en-US" sz="1200" dirty="0">
                <a:solidFill>
                  <a:srgbClr val="4950D0"/>
                </a:solidFill>
                <a:latin typeface="Montserrat" panose="00000500000000000000" pitchFamily="2" charset="-52"/>
              </a:rPr>
              <a:t>/</a:t>
            </a:r>
            <a:r>
              <a:rPr lang="en-US" sz="800" dirty="0">
                <a:solidFill>
                  <a:srgbClr val="4950D0"/>
                </a:solidFill>
                <a:latin typeface="Montserrat" panose="00000500000000000000" pitchFamily="2" charset="-52"/>
              </a:rPr>
              <a:t>13</a:t>
            </a:r>
            <a:endParaRPr lang="ru-RU" sz="800" dirty="0">
              <a:solidFill>
                <a:srgbClr val="4950D0"/>
              </a:solidFill>
              <a:latin typeface="Montserrat" panose="00000500000000000000" pitchFamily="2" charset="-52"/>
            </a:endParaRPr>
          </a:p>
        </p:txBody>
      </p:sp>
      <p:grpSp>
        <p:nvGrpSpPr>
          <p:cNvPr id="125" name="Группа 124"/>
          <p:cNvGrpSpPr/>
          <p:nvPr/>
        </p:nvGrpSpPr>
        <p:grpSpPr>
          <a:xfrm>
            <a:off x="70414" y="56746"/>
            <a:ext cx="11642162" cy="422119"/>
            <a:chOff x="70414" y="56746"/>
            <a:chExt cx="11642162" cy="422119"/>
          </a:xfrm>
        </p:grpSpPr>
        <p:sp>
          <p:nvSpPr>
            <p:cNvPr id="126" name="Скругленный прямоугольник 125"/>
            <p:cNvSpPr/>
            <p:nvPr/>
          </p:nvSpPr>
          <p:spPr>
            <a:xfrm>
              <a:off x="70414" y="56746"/>
              <a:ext cx="11642162" cy="422119"/>
            </a:xfrm>
            <a:prstGeom prst="roundRect">
              <a:avLst>
                <a:gd name="adj" fmla="val 17873"/>
              </a:avLst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7" name="Скругленный прямоугольник 126"/>
            <p:cNvSpPr/>
            <p:nvPr/>
          </p:nvSpPr>
          <p:spPr>
            <a:xfrm>
              <a:off x="108899" y="103316"/>
              <a:ext cx="710251" cy="328978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Введение</a:t>
              </a:r>
            </a:p>
          </p:txBody>
        </p:sp>
        <p:sp>
          <p:nvSpPr>
            <p:cNvPr id="128" name="Скругленный прямоугольник 127"/>
            <p:cNvSpPr/>
            <p:nvPr/>
          </p:nvSpPr>
          <p:spPr>
            <a:xfrm>
              <a:off x="938864" y="103317"/>
              <a:ext cx="949961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Методология разработки</a:t>
              </a:r>
            </a:p>
          </p:txBody>
        </p:sp>
        <p:sp>
          <p:nvSpPr>
            <p:cNvPr id="129" name="Скругленный прямоугольник 128"/>
            <p:cNvSpPr/>
            <p:nvPr/>
          </p:nvSpPr>
          <p:spPr>
            <a:xfrm>
              <a:off x="2008539" y="103317"/>
              <a:ext cx="190318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Бизнес-модель и бизнес-план </a:t>
              </a:r>
              <a:r>
                <a:rPr lang="ru-RU" sz="800" dirty="0" err="1">
                  <a:solidFill>
                    <a:schemeClr val="bg1"/>
                  </a:solidFill>
                  <a:latin typeface="Montserrat Light" panose="00000400000000000000" pitchFamily="2" charset="-52"/>
                </a:rPr>
                <a:t>стартап</a:t>
              </a:r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-проекта</a:t>
              </a:r>
            </a:p>
          </p:txBody>
        </p:sp>
        <p:sp>
          <p:nvSpPr>
            <p:cNvPr id="130" name="Скругленный прямоугольник 129"/>
            <p:cNvSpPr/>
            <p:nvPr/>
          </p:nvSpPr>
          <p:spPr>
            <a:xfrm>
              <a:off x="4031433" y="103317"/>
              <a:ext cx="1716250" cy="328977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tx1"/>
                  </a:solidFill>
                  <a:latin typeface="Montserrat ExtraBold" panose="00000900000000000000" pitchFamily="2" charset="-52"/>
                </a:rPr>
                <a:t>Маркетинговый анализ, стратегия и сбыт продукта</a:t>
              </a:r>
            </a:p>
          </p:txBody>
        </p:sp>
        <p:sp>
          <p:nvSpPr>
            <p:cNvPr id="131" name="Скругленный прямоугольник 130"/>
            <p:cNvSpPr/>
            <p:nvPr/>
          </p:nvSpPr>
          <p:spPr>
            <a:xfrm>
              <a:off x="5867397" y="103317"/>
              <a:ext cx="1290695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Производственный план</a:t>
              </a:r>
            </a:p>
          </p:txBody>
        </p:sp>
        <p:sp>
          <p:nvSpPr>
            <p:cNvPr id="132" name="Скругленный прямоугольник 131"/>
            <p:cNvSpPr/>
            <p:nvPr/>
          </p:nvSpPr>
          <p:spPr>
            <a:xfrm>
              <a:off x="7277806" y="103317"/>
              <a:ext cx="1177370" cy="328976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Организационный план</a:t>
              </a:r>
            </a:p>
          </p:txBody>
        </p:sp>
        <p:sp>
          <p:nvSpPr>
            <p:cNvPr id="133" name="Скругленный прямоугольник 132"/>
            <p:cNvSpPr/>
            <p:nvPr/>
          </p:nvSpPr>
          <p:spPr>
            <a:xfrm>
              <a:off x="8574890" y="103317"/>
              <a:ext cx="871316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Финансовый план</a:t>
              </a:r>
            </a:p>
          </p:txBody>
        </p:sp>
        <p:sp>
          <p:nvSpPr>
            <p:cNvPr id="134" name="Скругленный прямоугольник 133"/>
            <p:cNvSpPr/>
            <p:nvPr/>
          </p:nvSpPr>
          <p:spPr>
            <a:xfrm>
              <a:off x="9565920" y="103317"/>
              <a:ext cx="73861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Риски</a:t>
              </a:r>
              <a:b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</a:br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и гарантии</a:t>
              </a:r>
            </a:p>
          </p:txBody>
        </p:sp>
        <p:sp>
          <p:nvSpPr>
            <p:cNvPr id="135" name="Скругленный прямоугольник 134"/>
            <p:cNvSpPr/>
            <p:nvPr/>
          </p:nvSpPr>
          <p:spPr>
            <a:xfrm>
              <a:off x="10424241" y="103317"/>
              <a:ext cx="802559" cy="328976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Заключение</a:t>
              </a:r>
            </a:p>
          </p:txBody>
        </p:sp>
        <p:grpSp>
          <p:nvGrpSpPr>
            <p:cNvPr id="136" name="Группа 135"/>
            <p:cNvGrpSpPr/>
            <p:nvPr/>
          </p:nvGrpSpPr>
          <p:grpSpPr>
            <a:xfrm>
              <a:off x="879007" y="109521"/>
              <a:ext cx="9485380" cy="316568"/>
              <a:chOff x="879007" y="69805"/>
              <a:chExt cx="9485380" cy="396000"/>
            </a:xfrm>
          </p:grpSpPr>
          <p:cxnSp>
            <p:nvCxnSpPr>
              <p:cNvPr id="137" name="Прямая соединительная линия 136"/>
              <p:cNvCxnSpPr/>
              <p:nvPr/>
            </p:nvCxnSpPr>
            <p:spPr>
              <a:xfrm>
                <a:off x="87900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Прямая соединительная линия 137"/>
              <p:cNvCxnSpPr/>
              <p:nvPr/>
            </p:nvCxnSpPr>
            <p:spPr>
              <a:xfrm>
                <a:off x="1948682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Прямая соединительная линия 138"/>
              <p:cNvCxnSpPr/>
              <p:nvPr/>
            </p:nvCxnSpPr>
            <p:spPr>
              <a:xfrm>
                <a:off x="3971576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Прямая соединительная линия 139"/>
              <p:cNvCxnSpPr/>
              <p:nvPr/>
            </p:nvCxnSpPr>
            <p:spPr>
              <a:xfrm>
                <a:off x="5807540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Прямая соединительная линия 140"/>
              <p:cNvCxnSpPr/>
              <p:nvPr/>
            </p:nvCxnSpPr>
            <p:spPr>
              <a:xfrm>
                <a:off x="7217949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Прямая соединительная линия 141"/>
              <p:cNvCxnSpPr/>
              <p:nvPr/>
            </p:nvCxnSpPr>
            <p:spPr>
              <a:xfrm>
                <a:off x="851503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Прямая соединительная линия 142"/>
              <p:cNvCxnSpPr/>
              <p:nvPr/>
            </p:nvCxnSpPr>
            <p:spPr>
              <a:xfrm>
                <a:off x="950606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Прямая соединительная линия 143"/>
              <p:cNvCxnSpPr/>
              <p:nvPr/>
            </p:nvCxnSpPr>
            <p:spPr>
              <a:xfrm>
                <a:off x="1036438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" name="Прямоугольник 40"/>
          <p:cNvSpPr/>
          <p:nvPr/>
        </p:nvSpPr>
        <p:spPr>
          <a:xfrm>
            <a:off x="351657" y="720917"/>
            <a:ext cx="11505381" cy="999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4000"/>
              </a:lnSpc>
            </a:pPr>
            <a:r>
              <a:rPr lang="ru-RU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Для продвижения в сети Интернет можно использовать </a:t>
            </a:r>
            <a:r>
              <a:rPr lang="ru-RU" sz="3200" b="1" dirty="0">
                <a:solidFill>
                  <a:srgbClr val="D8294C"/>
                </a:solidFill>
                <a:latin typeface="Montserrat" panose="00000500000000000000" pitchFamily="2" charset="-52"/>
              </a:rPr>
              <a:t>3 основных метода</a:t>
            </a:r>
          </a:p>
        </p:txBody>
      </p:sp>
      <p:pic>
        <p:nvPicPr>
          <p:cNvPr id="146" name="Рисунок 14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57" y="1879780"/>
            <a:ext cx="3634074" cy="2036900"/>
          </a:xfrm>
          <a:prstGeom prst="roundRect">
            <a:avLst>
              <a:gd name="adj" fmla="val 10557"/>
            </a:avLst>
          </a:prstGeom>
        </p:spPr>
      </p:pic>
      <p:sp>
        <p:nvSpPr>
          <p:cNvPr id="149" name="Скругленный прямоугольник 148"/>
          <p:cNvSpPr/>
          <p:nvPr/>
        </p:nvSpPr>
        <p:spPr>
          <a:xfrm>
            <a:off x="351657" y="3410482"/>
            <a:ext cx="2458829" cy="506198"/>
          </a:xfrm>
          <a:prstGeom prst="roundRect">
            <a:avLst>
              <a:gd name="adj" fmla="val 44065"/>
            </a:avLst>
          </a:prstGeom>
          <a:solidFill>
            <a:srgbClr val="D829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Montserrat" panose="00000500000000000000" pitchFamily="2" charset="-52"/>
              </a:rPr>
              <a:t>Социальные сети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4282549" y="1879779"/>
            <a:ext cx="3634076" cy="2039371"/>
            <a:chOff x="351656" y="3644900"/>
            <a:chExt cx="2581100" cy="1448462"/>
          </a:xfrm>
        </p:grpSpPr>
        <p:pic>
          <p:nvPicPr>
            <p:cNvPr id="150" name="Рисунок 149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802"/>
            <a:stretch/>
          </p:blipFill>
          <p:spPr>
            <a:xfrm>
              <a:off x="351657" y="3644900"/>
              <a:ext cx="2581099" cy="1448462"/>
            </a:xfrm>
            <a:prstGeom prst="roundRect">
              <a:avLst>
                <a:gd name="adj" fmla="val 11697"/>
              </a:avLst>
            </a:prstGeom>
          </p:spPr>
        </p:pic>
        <p:sp>
          <p:nvSpPr>
            <p:cNvPr id="151" name="Скругленный прямоугольник 150"/>
            <p:cNvSpPr/>
            <p:nvPr/>
          </p:nvSpPr>
          <p:spPr>
            <a:xfrm>
              <a:off x="351656" y="4733835"/>
              <a:ext cx="1746383" cy="359527"/>
            </a:xfrm>
            <a:prstGeom prst="roundRect">
              <a:avLst>
                <a:gd name="adj" fmla="val 44065"/>
              </a:avLst>
            </a:prstGeom>
            <a:solidFill>
              <a:srgbClr val="D829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r>
                <a:rPr lang="ru-RU" sz="12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Продающая страница</a:t>
              </a:r>
              <a:br>
                <a:rPr lang="ru-RU" sz="12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</a:br>
              <a:r>
                <a:rPr lang="ru-RU" sz="12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(</a:t>
              </a:r>
              <a:r>
                <a:rPr lang="en-US" sz="12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lending page)</a:t>
              </a:r>
              <a:endParaRPr lang="ru-RU" sz="1200" b="1" dirty="0">
                <a:solidFill>
                  <a:schemeClr val="bg1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8213443" y="1879779"/>
            <a:ext cx="3634074" cy="2053377"/>
            <a:chOff x="4343398" y="3326487"/>
            <a:chExt cx="2581099" cy="1458410"/>
          </a:xfrm>
        </p:grpSpPr>
        <p:pic>
          <p:nvPicPr>
            <p:cNvPr id="2" name="Рисунок 1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119" b="11103"/>
            <a:stretch/>
          </p:blipFill>
          <p:spPr>
            <a:xfrm>
              <a:off x="4343398" y="3326487"/>
              <a:ext cx="2581099" cy="1458410"/>
            </a:xfrm>
            <a:prstGeom prst="roundRect">
              <a:avLst>
                <a:gd name="adj" fmla="val 10557"/>
              </a:avLst>
            </a:prstGeom>
          </p:spPr>
        </p:pic>
        <p:sp>
          <p:nvSpPr>
            <p:cNvPr id="152" name="Скругленный прямоугольник 151"/>
            <p:cNvSpPr/>
            <p:nvPr/>
          </p:nvSpPr>
          <p:spPr>
            <a:xfrm>
              <a:off x="4343398" y="4425370"/>
              <a:ext cx="1746383" cy="359527"/>
            </a:xfrm>
            <a:prstGeom prst="roundRect">
              <a:avLst>
                <a:gd name="adj" fmla="val 44065"/>
              </a:avLst>
            </a:prstGeom>
            <a:solidFill>
              <a:srgbClr val="D829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r>
                <a:rPr lang="ru-RU" sz="120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Контекстная реклама</a:t>
              </a:r>
            </a:p>
          </p:txBody>
        </p:sp>
      </p:grpSp>
      <p:sp>
        <p:nvSpPr>
          <p:cNvPr id="153" name="Прямоугольник 152"/>
          <p:cNvSpPr/>
          <p:nvPr/>
        </p:nvSpPr>
        <p:spPr>
          <a:xfrm>
            <a:off x="330712" y="3984346"/>
            <a:ext cx="3655020" cy="25675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285750" indent="-285750">
              <a:lnSpc>
                <a:spcPts val="1900"/>
              </a:lnSpc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Позволяет регулярно предоставлять клиентам новую информацию в сфере ногтевого сервиса</a:t>
            </a:r>
          </a:p>
          <a:p>
            <a:pPr marL="285750" indent="-285750">
              <a:lnSpc>
                <a:spcPts val="1900"/>
              </a:lnSpc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Ежедневно публиковать фотографии выполненных работ</a:t>
            </a:r>
          </a:p>
          <a:p>
            <a:pPr marL="285750" indent="-285750">
              <a:lnSpc>
                <a:spcPts val="1900"/>
              </a:lnSpc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Размещать отзывы клиентов</a:t>
            </a:r>
          </a:p>
          <a:p>
            <a:pPr marL="285750" indent="-285750">
              <a:lnSpc>
                <a:spcPts val="1900"/>
              </a:lnSpc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Напоминать о проводимых акциях</a:t>
            </a:r>
            <a:b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и скидках</a:t>
            </a:r>
          </a:p>
          <a:p>
            <a:pPr marL="285750" indent="-285750">
              <a:lnSpc>
                <a:spcPts val="1900"/>
              </a:lnSpc>
              <a:spcAft>
                <a:spcPts val="3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Вести авторские статьи от имени</a:t>
            </a:r>
            <a:b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каждого мастера</a:t>
            </a:r>
          </a:p>
        </p:txBody>
      </p:sp>
      <p:sp>
        <p:nvSpPr>
          <p:cNvPr id="156" name="Прямоугольник 155"/>
          <p:cNvSpPr/>
          <p:nvPr/>
        </p:nvSpPr>
        <p:spPr>
          <a:xfrm>
            <a:off x="4282549" y="3984346"/>
            <a:ext cx="3655020" cy="20005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171450" indent="-171450">
              <a:lnSpc>
                <a:spcPts val="2400"/>
              </a:lnSpc>
              <a:spcAft>
                <a:spcPts val="12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Веб-страница, разработанная с целью максимально привлечь посетителей</a:t>
            </a:r>
          </a:p>
          <a:p>
            <a:pPr marL="171450" indent="-171450">
              <a:lnSpc>
                <a:spcPts val="2400"/>
              </a:lnSpc>
              <a:spcAft>
                <a:spcPts val="12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Вдохновить их на покупку продукта</a:t>
            </a:r>
          </a:p>
          <a:p>
            <a:pPr marL="171450" indent="-171450">
              <a:lnSpc>
                <a:spcPts val="2400"/>
              </a:lnSpc>
              <a:spcAft>
                <a:spcPts val="12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Подписаться на рассылку</a:t>
            </a:r>
          </a:p>
          <a:p>
            <a:pPr marL="171450" indent="-171450">
              <a:lnSpc>
                <a:spcPts val="2400"/>
              </a:lnSpc>
              <a:spcAft>
                <a:spcPts val="1200"/>
              </a:spcAft>
              <a:buClr>
                <a:srgbClr val="40404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Заполнить форму</a:t>
            </a:r>
          </a:p>
        </p:txBody>
      </p:sp>
      <p:sp>
        <p:nvSpPr>
          <p:cNvPr id="157" name="Прямоугольник 156"/>
          <p:cNvSpPr/>
          <p:nvPr/>
        </p:nvSpPr>
        <p:spPr>
          <a:xfrm>
            <a:off x="8213443" y="3984346"/>
            <a:ext cx="3655020" cy="25648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2500"/>
              </a:lnSpc>
              <a:spcAft>
                <a:spcPts val="1200"/>
              </a:spcAft>
              <a:buClr>
                <a:srgbClr val="404040"/>
              </a:buClr>
            </a:pPr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Форма интернет-рекламы, которая отображается на веб-страницах</a:t>
            </a:r>
            <a:b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или в результатах поиска в соответствии</a:t>
            </a:r>
            <a:b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с контекстом страницы или запросом пользователя. Она основана</a:t>
            </a:r>
            <a:b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на использовании ключевых слов</a:t>
            </a:r>
            <a:b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или тематических категорий, связанных</a:t>
            </a:r>
            <a:b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</a:br>
            <a:r>
              <a:rPr lang="ru-RU" sz="1200" dirty="0">
                <a:solidFill>
                  <a:srgbClr val="404040"/>
                </a:solidFill>
                <a:latin typeface="Montserrat" panose="00000500000000000000" pitchFamily="2" charset="-52"/>
              </a:rPr>
              <a:t>с рекламируемым продуктом или услугой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4134140" y="1879780"/>
            <a:ext cx="0" cy="4644846"/>
          </a:xfrm>
          <a:prstGeom prst="line">
            <a:avLst/>
          </a:prstGeom>
          <a:ln w="15875">
            <a:solidFill>
              <a:srgbClr val="D829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Прямая соединительная линия 157"/>
          <p:cNvCxnSpPr/>
          <p:nvPr/>
        </p:nvCxnSpPr>
        <p:spPr>
          <a:xfrm>
            <a:off x="8065034" y="1879780"/>
            <a:ext cx="0" cy="4644846"/>
          </a:xfrm>
          <a:prstGeom prst="line">
            <a:avLst/>
          </a:prstGeom>
          <a:ln w="15875">
            <a:solidFill>
              <a:srgbClr val="D829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25" name="Picture 8">
            <a:extLst>
              <a:ext uri="{FF2B5EF4-FFF2-40B4-BE49-F238E27FC236}">
                <a16:creationId xmlns:a16="http://schemas.microsoft.com/office/drawing/2014/main" id="{2557EF73-957A-462B-9AC6-5B693DA9DF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/>
          <a:srcRect l="10521" t="15962" r="77292" b="69215"/>
          <a:stretch>
            <a:fillRect/>
          </a:stretch>
        </p:blipFill>
        <p:spPr bwMode="auto">
          <a:xfrm>
            <a:off x="11302758" y="0"/>
            <a:ext cx="889242" cy="92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7699303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5495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9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/>
          <p:cNvSpPr/>
          <p:nvPr/>
        </p:nvSpPr>
        <p:spPr>
          <a:xfrm>
            <a:off x="204216" y="6598515"/>
            <a:ext cx="252990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ru-RU" sz="1200" b="1" i="1" dirty="0">
                <a:solidFill>
                  <a:srgbClr val="4950D0"/>
                </a:solidFill>
                <a:latin typeface="Montserrat" panose="00000500000000000000" pitchFamily="2" charset="-52"/>
              </a:rPr>
              <a:t>8</a:t>
            </a:r>
            <a:r>
              <a:rPr lang="en-US" sz="1200" dirty="0">
                <a:solidFill>
                  <a:srgbClr val="4950D0"/>
                </a:solidFill>
                <a:latin typeface="Montserrat" panose="00000500000000000000" pitchFamily="2" charset="-52"/>
              </a:rPr>
              <a:t>/</a:t>
            </a:r>
            <a:r>
              <a:rPr lang="en-US" sz="800" dirty="0">
                <a:solidFill>
                  <a:srgbClr val="4950D0"/>
                </a:solidFill>
                <a:latin typeface="Montserrat" panose="00000500000000000000" pitchFamily="2" charset="-52"/>
              </a:rPr>
              <a:t>13</a:t>
            </a:r>
            <a:endParaRPr lang="ru-RU" sz="800" dirty="0">
              <a:solidFill>
                <a:srgbClr val="4950D0"/>
              </a:solidFill>
              <a:latin typeface="Montserrat" panose="00000500000000000000" pitchFamily="2" charset="-52"/>
            </a:endParaRPr>
          </a:p>
        </p:txBody>
      </p:sp>
      <p:grpSp>
        <p:nvGrpSpPr>
          <p:cNvPr id="125" name="Группа 124"/>
          <p:cNvGrpSpPr/>
          <p:nvPr/>
        </p:nvGrpSpPr>
        <p:grpSpPr>
          <a:xfrm>
            <a:off x="70414" y="56746"/>
            <a:ext cx="11638630" cy="422119"/>
            <a:chOff x="70414" y="56746"/>
            <a:chExt cx="11638630" cy="422119"/>
          </a:xfrm>
        </p:grpSpPr>
        <p:sp>
          <p:nvSpPr>
            <p:cNvPr id="126" name="Скругленный прямоугольник 125"/>
            <p:cNvSpPr/>
            <p:nvPr/>
          </p:nvSpPr>
          <p:spPr>
            <a:xfrm>
              <a:off x="70414" y="56746"/>
              <a:ext cx="11638630" cy="422119"/>
            </a:xfrm>
            <a:prstGeom prst="roundRect">
              <a:avLst>
                <a:gd name="adj" fmla="val 17873"/>
              </a:avLst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7" name="Скругленный прямоугольник 126"/>
            <p:cNvSpPr/>
            <p:nvPr/>
          </p:nvSpPr>
          <p:spPr>
            <a:xfrm>
              <a:off x="108899" y="103316"/>
              <a:ext cx="710251" cy="328978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Введение</a:t>
              </a:r>
            </a:p>
          </p:txBody>
        </p:sp>
        <p:sp>
          <p:nvSpPr>
            <p:cNvPr id="128" name="Скругленный прямоугольник 127"/>
            <p:cNvSpPr/>
            <p:nvPr/>
          </p:nvSpPr>
          <p:spPr>
            <a:xfrm>
              <a:off x="938864" y="103317"/>
              <a:ext cx="949961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Методология разработки</a:t>
              </a:r>
            </a:p>
          </p:txBody>
        </p:sp>
        <p:sp>
          <p:nvSpPr>
            <p:cNvPr id="129" name="Скругленный прямоугольник 128"/>
            <p:cNvSpPr/>
            <p:nvPr/>
          </p:nvSpPr>
          <p:spPr>
            <a:xfrm>
              <a:off x="2008539" y="103317"/>
              <a:ext cx="190318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Бизнес-модель и бизнес-план </a:t>
              </a:r>
              <a:r>
                <a:rPr lang="ru-RU" sz="800" dirty="0" err="1">
                  <a:solidFill>
                    <a:schemeClr val="bg1"/>
                  </a:solidFill>
                  <a:latin typeface="Montserrat Light" panose="00000400000000000000" pitchFamily="2" charset="-52"/>
                </a:rPr>
                <a:t>стартап</a:t>
              </a:r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-проекта</a:t>
              </a:r>
            </a:p>
          </p:txBody>
        </p:sp>
        <p:sp>
          <p:nvSpPr>
            <p:cNvPr id="130" name="Скругленный прямоугольник 129"/>
            <p:cNvSpPr/>
            <p:nvPr/>
          </p:nvSpPr>
          <p:spPr>
            <a:xfrm>
              <a:off x="4031433" y="103317"/>
              <a:ext cx="171625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Маркетинговый анализ, стратегия и сбыт продукта</a:t>
              </a:r>
            </a:p>
          </p:txBody>
        </p:sp>
        <p:sp>
          <p:nvSpPr>
            <p:cNvPr id="131" name="Скругленный прямоугольник 130"/>
            <p:cNvSpPr/>
            <p:nvPr/>
          </p:nvSpPr>
          <p:spPr>
            <a:xfrm>
              <a:off x="5867397" y="103317"/>
              <a:ext cx="1290695" cy="328977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tx1"/>
                  </a:solidFill>
                  <a:latin typeface="Montserrat ExtraBold" panose="00000900000000000000" pitchFamily="2" charset="-52"/>
                </a:rPr>
                <a:t>Производственный план</a:t>
              </a:r>
            </a:p>
          </p:txBody>
        </p:sp>
        <p:sp>
          <p:nvSpPr>
            <p:cNvPr id="132" name="Скругленный прямоугольник 131"/>
            <p:cNvSpPr/>
            <p:nvPr/>
          </p:nvSpPr>
          <p:spPr>
            <a:xfrm>
              <a:off x="7277806" y="103317"/>
              <a:ext cx="1177370" cy="328976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Организационный план</a:t>
              </a:r>
            </a:p>
          </p:txBody>
        </p:sp>
        <p:sp>
          <p:nvSpPr>
            <p:cNvPr id="133" name="Скругленный прямоугольник 132"/>
            <p:cNvSpPr/>
            <p:nvPr/>
          </p:nvSpPr>
          <p:spPr>
            <a:xfrm>
              <a:off x="8574890" y="103317"/>
              <a:ext cx="871316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Финансовый план</a:t>
              </a:r>
            </a:p>
          </p:txBody>
        </p:sp>
        <p:sp>
          <p:nvSpPr>
            <p:cNvPr id="134" name="Скругленный прямоугольник 133"/>
            <p:cNvSpPr/>
            <p:nvPr/>
          </p:nvSpPr>
          <p:spPr>
            <a:xfrm>
              <a:off x="9565920" y="103317"/>
              <a:ext cx="738610" cy="328977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Риски</a:t>
              </a:r>
              <a:b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</a:br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и гарантии</a:t>
              </a:r>
            </a:p>
          </p:txBody>
        </p:sp>
        <p:sp>
          <p:nvSpPr>
            <p:cNvPr id="135" name="Скругленный прямоугольник 134"/>
            <p:cNvSpPr/>
            <p:nvPr/>
          </p:nvSpPr>
          <p:spPr>
            <a:xfrm>
              <a:off x="10424241" y="103317"/>
              <a:ext cx="802559" cy="328976"/>
            </a:xfrm>
            <a:prstGeom prst="roundRect">
              <a:avLst/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r>
                <a:rPr lang="ru-RU" sz="800" dirty="0">
                  <a:solidFill>
                    <a:schemeClr val="bg1"/>
                  </a:solidFill>
                  <a:latin typeface="Montserrat Light" panose="00000400000000000000" pitchFamily="2" charset="-52"/>
                </a:rPr>
                <a:t>Заключение</a:t>
              </a:r>
            </a:p>
          </p:txBody>
        </p:sp>
        <p:grpSp>
          <p:nvGrpSpPr>
            <p:cNvPr id="136" name="Группа 135"/>
            <p:cNvGrpSpPr/>
            <p:nvPr/>
          </p:nvGrpSpPr>
          <p:grpSpPr>
            <a:xfrm>
              <a:off x="879007" y="109521"/>
              <a:ext cx="9485380" cy="316568"/>
              <a:chOff x="879007" y="69805"/>
              <a:chExt cx="9485380" cy="396000"/>
            </a:xfrm>
          </p:grpSpPr>
          <p:cxnSp>
            <p:nvCxnSpPr>
              <p:cNvPr id="137" name="Прямая соединительная линия 136"/>
              <p:cNvCxnSpPr/>
              <p:nvPr/>
            </p:nvCxnSpPr>
            <p:spPr>
              <a:xfrm>
                <a:off x="87900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Прямая соединительная линия 137"/>
              <p:cNvCxnSpPr/>
              <p:nvPr/>
            </p:nvCxnSpPr>
            <p:spPr>
              <a:xfrm>
                <a:off x="1948682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Прямая соединительная линия 138"/>
              <p:cNvCxnSpPr/>
              <p:nvPr/>
            </p:nvCxnSpPr>
            <p:spPr>
              <a:xfrm>
                <a:off x="3971576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Прямая соединительная линия 139"/>
              <p:cNvCxnSpPr/>
              <p:nvPr/>
            </p:nvCxnSpPr>
            <p:spPr>
              <a:xfrm>
                <a:off x="5807540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Прямая соединительная линия 140"/>
              <p:cNvCxnSpPr/>
              <p:nvPr/>
            </p:nvCxnSpPr>
            <p:spPr>
              <a:xfrm>
                <a:off x="7217949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Прямая соединительная линия 141"/>
              <p:cNvCxnSpPr/>
              <p:nvPr/>
            </p:nvCxnSpPr>
            <p:spPr>
              <a:xfrm>
                <a:off x="851503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Прямая соединительная линия 142"/>
              <p:cNvCxnSpPr/>
              <p:nvPr/>
            </p:nvCxnSpPr>
            <p:spPr>
              <a:xfrm>
                <a:off x="9506063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Прямая соединительная линия 143"/>
              <p:cNvCxnSpPr/>
              <p:nvPr/>
            </p:nvCxnSpPr>
            <p:spPr>
              <a:xfrm>
                <a:off x="10364387" y="69805"/>
                <a:ext cx="0" cy="3960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" name="Прямоугольник 40"/>
          <p:cNvSpPr/>
          <p:nvPr/>
        </p:nvSpPr>
        <p:spPr>
          <a:xfrm>
            <a:off x="351657" y="707484"/>
            <a:ext cx="11505381" cy="10259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4000"/>
              </a:lnSpc>
            </a:pPr>
            <a:r>
              <a:rPr lang="ru-RU" sz="3200" b="1" dirty="0">
                <a:solidFill>
                  <a:srgbClr val="404040"/>
                </a:solidFill>
                <a:latin typeface="Montserrat" panose="00000500000000000000" pitchFamily="2" charset="-52"/>
              </a:rPr>
              <a:t>Салон полностью окупит инвестиции и начнёт приносить прибыль </a:t>
            </a:r>
            <a:r>
              <a:rPr lang="ru-RU" sz="3200" b="1" dirty="0">
                <a:solidFill>
                  <a:srgbClr val="D8294C"/>
                </a:solidFill>
                <a:latin typeface="Montserrat" panose="00000500000000000000" pitchFamily="2" charset="-52"/>
              </a:rPr>
              <a:t>на 10-й месяц работы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0629" b="35888"/>
          <a:stretch/>
        </p:blipFill>
        <p:spPr>
          <a:xfrm>
            <a:off x="351656" y="1768130"/>
            <a:ext cx="11488279" cy="2884893"/>
          </a:xfrm>
          <a:prstGeom prst="roundRect">
            <a:avLst>
              <a:gd name="adj" fmla="val 4985"/>
            </a:avLst>
          </a:prstGeom>
        </p:spPr>
      </p:pic>
      <p:grpSp>
        <p:nvGrpSpPr>
          <p:cNvPr id="10" name="Группа 9"/>
          <p:cNvGrpSpPr/>
          <p:nvPr/>
        </p:nvGrpSpPr>
        <p:grpSpPr>
          <a:xfrm>
            <a:off x="7277806" y="1768130"/>
            <a:ext cx="4562130" cy="1538950"/>
            <a:chOff x="7277806" y="1768130"/>
            <a:chExt cx="4562130" cy="1538950"/>
          </a:xfrm>
        </p:grpSpPr>
        <p:sp>
          <p:nvSpPr>
            <p:cNvPr id="99" name="Скругленный прямоугольник 98"/>
            <p:cNvSpPr/>
            <p:nvPr/>
          </p:nvSpPr>
          <p:spPr>
            <a:xfrm>
              <a:off x="7277806" y="1768130"/>
              <a:ext cx="4562130" cy="1538950"/>
            </a:xfrm>
            <a:prstGeom prst="roundRect">
              <a:avLst>
                <a:gd name="adj" fmla="val 10543"/>
              </a:avLst>
            </a:prstGeom>
            <a:solidFill>
              <a:srgbClr val="495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endParaRPr lang="ru-RU" sz="1200" b="1" dirty="0">
                <a:solidFill>
                  <a:schemeClr val="bg1"/>
                </a:solidFill>
                <a:latin typeface="Montserrat" panose="00000500000000000000" pitchFamily="2" charset="-52"/>
              </a:endParaRPr>
            </a:p>
          </p:txBody>
        </p:sp>
        <p:grpSp>
          <p:nvGrpSpPr>
            <p:cNvPr id="9" name="Группа 8"/>
            <p:cNvGrpSpPr/>
            <p:nvPr/>
          </p:nvGrpSpPr>
          <p:grpSpPr>
            <a:xfrm>
              <a:off x="7408700" y="1876457"/>
              <a:ext cx="4300343" cy="1322296"/>
              <a:chOff x="7429802" y="1923867"/>
              <a:chExt cx="4300343" cy="1322296"/>
            </a:xfrm>
          </p:grpSpPr>
          <p:grpSp>
            <p:nvGrpSpPr>
              <p:cNvPr id="116" name="Группа 115"/>
              <p:cNvGrpSpPr/>
              <p:nvPr/>
            </p:nvGrpSpPr>
            <p:grpSpPr>
              <a:xfrm>
                <a:off x="7429802" y="1923867"/>
                <a:ext cx="1343357" cy="539648"/>
                <a:chOff x="430667" y="2607637"/>
                <a:chExt cx="1343357" cy="539648"/>
              </a:xfrm>
            </p:grpSpPr>
            <p:grpSp>
              <p:nvGrpSpPr>
                <p:cNvPr id="117" name="Группа 116"/>
                <p:cNvGrpSpPr/>
                <p:nvPr/>
              </p:nvGrpSpPr>
              <p:grpSpPr>
                <a:xfrm>
                  <a:off x="516918" y="2607637"/>
                  <a:ext cx="1257106" cy="539648"/>
                  <a:chOff x="516918" y="2607637"/>
                  <a:chExt cx="1257106" cy="539648"/>
                </a:xfrm>
              </p:grpSpPr>
              <p:sp>
                <p:nvSpPr>
                  <p:cNvPr id="119" name="Прямоугольник 118"/>
                  <p:cNvSpPr/>
                  <p:nvPr/>
                </p:nvSpPr>
                <p:spPr>
                  <a:xfrm>
                    <a:off x="516919" y="2839508"/>
                    <a:ext cx="1257105" cy="307777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0" tIns="0" rIns="0" bIns="0" rtlCol="0" anchor="ctr">
                    <a:spAutoFit/>
                  </a:bodyPr>
                  <a:lstStyle/>
                  <a:p>
                    <a:r>
                      <a:rPr lang="ru-RU" sz="1000" dirty="0">
                        <a:solidFill>
                          <a:schemeClr val="bg1"/>
                        </a:solidFill>
                        <a:latin typeface="Montserrat" panose="00000500000000000000" pitchFamily="2" charset="-52"/>
                      </a:rPr>
                      <a:t>Средний стоимость аренды </a:t>
                    </a:r>
                  </a:p>
                </p:txBody>
              </p:sp>
              <p:sp>
                <p:nvSpPr>
                  <p:cNvPr id="120" name="Прямоугольник 119"/>
                  <p:cNvSpPr/>
                  <p:nvPr/>
                </p:nvSpPr>
                <p:spPr>
                  <a:xfrm>
                    <a:off x="516918" y="2607637"/>
                    <a:ext cx="908903" cy="215444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lIns="0" tIns="0" rIns="0" bIns="0" rtlCol="0" anchor="ctr">
                    <a:spAutoFit/>
                  </a:bodyPr>
                  <a:lstStyle/>
                  <a:p>
                    <a:r>
                      <a:rPr lang="ru-RU" sz="1400" b="1" dirty="0">
                        <a:solidFill>
                          <a:schemeClr val="bg1"/>
                        </a:solidFill>
                        <a:latin typeface="Montserrat" panose="00000500000000000000" pitchFamily="2" charset="-52"/>
                      </a:rPr>
                      <a:t>25 </a:t>
                    </a:r>
                    <a:r>
                      <a:rPr lang="ru-RU" sz="1050" b="1" dirty="0">
                        <a:solidFill>
                          <a:schemeClr val="bg1"/>
                        </a:solidFill>
                        <a:latin typeface="Montserrat" panose="00000500000000000000" pitchFamily="2" charset="-52"/>
                      </a:rPr>
                      <a:t>тыс. руб.</a:t>
                    </a:r>
                  </a:p>
                </p:txBody>
              </p:sp>
            </p:grpSp>
            <p:cxnSp>
              <p:nvCxnSpPr>
                <p:cNvPr id="118" name="Прямая соединительная линия 117"/>
                <p:cNvCxnSpPr/>
                <p:nvPr/>
              </p:nvCxnSpPr>
              <p:spPr>
                <a:xfrm rot="5400000">
                  <a:off x="196667" y="2891543"/>
                  <a:ext cx="468000" cy="0"/>
                </a:xfrm>
                <a:prstGeom prst="line">
                  <a:avLst/>
                </a:prstGeom>
                <a:ln w="38100" cap="rnd">
                  <a:solidFill>
                    <a:schemeClr val="bg1"/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1" name="Группа 120"/>
              <p:cNvGrpSpPr/>
              <p:nvPr/>
            </p:nvGrpSpPr>
            <p:grpSpPr>
              <a:xfrm>
                <a:off x="9025509" y="1923867"/>
                <a:ext cx="1445597" cy="539648"/>
                <a:chOff x="430667" y="2607637"/>
                <a:chExt cx="1445597" cy="539648"/>
              </a:xfrm>
            </p:grpSpPr>
            <p:grpSp>
              <p:nvGrpSpPr>
                <p:cNvPr id="122" name="Группа 121"/>
                <p:cNvGrpSpPr/>
                <p:nvPr/>
              </p:nvGrpSpPr>
              <p:grpSpPr>
                <a:xfrm>
                  <a:off x="516918" y="2607637"/>
                  <a:ext cx="1359346" cy="539648"/>
                  <a:chOff x="516918" y="2607637"/>
                  <a:chExt cx="1359346" cy="539648"/>
                </a:xfrm>
              </p:grpSpPr>
              <p:sp>
                <p:nvSpPr>
                  <p:cNvPr id="124" name="Прямоугольник 123"/>
                  <p:cNvSpPr/>
                  <p:nvPr/>
                </p:nvSpPr>
                <p:spPr>
                  <a:xfrm>
                    <a:off x="516920" y="2839508"/>
                    <a:ext cx="1177858" cy="307777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0" tIns="0" rIns="0" bIns="0" rtlCol="0" anchor="ctr">
                    <a:spAutoFit/>
                  </a:bodyPr>
                  <a:lstStyle/>
                  <a:p>
                    <a:r>
                      <a:rPr lang="ru-RU" sz="1000" dirty="0">
                        <a:solidFill>
                          <a:schemeClr val="bg1"/>
                        </a:solidFill>
                        <a:latin typeface="Montserrat" panose="00000500000000000000" pitchFamily="2" charset="-52"/>
                      </a:rPr>
                      <a:t>Коммунальные расходы</a:t>
                    </a:r>
                  </a:p>
                </p:txBody>
              </p:sp>
              <p:sp>
                <p:nvSpPr>
                  <p:cNvPr id="145" name="Прямоугольник 144"/>
                  <p:cNvSpPr/>
                  <p:nvPr/>
                </p:nvSpPr>
                <p:spPr>
                  <a:xfrm>
                    <a:off x="516918" y="2607637"/>
                    <a:ext cx="1359346" cy="215444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lIns="0" tIns="0" rIns="0" bIns="0" rtlCol="0" anchor="ctr">
                    <a:spAutoFit/>
                  </a:bodyPr>
                  <a:lstStyle/>
                  <a:p>
                    <a:r>
                      <a:rPr lang="ru-RU" sz="1400" b="1" dirty="0">
                        <a:solidFill>
                          <a:schemeClr val="bg1"/>
                        </a:solidFill>
                        <a:latin typeface="Montserrat" panose="00000500000000000000" pitchFamily="2" charset="-52"/>
                      </a:rPr>
                      <a:t>150 </a:t>
                    </a:r>
                    <a:r>
                      <a:rPr lang="ru-RU" sz="1050" b="1" dirty="0">
                        <a:solidFill>
                          <a:schemeClr val="bg1"/>
                        </a:solidFill>
                        <a:latin typeface="Montserrat" panose="00000500000000000000" pitchFamily="2" charset="-52"/>
                      </a:rPr>
                      <a:t>тыс. руб./мес.</a:t>
                    </a:r>
                  </a:p>
                </p:txBody>
              </p:sp>
            </p:grpSp>
            <p:cxnSp>
              <p:nvCxnSpPr>
                <p:cNvPr id="123" name="Прямая соединительная линия 122"/>
                <p:cNvCxnSpPr/>
                <p:nvPr/>
              </p:nvCxnSpPr>
              <p:spPr>
                <a:xfrm rot="5400000">
                  <a:off x="196667" y="2891543"/>
                  <a:ext cx="468000" cy="0"/>
                </a:xfrm>
                <a:prstGeom prst="line">
                  <a:avLst/>
                </a:prstGeom>
                <a:ln w="38100" cap="rnd">
                  <a:solidFill>
                    <a:schemeClr val="bg1"/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7" name="Группа 146"/>
              <p:cNvGrpSpPr/>
              <p:nvPr/>
            </p:nvGrpSpPr>
            <p:grpSpPr>
              <a:xfrm>
                <a:off x="10723455" y="1923867"/>
                <a:ext cx="1006690" cy="539648"/>
                <a:chOff x="430667" y="2607637"/>
                <a:chExt cx="1006690" cy="539648"/>
              </a:xfrm>
            </p:grpSpPr>
            <p:grpSp>
              <p:nvGrpSpPr>
                <p:cNvPr id="148" name="Группа 147"/>
                <p:cNvGrpSpPr/>
                <p:nvPr/>
              </p:nvGrpSpPr>
              <p:grpSpPr>
                <a:xfrm>
                  <a:off x="516918" y="2607637"/>
                  <a:ext cx="920439" cy="539648"/>
                  <a:chOff x="516918" y="2607637"/>
                  <a:chExt cx="920439" cy="539648"/>
                </a:xfrm>
              </p:grpSpPr>
              <p:sp>
                <p:nvSpPr>
                  <p:cNvPr id="155" name="Прямоугольник 154"/>
                  <p:cNvSpPr/>
                  <p:nvPr/>
                </p:nvSpPr>
                <p:spPr>
                  <a:xfrm>
                    <a:off x="516920" y="2839508"/>
                    <a:ext cx="806137" cy="307777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0" tIns="0" rIns="0" bIns="0" rtlCol="0" anchor="ctr">
                    <a:spAutoFit/>
                  </a:bodyPr>
                  <a:lstStyle/>
                  <a:p>
                    <a:r>
                      <a:rPr lang="ru-RU" sz="1000" dirty="0">
                        <a:solidFill>
                          <a:schemeClr val="bg1"/>
                        </a:solidFill>
                        <a:latin typeface="Montserrat" panose="00000500000000000000" pitchFamily="2" charset="-52"/>
                      </a:rPr>
                      <a:t>Ремонт помещения</a:t>
                    </a:r>
                  </a:p>
                </p:txBody>
              </p:sp>
              <p:sp>
                <p:nvSpPr>
                  <p:cNvPr id="159" name="Прямоугольник 158"/>
                  <p:cNvSpPr/>
                  <p:nvPr/>
                </p:nvSpPr>
                <p:spPr>
                  <a:xfrm>
                    <a:off x="516918" y="2607637"/>
                    <a:ext cx="920439" cy="215444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0" tIns="0" rIns="0" bIns="0" rtlCol="0" anchor="ctr">
                    <a:spAutoFit/>
                  </a:bodyPr>
                  <a:lstStyle/>
                  <a:p>
                    <a:r>
                      <a:rPr lang="ru-RU" sz="1400" b="1" dirty="0">
                        <a:solidFill>
                          <a:schemeClr val="bg1"/>
                        </a:solidFill>
                        <a:latin typeface="Montserrat" panose="00000500000000000000" pitchFamily="2" charset="-52"/>
                      </a:rPr>
                      <a:t>30 </a:t>
                    </a:r>
                    <a:r>
                      <a:rPr lang="ru-RU" sz="1050" b="1" dirty="0">
                        <a:solidFill>
                          <a:schemeClr val="bg1"/>
                        </a:solidFill>
                        <a:latin typeface="Montserrat" panose="00000500000000000000" pitchFamily="2" charset="-52"/>
                      </a:rPr>
                      <a:t>тыс. руб.</a:t>
                    </a:r>
                  </a:p>
                </p:txBody>
              </p:sp>
            </p:grpSp>
            <p:cxnSp>
              <p:nvCxnSpPr>
                <p:cNvPr id="154" name="Прямая соединительная линия 153"/>
                <p:cNvCxnSpPr/>
                <p:nvPr/>
              </p:nvCxnSpPr>
              <p:spPr>
                <a:xfrm rot="5400000">
                  <a:off x="196667" y="2891543"/>
                  <a:ext cx="468000" cy="0"/>
                </a:xfrm>
                <a:prstGeom prst="line">
                  <a:avLst/>
                </a:prstGeom>
                <a:ln w="38100" cap="rnd">
                  <a:solidFill>
                    <a:schemeClr val="bg1"/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0" name="Группа 159"/>
              <p:cNvGrpSpPr/>
              <p:nvPr/>
            </p:nvGrpSpPr>
            <p:grpSpPr>
              <a:xfrm>
                <a:off x="7429802" y="2706515"/>
                <a:ext cx="1180799" cy="539648"/>
                <a:chOff x="430667" y="2607637"/>
                <a:chExt cx="1180799" cy="539648"/>
              </a:xfrm>
            </p:grpSpPr>
            <p:grpSp>
              <p:nvGrpSpPr>
                <p:cNvPr id="161" name="Группа 160"/>
                <p:cNvGrpSpPr/>
                <p:nvPr/>
              </p:nvGrpSpPr>
              <p:grpSpPr>
                <a:xfrm>
                  <a:off x="516918" y="2607637"/>
                  <a:ext cx="1094548" cy="539648"/>
                  <a:chOff x="516918" y="2607637"/>
                  <a:chExt cx="1094548" cy="539648"/>
                </a:xfrm>
              </p:grpSpPr>
              <p:sp>
                <p:nvSpPr>
                  <p:cNvPr id="163" name="Прямоугольник 162"/>
                  <p:cNvSpPr/>
                  <p:nvPr/>
                </p:nvSpPr>
                <p:spPr>
                  <a:xfrm>
                    <a:off x="516920" y="2839508"/>
                    <a:ext cx="1094546" cy="307777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0" tIns="0" rIns="0" bIns="0" rtlCol="0" anchor="ctr">
                    <a:spAutoFit/>
                  </a:bodyPr>
                  <a:lstStyle/>
                  <a:p>
                    <a:r>
                      <a:rPr lang="ru-RU" sz="1000" dirty="0">
                        <a:solidFill>
                          <a:schemeClr val="bg1"/>
                        </a:solidFill>
                        <a:latin typeface="Montserrat" panose="00000500000000000000" pitchFamily="2" charset="-52"/>
                      </a:rPr>
                      <a:t>Общая</a:t>
                    </a:r>
                    <a:br>
                      <a:rPr lang="ru-RU" sz="1000" dirty="0">
                        <a:solidFill>
                          <a:schemeClr val="bg1"/>
                        </a:solidFill>
                        <a:latin typeface="Montserrat" panose="00000500000000000000" pitchFamily="2" charset="-52"/>
                      </a:rPr>
                    </a:br>
                    <a:r>
                      <a:rPr lang="ru-RU" sz="1000" dirty="0">
                        <a:solidFill>
                          <a:schemeClr val="bg1"/>
                        </a:solidFill>
                        <a:latin typeface="Montserrat" panose="00000500000000000000" pitchFamily="2" charset="-52"/>
                      </a:rPr>
                      <a:t>площадь студии </a:t>
                    </a:r>
                  </a:p>
                </p:txBody>
              </p:sp>
              <p:sp>
                <p:nvSpPr>
                  <p:cNvPr id="164" name="Прямоугольник 163"/>
                  <p:cNvSpPr/>
                  <p:nvPr/>
                </p:nvSpPr>
                <p:spPr>
                  <a:xfrm>
                    <a:off x="516918" y="2607637"/>
                    <a:ext cx="440826" cy="215444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lIns="0" tIns="0" rIns="0" bIns="0" rtlCol="0" anchor="ctr">
                    <a:spAutoFit/>
                  </a:bodyPr>
                  <a:lstStyle/>
                  <a:p>
                    <a:r>
                      <a:rPr lang="ru-RU" sz="1400" b="1" dirty="0">
                        <a:solidFill>
                          <a:schemeClr val="bg1"/>
                        </a:solidFill>
                        <a:latin typeface="Montserrat" panose="00000500000000000000" pitchFamily="2" charset="-52"/>
                      </a:rPr>
                      <a:t>30 </a:t>
                    </a:r>
                    <a:r>
                      <a:rPr lang="ru-RU" sz="1050" b="1" dirty="0">
                        <a:solidFill>
                          <a:schemeClr val="bg1"/>
                        </a:solidFill>
                        <a:latin typeface="Montserrat" panose="00000500000000000000" pitchFamily="2" charset="-52"/>
                      </a:rPr>
                      <a:t>м</a:t>
                    </a:r>
                    <a:r>
                      <a:rPr lang="ru-RU" sz="1050" b="1" baseline="30000" dirty="0">
                        <a:solidFill>
                          <a:schemeClr val="bg1"/>
                        </a:solidFill>
                        <a:latin typeface="Montserrat" panose="00000500000000000000" pitchFamily="2" charset="-52"/>
                      </a:rPr>
                      <a:t>2</a:t>
                    </a:r>
                  </a:p>
                </p:txBody>
              </p:sp>
            </p:grpSp>
            <p:cxnSp>
              <p:nvCxnSpPr>
                <p:cNvPr id="162" name="Прямая соединительная линия 161"/>
                <p:cNvCxnSpPr/>
                <p:nvPr/>
              </p:nvCxnSpPr>
              <p:spPr>
                <a:xfrm rot="5400000">
                  <a:off x="196667" y="2891543"/>
                  <a:ext cx="468000" cy="0"/>
                </a:xfrm>
                <a:prstGeom prst="line">
                  <a:avLst/>
                </a:prstGeom>
                <a:ln w="38100" cap="rnd">
                  <a:solidFill>
                    <a:schemeClr val="bg1"/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5" name="Группа 164"/>
              <p:cNvGrpSpPr/>
              <p:nvPr/>
            </p:nvGrpSpPr>
            <p:grpSpPr>
              <a:xfrm>
                <a:off x="9025509" y="2706515"/>
                <a:ext cx="2347341" cy="539648"/>
                <a:chOff x="430667" y="2607637"/>
                <a:chExt cx="2347341" cy="539648"/>
              </a:xfrm>
            </p:grpSpPr>
            <p:grpSp>
              <p:nvGrpSpPr>
                <p:cNvPr id="166" name="Группа 165"/>
                <p:cNvGrpSpPr/>
                <p:nvPr/>
              </p:nvGrpSpPr>
              <p:grpSpPr>
                <a:xfrm>
                  <a:off x="516918" y="2607637"/>
                  <a:ext cx="2261090" cy="539648"/>
                  <a:chOff x="516918" y="2607637"/>
                  <a:chExt cx="2261090" cy="539648"/>
                </a:xfrm>
              </p:grpSpPr>
              <p:sp>
                <p:nvSpPr>
                  <p:cNvPr id="168" name="Прямоугольник 167"/>
                  <p:cNvSpPr/>
                  <p:nvPr/>
                </p:nvSpPr>
                <p:spPr>
                  <a:xfrm>
                    <a:off x="516920" y="2839508"/>
                    <a:ext cx="2261088" cy="307777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0" tIns="0" rIns="0" bIns="0" rtlCol="0" anchor="ctr">
                    <a:spAutoFit/>
                  </a:bodyPr>
                  <a:lstStyle/>
                  <a:p>
                    <a:r>
                      <a:rPr lang="ru-RU" sz="1000" dirty="0">
                        <a:solidFill>
                          <a:schemeClr val="bg1"/>
                        </a:solidFill>
                        <a:latin typeface="Montserrat" panose="00000500000000000000" pitchFamily="2" charset="-52"/>
                      </a:rPr>
                      <a:t>Общая сумма</a:t>
                    </a:r>
                    <a:br>
                      <a:rPr lang="ru-RU" sz="1000" dirty="0">
                        <a:solidFill>
                          <a:schemeClr val="bg1"/>
                        </a:solidFill>
                        <a:latin typeface="Montserrat" panose="00000500000000000000" pitchFamily="2" charset="-52"/>
                      </a:rPr>
                    </a:br>
                    <a:r>
                      <a:rPr lang="ru-RU" sz="1000" dirty="0">
                        <a:solidFill>
                          <a:schemeClr val="bg1"/>
                        </a:solidFill>
                        <a:latin typeface="Montserrat" panose="00000500000000000000" pitchFamily="2" charset="-52"/>
                      </a:rPr>
                      <a:t>на приобретение оборудования</a:t>
                    </a:r>
                  </a:p>
                </p:txBody>
              </p:sp>
              <p:sp>
                <p:nvSpPr>
                  <p:cNvPr id="169" name="Прямоугольник 168"/>
                  <p:cNvSpPr/>
                  <p:nvPr/>
                </p:nvSpPr>
                <p:spPr>
                  <a:xfrm>
                    <a:off x="516918" y="2607637"/>
                    <a:ext cx="1388201" cy="215444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lIns="0" tIns="0" rIns="0" bIns="0" rtlCol="0" anchor="ctr">
                    <a:spAutoFit/>
                  </a:bodyPr>
                  <a:lstStyle/>
                  <a:p>
                    <a:r>
                      <a:rPr lang="ru-RU" sz="1400" b="1" dirty="0">
                        <a:solidFill>
                          <a:schemeClr val="bg1"/>
                        </a:solidFill>
                        <a:latin typeface="Montserrat" panose="00000500000000000000" pitchFamily="2" charset="-52"/>
                      </a:rPr>
                      <a:t>256,5 тыс. руб.</a:t>
                    </a:r>
                    <a:endParaRPr lang="ru-RU" sz="1050" b="1" baseline="30000" dirty="0">
                      <a:solidFill>
                        <a:schemeClr val="bg1"/>
                      </a:solidFill>
                      <a:latin typeface="Montserrat" panose="00000500000000000000" pitchFamily="2" charset="-52"/>
                    </a:endParaRPr>
                  </a:p>
                </p:txBody>
              </p:sp>
            </p:grpSp>
            <p:cxnSp>
              <p:nvCxnSpPr>
                <p:cNvPr id="167" name="Прямая соединительная линия 166"/>
                <p:cNvCxnSpPr/>
                <p:nvPr/>
              </p:nvCxnSpPr>
              <p:spPr>
                <a:xfrm rot="5400000">
                  <a:off x="196667" y="2891543"/>
                  <a:ext cx="468000" cy="0"/>
                </a:xfrm>
                <a:prstGeom prst="line">
                  <a:avLst/>
                </a:prstGeom>
                <a:ln w="38100" cap="rnd">
                  <a:solidFill>
                    <a:schemeClr val="bg1"/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24" name="Группа 23"/>
          <p:cNvGrpSpPr/>
          <p:nvPr/>
        </p:nvGrpSpPr>
        <p:grpSpPr>
          <a:xfrm>
            <a:off x="330712" y="4780094"/>
            <a:ext cx="5841472" cy="1736198"/>
            <a:chOff x="330712" y="4780094"/>
            <a:chExt cx="5841472" cy="1736198"/>
          </a:xfrm>
        </p:grpSpPr>
        <p:sp>
          <p:nvSpPr>
            <p:cNvPr id="171" name="Скругленный прямоугольник 170"/>
            <p:cNvSpPr/>
            <p:nvPr/>
          </p:nvSpPr>
          <p:spPr>
            <a:xfrm>
              <a:off x="330712" y="4780094"/>
              <a:ext cx="5841472" cy="1736198"/>
            </a:xfrm>
            <a:prstGeom prst="roundRect">
              <a:avLst>
                <a:gd name="adj" fmla="val 1032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172" name="Группа 171"/>
            <p:cNvGrpSpPr/>
            <p:nvPr/>
          </p:nvGrpSpPr>
          <p:grpSpPr>
            <a:xfrm>
              <a:off x="452256" y="4846317"/>
              <a:ext cx="5613285" cy="204624"/>
              <a:chOff x="516917" y="2114434"/>
              <a:chExt cx="5796001" cy="204624"/>
            </a:xfrm>
          </p:grpSpPr>
          <p:sp>
            <p:nvSpPr>
              <p:cNvPr id="311" name="Прямоугольник 310"/>
              <p:cNvSpPr/>
              <p:nvPr/>
            </p:nvSpPr>
            <p:spPr>
              <a:xfrm>
                <a:off x="516917" y="2114434"/>
                <a:ext cx="3411963" cy="16927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r>
                  <a:rPr lang="ru-RU" sz="1100" dirty="0">
                    <a:solidFill>
                      <a:srgbClr val="777777"/>
                    </a:solidFill>
                    <a:latin typeface="Montserrat Medium" panose="00000600000000000000" pitchFamily="2" charset="-52"/>
                  </a:rPr>
                  <a:t>Для открытия необходимо предусмотреть</a:t>
                </a:r>
              </a:p>
            </p:txBody>
          </p:sp>
          <p:cxnSp>
            <p:nvCxnSpPr>
              <p:cNvPr id="312" name="Прямая соединительная линия 311"/>
              <p:cNvCxnSpPr/>
              <p:nvPr/>
            </p:nvCxnSpPr>
            <p:spPr>
              <a:xfrm>
                <a:off x="516918" y="2319058"/>
                <a:ext cx="5796000" cy="0"/>
              </a:xfrm>
              <a:prstGeom prst="line">
                <a:avLst/>
              </a:prstGeom>
              <a:ln w="12700" cap="rnd">
                <a:solidFill>
                  <a:srgbClr val="969696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3" name="Скругленный прямоугольник 172"/>
          <p:cNvSpPr/>
          <p:nvPr/>
        </p:nvSpPr>
        <p:spPr>
          <a:xfrm>
            <a:off x="452257" y="5142665"/>
            <a:ext cx="1800000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174" name="Прямоугольник 173"/>
          <p:cNvSpPr/>
          <p:nvPr/>
        </p:nvSpPr>
        <p:spPr>
          <a:xfrm>
            <a:off x="1010974" y="5344657"/>
            <a:ext cx="1176584" cy="1692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2 кабинета</a:t>
            </a:r>
          </a:p>
        </p:txBody>
      </p:sp>
      <p:sp>
        <p:nvSpPr>
          <p:cNvPr id="320" name="Скругленный прямоугольник 319"/>
          <p:cNvSpPr/>
          <p:nvPr/>
        </p:nvSpPr>
        <p:spPr>
          <a:xfrm>
            <a:off x="2349259" y="5142665"/>
            <a:ext cx="1800000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321" name="Прямоугольник 320"/>
          <p:cNvSpPr/>
          <p:nvPr/>
        </p:nvSpPr>
        <p:spPr>
          <a:xfrm>
            <a:off x="2907976" y="5175380"/>
            <a:ext cx="1176584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Место для стерилизации инструментов</a:t>
            </a:r>
          </a:p>
        </p:txBody>
      </p:sp>
      <p:sp>
        <p:nvSpPr>
          <p:cNvPr id="336" name="Скругленный прямоугольник 335"/>
          <p:cNvSpPr/>
          <p:nvPr/>
        </p:nvSpPr>
        <p:spPr>
          <a:xfrm>
            <a:off x="4246262" y="5142665"/>
            <a:ext cx="1800000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337" name="Прямоугольник 336"/>
          <p:cNvSpPr/>
          <p:nvPr/>
        </p:nvSpPr>
        <p:spPr>
          <a:xfrm>
            <a:off x="4804979" y="5344657"/>
            <a:ext cx="1176584" cy="1692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Гардероб</a:t>
            </a:r>
          </a:p>
        </p:txBody>
      </p:sp>
      <p:sp>
        <p:nvSpPr>
          <p:cNvPr id="352" name="Скругленный прямоугольник 351"/>
          <p:cNvSpPr/>
          <p:nvPr/>
        </p:nvSpPr>
        <p:spPr>
          <a:xfrm>
            <a:off x="452257" y="5823226"/>
            <a:ext cx="1800000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353" name="Прямоугольник 352"/>
          <p:cNvSpPr/>
          <p:nvPr/>
        </p:nvSpPr>
        <p:spPr>
          <a:xfrm>
            <a:off x="1010974" y="5855942"/>
            <a:ext cx="1176584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Зона для приема пищи работников </a:t>
            </a:r>
          </a:p>
        </p:txBody>
      </p:sp>
      <p:sp>
        <p:nvSpPr>
          <p:cNvPr id="368" name="Скругленный прямоугольник 367"/>
          <p:cNvSpPr/>
          <p:nvPr/>
        </p:nvSpPr>
        <p:spPr>
          <a:xfrm>
            <a:off x="2349259" y="5823226"/>
            <a:ext cx="1800000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369" name="Прямоугольник 368"/>
          <p:cNvSpPr/>
          <p:nvPr/>
        </p:nvSpPr>
        <p:spPr>
          <a:xfrm>
            <a:off x="2907976" y="5855942"/>
            <a:ext cx="1176584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Зона ожидания</a:t>
            </a:r>
            <a:b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</a:br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для клиентов</a:t>
            </a:r>
          </a:p>
        </p:txBody>
      </p:sp>
      <p:sp>
        <p:nvSpPr>
          <p:cNvPr id="384" name="Скругленный прямоугольник 383"/>
          <p:cNvSpPr/>
          <p:nvPr/>
        </p:nvSpPr>
        <p:spPr>
          <a:xfrm>
            <a:off x="4246262" y="5823226"/>
            <a:ext cx="1800000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D829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lnSpc>
                <a:spcPts val="2100"/>
              </a:lnSpc>
            </a:pPr>
            <a:endParaRPr lang="ru-RU" sz="1400" b="1" dirty="0">
              <a:latin typeface="Montserrat" panose="00000500000000000000" pitchFamily="2" charset="-52"/>
            </a:endParaRPr>
          </a:p>
        </p:txBody>
      </p:sp>
      <p:sp>
        <p:nvSpPr>
          <p:cNvPr id="385" name="Прямоугольник 384"/>
          <p:cNvSpPr/>
          <p:nvPr/>
        </p:nvSpPr>
        <p:spPr>
          <a:xfrm>
            <a:off x="4804979" y="5855941"/>
            <a:ext cx="1176584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100" b="1" dirty="0">
                <a:solidFill>
                  <a:srgbClr val="D8294C"/>
                </a:solidFill>
                <a:latin typeface="Montserrat" panose="00000500000000000000" pitchFamily="2" charset="-52"/>
              </a:rPr>
              <a:t>Запасной выход для эвакуации</a:t>
            </a:r>
          </a:p>
        </p:txBody>
      </p:sp>
      <p:sp>
        <p:nvSpPr>
          <p:cNvPr id="501" name="Скругленный прямоугольник 500"/>
          <p:cNvSpPr/>
          <p:nvPr/>
        </p:nvSpPr>
        <p:spPr>
          <a:xfrm>
            <a:off x="6279358" y="4780094"/>
            <a:ext cx="5584209" cy="1736198"/>
          </a:xfrm>
          <a:prstGeom prst="roundRect">
            <a:avLst>
              <a:gd name="adj" fmla="val 103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02" name="Группа 501"/>
          <p:cNvGrpSpPr/>
          <p:nvPr/>
        </p:nvGrpSpPr>
        <p:grpSpPr>
          <a:xfrm>
            <a:off x="6400902" y="4846317"/>
            <a:ext cx="5364001" cy="204624"/>
            <a:chOff x="516917" y="2114434"/>
            <a:chExt cx="5538602" cy="204624"/>
          </a:xfrm>
        </p:grpSpPr>
        <p:sp>
          <p:nvSpPr>
            <p:cNvPr id="599" name="Прямоугольник 598"/>
            <p:cNvSpPr/>
            <p:nvPr/>
          </p:nvSpPr>
          <p:spPr>
            <a:xfrm>
              <a:off x="516917" y="2114434"/>
              <a:ext cx="5223586" cy="1692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ru-RU" sz="1100" dirty="0">
                  <a:solidFill>
                    <a:srgbClr val="777777"/>
                  </a:solidFill>
                  <a:latin typeface="Montserrat Medium" panose="00000600000000000000" pitchFamily="2" charset="-52"/>
                </a:rPr>
                <a:t>Минимальное оборудование для маникюрной студии включает </a:t>
              </a:r>
            </a:p>
          </p:txBody>
        </p:sp>
        <p:cxnSp>
          <p:nvCxnSpPr>
            <p:cNvPr id="600" name="Прямая соединительная линия 599"/>
            <p:cNvCxnSpPr/>
            <p:nvPr/>
          </p:nvCxnSpPr>
          <p:spPr>
            <a:xfrm>
              <a:off x="516918" y="2319058"/>
              <a:ext cx="5538601" cy="0"/>
            </a:xfrm>
            <a:prstGeom prst="line">
              <a:avLst/>
            </a:prstGeom>
            <a:ln w="12700" cap="rnd">
              <a:solidFill>
                <a:srgbClr val="969696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4" name="Скругленный прямоугольник 583"/>
          <p:cNvSpPr/>
          <p:nvPr/>
        </p:nvSpPr>
        <p:spPr>
          <a:xfrm>
            <a:off x="6400903" y="5142665"/>
            <a:ext cx="1705910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4950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100" b="1" dirty="0">
                <a:solidFill>
                  <a:srgbClr val="4950D0"/>
                </a:solidFill>
                <a:latin typeface="Montserrat" panose="00000500000000000000" pitchFamily="2" charset="-52"/>
              </a:rPr>
              <a:t>Маникюрные столы, педикюрные кресла, стулья</a:t>
            </a:r>
          </a:p>
        </p:txBody>
      </p:sp>
      <p:sp>
        <p:nvSpPr>
          <p:cNvPr id="569" name="Скругленный прямоугольник 568"/>
          <p:cNvSpPr/>
          <p:nvPr/>
        </p:nvSpPr>
        <p:spPr>
          <a:xfrm>
            <a:off x="8239101" y="5142665"/>
            <a:ext cx="1705910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4950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ru-RU" sz="1100" b="1" dirty="0" err="1">
                <a:solidFill>
                  <a:srgbClr val="4950D0"/>
                </a:solidFill>
                <a:latin typeface="Montserrat" panose="00000500000000000000" pitchFamily="2" charset="-52"/>
              </a:rPr>
              <a:t>Сухожар</a:t>
            </a:r>
            <a:r>
              <a:rPr lang="ru-RU" sz="1100" b="1" dirty="0">
                <a:solidFill>
                  <a:srgbClr val="4950D0"/>
                </a:solidFill>
                <a:latin typeface="Montserrat" panose="00000500000000000000" pitchFamily="2" charset="-52"/>
              </a:rPr>
              <a:t>, УЗ мойку, </a:t>
            </a:r>
            <a:r>
              <a:rPr lang="ru-RU" sz="1100" b="1" dirty="0" err="1">
                <a:solidFill>
                  <a:srgbClr val="4950D0"/>
                </a:solidFill>
                <a:latin typeface="Montserrat" panose="00000500000000000000" pitchFamily="2" charset="-52"/>
              </a:rPr>
              <a:t>рециркулятор</a:t>
            </a:r>
            <a:r>
              <a:rPr lang="ru-RU" sz="1100" b="1" dirty="0">
                <a:solidFill>
                  <a:srgbClr val="4950D0"/>
                </a:solidFill>
                <a:latin typeface="Montserrat" panose="00000500000000000000" pitchFamily="2" charset="-52"/>
              </a:rPr>
              <a:t> воздуха и комод</a:t>
            </a:r>
          </a:p>
        </p:txBody>
      </p:sp>
      <p:sp>
        <p:nvSpPr>
          <p:cNvPr id="554" name="Скругленный прямоугольник 553"/>
          <p:cNvSpPr/>
          <p:nvPr/>
        </p:nvSpPr>
        <p:spPr>
          <a:xfrm>
            <a:off x="10077300" y="5142665"/>
            <a:ext cx="1705910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4950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ru-RU" sz="1100" b="1" dirty="0" err="1">
                <a:solidFill>
                  <a:srgbClr val="4950D0"/>
                </a:solidFill>
                <a:latin typeface="Montserrat" panose="00000500000000000000" pitchFamily="2" charset="-52"/>
              </a:rPr>
              <a:t>Фотобокс</a:t>
            </a:r>
            <a:r>
              <a:rPr lang="ru-RU" sz="1100" b="1" dirty="0">
                <a:solidFill>
                  <a:srgbClr val="4950D0"/>
                </a:solidFill>
                <a:latin typeface="Montserrat" panose="00000500000000000000" pitchFamily="2" charset="-52"/>
              </a:rPr>
              <a:t> для фото результатов работы мастера</a:t>
            </a:r>
          </a:p>
        </p:txBody>
      </p:sp>
      <p:sp>
        <p:nvSpPr>
          <p:cNvPr id="539" name="Скругленный прямоугольник 538"/>
          <p:cNvSpPr/>
          <p:nvPr/>
        </p:nvSpPr>
        <p:spPr>
          <a:xfrm>
            <a:off x="6400902" y="5823226"/>
            <a:ext cx="1705911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4950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ru-RU" sz="1100" b="1" dirty="0">
                <a:solidFill>
                  <a:srgbClr val="4950D0"/>
                </a:solidFill>
                <a:latin typeface="Montserrat" panose="00000500000000000000" pitchFamily="2" charset="-52"/>
              </a:rPr>
              <a:t>Диван и кресла</a:t>
            </a:r>
            <a:br>
              <a:rPr lang="ru-RU" sz="1100" b="1" dirty="0">
                <a:solidFill>
                  <a:srgbClr val="4950D0"/>
                </a:solidFill>
                <a:latin typeface="Montserrat" panose="00000500000000000000" pitchFamily="2" charset="-52"/>
              </a:rPr>
            </a:br>
            <a:r>
              <a:rPr lang="ru-RU" sz="1100" b="1" dirty="0">
                <a:solidFill>
                  <a:srgbClr val="4950D0"/>
                </a:solidFill>
                <a:latin typeface="Montserrat" panose="00000500000000000000" pitchFamily="2" charset="-52"/>
              </a:rPr>
              <a:t>для ожидающих, телевизор</a:t>
            </a:r>
          </a:p>
        </p:txBody>
      </p:sp>
      <p:sp>
        <p:nvSpPr>
          <p:cNvPr id="524" name="Скругленный прямоугольник 523"/>
          <p:cNvSpPr/>
          <p:nvPr/>
        </p:nvSpPr>
        <p:spPr>
          <a:xfrm>
            <a:off x="8239101" y="5823226"/>
            <a:ext cx="1705911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4950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100" b="1" dirty="0">
                <a:solidFill>
                  <a:srgbClr val="4950D0"/>
                </a:solidFill>
                <a:latin typeface="Montserrat" panose="00000500000000000000" pitchFamily="2" charset="-52"/>
              </a:rPr>
              <a:t>Инструменты</a:t>
            </a:r>
            <a:br>
              <a:rPr lang="ru-RU" sz="1100" b="1" dirty="0">
                <a:solidFill>
                  <a:srgbClr val="4950D0"/>
                </a:solidFill>
                <a:latin typeface="Montserrat" panose="00000500000000000000" pitchFamily="2" charset="-52"/>
              </a:rPr>
            </a:br>
            <a:r>
              <a:rPr lang="ru-RU" sz="1100" b="1" dirty="0">
                <a:solidFill>
                  <a:srgbClr val="4950D0"/>
                </a:solidFill>
                <a:latin typeface="Montserrat" panose="00000500000000000000" pitchFamily="2" charset="-52"/>
              </a:rPr>
              <a:t>для мастеров, </a:t>
            </a:r>
            <a:r>
              <a:rPr lang="ru-RU" sz="1100" b="1" dirty="0" err="1">
                <a:solidFill>
                  <a:srgbClr val="4950D0"/>
                </a:solidFill>
                <a:latin typeface="Montserrat" panose="00000500000000000000" pitchFamily="2" charset="-52"/>
              </a:rPr>
              <a:t>расходники</a:t>
            </a:r>
            <a:endParaRPr lang="ru-RU" sz="1100" b="1" dirty="0">
              <a:solidFill>
                <a:srgbClr val="4950D0"/>
              </a:solidFill>
              <a:latin typeface="Montserrat" panose="00000500000000000000" pitchFamily="2" charset="-52"/>
            </a:endParaRPr>
          </a:p>
        </p:txBody>
      </p:sp>
      <p:sp>
        <p:nvSpPr>
          <p:cNvPr id="509" name="Скругленный прямоугольник 508"/>
          <p:cNvSpPr/>
          <p:nvPr/>
        </p:nvSpPr>
        <p:spPr>
          <a:xfrm>
            <a:off x="10073739" y="5823226"/>
            <a:ext cx="1715326" cy="573264"/>
          </a:xfrm>
          <a:prstGeom prst="roundRect">
            <a:avLst>
              <a:gd name="adj" fmla="val 15768"/>
            </a:avLst>
          </a:prstGeom>
          <a:noFill/>
          <a:ln w="12700">
            <a:solidFill>
              <a:srgbClr val="4950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ru-RU" sz="1100" b="1" dirty="0">
                <a:solidFill>
                  <a:srgbClr val="4950D0"/>
                </a:solidFill>
                <a:latin typeface="Montserrat" panose="00000500000000000000" pitchFamily="2" charset="-52"/>
              </a:rPr>
              <a:t>Терминал</a:t>
            </a:r>
            <a:br>
              <a:rPr lang="ru-RU" sz="1100" b="1" dirty="0">
                <a:solidFill>
                  <a:srgbClr val="4950D0"/>
                </a:solidFill>
                <a:latin typeface="Montserrat" panose="00000500000000000000" pitchFamily="2" charset="-52"/>
              </a:rPr>
            </a:br>
            <a:r>
              <a:rPr lang="ru-RU" sz="1100" b="1" dirty="0">
                <a:solidFill>
                  <a:srgbClr val="4950D0"/>
                </a:solidFill>
                <a:latin typeface="Montserrat" panose="00000500000000000000" pitchFamily="2" charset="-52"/>
              </a:rPr>
              <a:t>и онлайн-касса</a:t>
            </a:r>
            <a:br>
              <a:rPr lang="ru-RU" sz="1100" b="1" dirty="0">
                <a:solidFill>
                  <a:srgbClr val="4950D0"/>
                </a:solidFill>
                <a:latin typeface="Montserrat" panose="00000500000000000000" pitchFamily="2" charset="-52"/>
              </a:rPr>
            </a:br>
            <a:r>
              <a:rPr lang="ru-RU" sz="1100" b="1" dirty="0">
                <a:solidFill>
                  <a:srgbClr val="4950D0"/>
                </a:solidFill>
                <a:latin typeface="Montserrat" panose="00000500000000000000" pitchFamily="2" charset="-52"/>
              </a:rPr>
              <a:t>для оплаты 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495021" y="5891900"/>
            <a:ext cx="452686" cy="435920"/>
            <a:chOff x="495021" y="5891900"/>
            <a:chExt cx="452686" cy="435920"/>
          </a:xfrm>
        </p:grpSpPr>
        <p:sp>
          <p:nvSpPr>
            <p:cNvPr id="354" name="Скругленный прямоугольник 353"/>
            <p:cNvSpPr/>
            <p:nvPr/>
          </p:nvSpPr>
          <p:spPr>
            <a:xfrm>
              <a:off x="495021" y="5891900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607" name="Group 4344">
              <a:extLst>
                <a:ext uri="{FF2B5EF4-FFF2-40B4-BE49-F238E27FC236}">
                  <a16:creationId xmlns:a16="http://schemas.microsoft.com/office/drawing/2014/main" id="{40BFE62E-0A58-4531-9DD0-3D30E4B48561}"/>
                </a:ext>
              </a:extLst>
            </p:cNvPr>
            <p:cNvGrpSpPr/>
            <p:nvPr/>
          </p:nvGrpSpPr>
          <p:grpSpPr>
            <a:xfrm>
              <a:off x="542488" y="5965311"/>
              <a:ext cx="357752" cy="289099"/>
              <a:chOff x="7273925" y="1897063"/>
              <a:chExt cx="901701" cy="728663"/>
            </a:xfrm>
          </p:grpSpPr>
          <p:sp>
            <p:nvSpPr>
              <p:cNvPr id="608" name="Line 252">
                <a:extLst>
                  <a:ext uri="{FF2B5EF4-FFF2-40B4-BE49-F238E27FC236}">
                    <a16:creationId xmlns:a16="http://schemas.microsoft.com/office/drawing/2014/main" id="{72BCC4B8-8004-4771-8B6E-0F532536D9A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935913" y="2505075"/>
                <a:ext cx="153988" cy="0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9" name="Freeform 253">
                <a:extLst>
                  <a:ext uri="{FF2B5EF4-FFF2-40B4-BE49-F238E27FC236}">
                    <a16:creationId xmlns:a16="http://schemas.microsoft.com/office/drawing/2014/main" id="{53B75EE4-9DE3-45B8-8381-3106216F69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67625" y="2093913"/>
                <a:ext cx="392113" cy="336550"/>
              </a:xfrm>
              <a:custGeom>
                <a:avLst/>
                <a:gdLst>
                  <a:gd name="T0" fmla="*/ 0 w 133"/>
                  <a:gd name="T1" fmla="*/ 31 h 114"/>
                  <a:gd name="T2" fmla="*/ 0 w 133"/>
                  <a:gd name="T3" fmla="*/ 0 h 114"/>
                  <a:gd name="T4" fmla="*/ 133 w 133"/>
                  <a:gd name="T5" fmla="*/ 0 h 114"/>
                  <a:gd name="T6" fmla="*/ 133 w 133"/>
                  <a:gd name="T7" fmla="*/ 86 h 114"/>
                  <a:gd name="T8" fmla="*/ 105 w 133"/>
                  <a:gd name="T9" fmla="*/ 114 h 114"/>
                  <a:gd name="T10" fmla="*/ 79 w 133"/>
                  <a:gd name="T11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114">
                    <a:moveTo>
                      <a:pt x="0" y="3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33" y="0"/>
                      <a:pt x="133" y="0"/>
                      <a:pt x="133" y="0"/>
                    </a:cubicBezTo>
                    <a:cubicBezTo>
                      <a:pt x="133" y="86"/>
                      <a:pt x="133" y="86"/>
                      <a:pt x="133" y="86"/>
                    </a:cubicBezTo>
                    <a:cubicBezTo>
                      <a:pt x="133" y="102"/>
                      <a:pt x="120" y="114"/>
                      <a:pt x="105" y="114"/>
                    </a:cubicBezTo>
                    <a:cubicBezTo>
                      <a:pt x="79" y="114"/>
                      <a:pt x="79" y="114"/>
                      <a:pt x="79" y="114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0" name="Freeform 254">
                <a:extLst>
                  <a:ext uri="{FF2B5EF4-FFF2-40B4-BE49-F238E27FC236}">
                    <a16:creationId xmlns:a16="http://schemas.microsoft.com/office/drawing/2014/main" id="{A04AEDB8-41B1-4E03-9F71-6545C6CBC7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70813" y="1897063"/>
                <a:ext cx="44450" cy="128588"/>
              </a:xfrm>
              <a:custGeom>
                <a:avLst/>
                <a:gdLst>
                  <a:gd name="T0" fmla="*/ 6 w 15"/>
                  <a:gd name="T1" fmla="*/ 44 h 44"/>
                  <a:gd name="T2" fmla="*/ 7 w 15"/>
                  <a:gd name="T3" fmla="*/ 22 h 44"/>
                  <a:gd name="T4" fmla="*/ 8 w 15"/>
                  <a:gd name="T5" fmla="*/ 22 h 44"/>
                  <a:gd name="T6" fmla="*/ 10 w 15"/>
                  <a:gd name="T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44">
                    <a:moveTo>
                      <a:pt x="6" y="44"/>
                    </a:moveTo>
                    <a:cubicBezTo>
                      <a:pt x="14" y="37"/>
                      <a:pt x="15" y="29"/>
                      <a:pt x="7" y="22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0" y="15"/>
                      <a:pt x="1" y="6"/>
                      <a:pt x="10" y="0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1" name="Freeform 255">
                <a:extLst>
                  <a:ext uri="{FF2B5EF4-FFF2-40B4-BE49-F238E27FC236}">
                    <a16:creationId xmlns:a16="http://schemas.microsoft.com/office/drawing/2014/main" id="{26F23FFE-7436-4250-88AF-D1F78D1E90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23138" y="2312988"/>
                <a:ext cx="234950" cy="285750"/>
              </a:xfrm>
              <a:custGeom>
                <a:avLst/>
                <a:gdLst>
                  <a:gd name="T0" fmla="*/ 32 w 79"/>
                  <a:gd name="T1" fmla="*/ 0 h 97"/>
                  <a:gd name="T2" fmla="*/ 9 w 79"/>
                  <a:gd name="T3" fmla="*/ 12 h 97"/>
                  <a:gd name="T4" fmla="*/ 1 w 79"/>
                  <a:gd name="T5" fmla="*/ 28 h 97"/>
                  <a:gd name="T6" fmla="*/ 9 w 79"/>
                  <a:gd name="T7" fmla="*/ 45 h 97"/>
                  <a:gd name="T8" fmla="*/ 55 w 79"/>
                  <a:gd name="T9" fmla="*/ 86 h 97"/>
                  <a:gd name="T10" fmla="*/ 79 w 79"/>
                  <a:gd name="T11" fmla="*/ 82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" h="97">
                    <a:moveTo>
                      <a:pt x="32" y="0"/>
                    </a:moveTo>
                    <a:cubicBezTo>
                      <a:pt x="24" y="1"/>
                      <a:pt x="15" y="5"/>
                      <a:pt x="9" y="12"/>
                    </a:cubicBezTo>
                    <a:cubicBezTo>
                      <a:pt x="9" y="12"/>
                      <a:pt x="1" y="20"/>
                      <a:pt x="1" y="28"/>
                    </a:cubicBezTo>
                    <a:cubicBezTo>
                      <a:pt x="1" y="28"/>
                      <a:pt x="0" y="36"/>
                      <a:pt x="9" y="45"/>
                    </a:cubicBezTo>
                    <a:cubicBezTo>
                      <a:pt x="55" y="86"/>
                      <a:pt x="55" y="86"/>
                      <a:pt x="55" y="86"/>
                    </a:cubicBezTo>
                    <a:cubicBezTo>
                      <a:pt x="55" y="86"/>
                      <a:pt x="69" y="97"/>
                      <a:pt x="79" y="82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2" name="Freeform 256">
                <a:extLst>
                  <a:ext uri="{FF2B5EF4-FFF2-40B4-BE49-F238E27FC236}">
                    <a16:creationId xmlns:a16="http://schemas.microsoft.com/office/drawing/2014/main" id="{86720474-070C-43BE-BEB1-5BF268E74F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20000" y="2300288"/>
                <a:ext cx="233363" cy="298450"/>
              </a:xfrm>
              <a:custGeom>
                <a:avLst/>
                <a:gdLst>
                  <a:gd name="T0" fmla="*/ 0 w 79"/>
                  <a:gd name="T1" fmla="*/ 86 h 101"/>
                  <a:gd name="T2" fmla="*/ 24 w 79"/>
                  <a:gd name="T3" fmla="*/ 90 h 101"/>
                  <a:gd name="T4" fmla="*/ 70 w 79"/>
                  <a:gd name="T5" fmla="*/ 49 h 101"/>
                  <a:gd name="T6" fmla="*/ 78 w 79"/>
                  <a:gd name="T7" fmla="*/ 32 h 101"/>
                  <a:gd name="T8" fmla="*/ 70 w 79"/>
                  <a:gd name="T9" fmla="*/ 16 h 101"/>
                  <a:gd name="T10" fmla="*/ 32 w 79"/>
                  <a:gd name="T11" fmla="*/ 3 h 101"/>
                  <a:gd name="T12" fmla="*/ 30 w 79"/>
                  <a:gd name="T13" fmla="*/ 4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9" h="101">
                    <a:moveTo>
                      <a:pt x="0" y="86"/>
                    </a:moveTo>
                    <a:cubicBezTo>
                      <a:pt x="10" y="101"/>
                      <a:pt x="24" y="90"/>
                      <a:pt x="24" y="90"/>
                    </a:cubicBezTo>
                    <a:cubicBezTo>
                      <a:pt x="70" y="49"/>
                      <a:pt x="70" y="49"/>
                      <a:pt x="70" y="49"/>
                    </a:cubicBezTo>
                    <a:cubicBezTo>
                      <a:pt x="79" y="40"/>
                      <a:pt x="78" y="32"/>
                      <a:pt x="78" y="32"/>
                    </a:cubicBezTo>
                    <a:cubicBezTo>
                      <a:pt x="78" y="24"/>
                      <a:pt x="70" y="16"/>
                      <a:pt x="70" y="16"/>
                    </a:cubicBezTo>
                    <a:cubicBezTo>
                      <a:pt x="57" y="0"/>
                      <a:pt x="32" y="3"/>
                      <a:pt x="32" y="3"/>
                    </a:cubicBezTo>
                    <a:cubicBezTo>
                      <a:pt x="30" y="4"/>
                      <a:pt x="30" y="4"/>
                      <a:pt x="30" y="4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3" name="Freeform 257">
                <a:extLst>
                  <a:ext uri="{FF2B5EF4-FFF2-40B4-BE49-F238E27FC236}">
                    <a16:creationId xmlns:a16="http://schemas.microsoft.com/office/drawing/2014/main" id="{6A2C9088-1F59-417F-9976-6FBC7E702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8900" y="2439988"/>
                <a:ext cx="195263" cy="185738"/>
              </a:xfrm>
              <a:custGeom>
                <a:avLst/>
                <a:gdLst>
                  <a:gd name="T0" fmla="*/ 43 w 66"/>
                  <a:gd name="T1" fmla="*/ 0 h 63"/>
                  <a:gd name="T2" fmla="*/ 45 w 66"/>
                  <a:gd name="T3" fmla="*/ 2 h 63"/>
                  <a:gd name="T4" fmla="*/ 63 w 66"/>
                  <a:gd name="T5" fmla="*/ 40 h 63"/>
                  <a:gd name="T6" fmla="*/ 54 w 66"/>
                  <a:gd name="T7" fmla="*/ 58 h 63"/>
                  <a:gd name="T8" fmla="*/ 2 w 66"/>
                  <a:gd name="T9" fmla="*/ 41 h 63"/>
                  <a:gd name="T10" fmla="*/ 0 w 66"/>
                  <a:gd name="T11" fmla="*/ 39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6" h="63">
                    <a:moveTo>
                      <a:pt x="43" y="0"/>
                    </a:moveTo>
                    <a:cubicBezTo>
                      <a:pt x="45" y="2"/>
                      <a:pt x="45" y="2"/>
                      <a:pt x="45" y="2"/>
                    </a:cubicBezTo>
                    <a:cubicBezTo>
                      <a:pt x="45" y="2"/>
                      <a:pt x="63" y="22"/>
                      <a:pt x="63" y="40"/>
                    </a:cubicBezTo>
                    <a:cubicBezTo>
                      <a:pt x="63" y="40"/>
                      <a:pt x="66" y="55"/>
                      <a:pt x="54" y="58"/>
                    </a:cubicBezTo>
                    <a:cubicBezTo>
                      <a:pt x="54" y="58"/>
                      <a:pt x="33" y="63"/>
                      <a:pt x="2" y="41"/>
                    </a:cubicBezTo>
                    <a:cubicBezTo>
                      <a:pt x="0" y="39"/>
                      <a:pt x="0" y="39"/>
                      <a:pt x="0" y="39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4" name="Freeform 258">
                <a:extLst>
                  <a:ext uri="{FF2B5EF4-FFF2-40B4-BE49-F238E27FC236}">
                    <a16:creationId xmlns:a16="http://schemas.microsoft.com/office/drawing/2014/main" id="{964817FB-A209-470D-915A-9E7C131C35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66013" y="2224088"/>
                <a:ext cx="244475" cy="365125"/>
              </a:xfrm>
              <a:custGeom>
                <a:avLst/>
                <a:gdLst>
                  <a:gd name="T0" fmla="*/ 42 w 83"/>
                  <a:gd name="T1" fmla="*/ 0 h 124"/>
                  <a:gd name="T2" fmla="*/ 79 w 83"/>
                  <a:gd name="T3" fmla="*/ 17 h 124"/>
                  <a:gd name="T4" fmla="*/ 78 w 83"/>
                  <a:gd name="T5" fmla="*/ 44 h 124"/>
                  <a:gd name="T6" fmla="*/ 50 w 83"/>
                  <a:gd name="T7" fmla="*/ 118 h 124"/>
                  <a:gd name="T8" fmla="*/ 41 w 83"/>
                  <a:gd name="T9" fmla="*/ 124 h 124"/>
                  <a:gd name="T10" fmla="*/ 41 w 83"/>
                  <a:gd name="T11" fmla="*/ 124 h 124"/>
                  <a:gd name="T12" fmla="*/ 33 w 83"/>
                  <a:gd name="T13" fmla="*/ 118 h 124"/>
                  <a:gd name="T14" fmla="*/ 5 w 83"/>
                  <a:gd name="T15" fmla="*/ 44 h 124"/>
                  <a:gd name="T16" fmla="*/ 4 w 83"/>
                  <a:gd name="T17" fmla="*/ 17 h 124"/>
                  <a:gd name="T18" fmla="*/ 41 w 83"/>
                  <a:gd name="T19" fmla="*/ 0 h 124"/>
                  <a:gd name="T20" fmla="*/ 42 w 83"/>
                  <a:gd name="T21" fmla="*/ 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3" h="124">
                    <a:moveTo>
                      <a:pt x="42" y="0"/>
                    </a:moveTo>
                    <a:cubicBezTo>
                      <a:pt x="49" y="0"/>
                      <a:pt x="71" y="1"/>
                      <a:pt x="79" y="17"/>
                    </a:cubicBezTo>
                    <a:cubicBezTo>
                      <a:pt x="79" y="17"/>
                      <a:pt x="83" y="28"/>
                      <a:pt x="78" y="44"/>
                    </a:cubicBezTo>
                    <a:cubicBezTo>
                      <a:pt x="50" y="118"/>
                      <a:pt x="50" y="118"/>
                      <a:pt x="50" y="118"/>
                    </a:cubicBezTo>
                    <a:cubicBezTo>
                      <a:pt x="50" y="118"/>
                      <a:pt x="48" y="124"/>
                      <a:pt x="41" y="124"/>
                    </a:cubicBezTo>
                    <a:cubicBezTo>
                      <a:pt x="41" y="124"/>
                      <a:pt x="41" y="124"/>
                      <a:pt x="41" y="124"/>
                    </a:cubicBezTo>
                    <a:cubicBezTo>
                      <a:pt x="35" y="124"/>
                      <a:pt x="33" y="118"/>
                      <a:pt x="33" y="118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0" y="28"/>
                      <a:pt x="4" y="17"/>
                      <a:pt x="4" y="17"/>
                    </a:cubicBezTo>
                    <a:cubicBezTo>
                      <a:pt x="12" y="1"/>
                      <a:pt x="34" y="0"/>
                      <a:pt x="41" y="0"/>
                    </a:cubicBezTo>
                    <a:lnTo>
                      <a:pt x="42" y="0"/>
                    </a:ln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5" name="Freeform 259">
                <a:extLst>
                  <a:ext uri="{FF2B5EF4-FFF2-40B4-BE49-F238E27FC236}">
                    <a16:creationId xmlns:a16="http://schemas.microsoft.com/office/drawing/2014/main" id="{F8D688A1-6378-4ACE-94CA-2B148E46D9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91463" y="1897063"/>
                <a:ext cx="41275" cy="128588"/>
              </a:xfrm>
              <a:custGeom>
                <a:avLst/>
                <a:gdLst>
                  <a:gd name="T0" fmla="*/ 5 w 14"/>
                  <a:gd name="T1" fmla="*/ 44 h 44"/>
                  <a:gd name="T2" fmla="*/ 7 w 14"/>
                  <a:gd name="T3" fmla="*/ 22 h 44"/>
                  <a:gd name="T4" fmla="*/ 7 w 14"/>
                  <a:gd name="T5" fmla="*/ 22 h 44"/>
                  <a:gd name="T6" fmla="*/ 9 w 14"/>
                  <a:gd name="T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44">
                    <a:moveTo>
                      <a:pt x="5" y="44"/>
                    </a:moveTo>
                    <a:cubicBezTo>
                      <a:pt x="13" y="37"/>
                      <a:pt x="14" y="29"/>
                      <a:pt x="7" y="22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0" y="15"/>
                      <a:pt x="0" y="6"/>
                      <a:pt x="9" y="0"/>
                    </a:cubicBez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6" name="Freeform 260">
                <a:extLst>
                  <a:ext uri="{FF2B5EF4-FFF2-40B4-BE49-F238E27FC236}">
                    <a16:creationId xmlns:a16="http://schemas.microsoft.com/office/drawing/2014/main" id="{03BAAF62-5076-4288-850A-D15168869E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59738" y="2171700"/>
                <a:ext cx="115888" cy="141288"/>
              </a:xfrm>
              <a:custGeom>
                <a:avLst/>
                <a:gdLst>
                  <a:gd name="T0" fmla="*/ 0 w 39"/>
                  <a:gd name="T1" fmla="*/ 3 h 48"/>
                  <a:gd name="T2" fmla="*/ 13 w 39"/>
                  <a:gd name="T3" fmla="*/ 0 h 48"/>
                  <a:gd name="T4" fmla="*/ 39 w 39"/>
                  <a:gd name="T5" fmla="*/ 24 h 48"/>
                  <a:gd name="T6" fmla="*/ 13 w 39"/>
                  <a:gd name="T7" fmla="*/ 48 h 48"/>
                  <a:gd name="T8" fmla="*/ 0 w 39"/>
                  <a:gd name="T9" fmla="*/ 45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48">
                    <a:moveTo>
                      <a:pt x="0" y="3"/>
                    </a:moveTo>
                    <a:cubicBezTo>
                      <a:pt x="4" y="1"/>
                      <a:pt x="8" y="0"/>
                      <a:pt x="13" y="0"/>
                    </a:cubicBezTo>
                    <a:cubicBezTo>
                      <a:pt x="27" y="0"/>
                      <a:pt x="39" y="11"/>
                      <a:pt x="39" y="24"/>
                    </a:cubicBezTo>
                    <a:cubicBezTo>
                      <a:pt x="39" y="38"/>
                      <a:pt x="27" y="48"/>
                      <a:pt x="13" y="48"/>
                    </a:cubicBezTo>
                    <a:cubicBezTo>
                      <a:pt x="8" y="48"/>
                      <a:pt x="4" y="47"/>
                      <a:pt x="0" y="45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7" name="Freeform 261">
                <a:extLst>
                  <a:ext uri="{FF2B5EF4-FFF2-40B4-BE49-F238E27FC236}">
                    <a16:creationId xmlns:a16="http://schemas.microsoft.com/office/drawing/2014/main" id="{12E0435E-5C48-4C98-9F9A-A7AFD91B7C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3925" y="2439988"/>
                <a:ext cx="195263" cy="185738"/>
              </a:xfrm>
              <a:custGeom>
                <a:avLst/>
                <a:gdLst>
                  <a:gd name="T0" fmla="*/ 23 w 66"/>
                  <a:gd name="T1" fmla="*/ 0 h 63"/>
                  <a:gd name="T2" fmla="*/ 21 w 66"/>
                  <a:gd name="T3" fmla="*/ 2 h 63"/>
                  <a:gd name="T4" fmla="*/ 3 w 66"/>
                  <a:gd name="T5" fmla="*/ 40 h 63"/>
                  <a:gd name="T6" fmla="*/ 12 w 66"/>
                  <a:gd name="T7" fmla="*/ 58 h 63"/>
                  <a:gd name="T8" fmla="*/ 64 w 66"/>
                  <a:gd name="T9" fmla="*/ 41 h 63"/>
                  <a:gd name="T10" fmla="*/ 66 w 66"/>
                  <a:gd name="T11" fmla="*/ 39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6" h="63">
                    <a:moveTo>
                      <a:pt x="23" y="0"/>
                    </a:moveTo>
                    <a:cubicBezTo>
                      <a:pt x="21" y="2"/>
                      <a:pt x="21" y="2"/>
                      <a:pt x="21" y="2"/>
                    </a:cubicBezTo>
                    <a:cubicBezTo>
                      <a:pt x="21" y="2"/>
                      <a:pt x="3" y="22"/>
                      <a:pt x="3" y="40"/>
                    </a:cubicBezTo>
                    <a:cubicBezTo>
                      <a:pt x="3" y="40"/>
                      <a:pt x="0" y="55"/>
                      <a:pt x="12" y="58"/>
                    </a:cubicBezTo>
                    <a:cubicBezTo>
                      <a:pt x="12" y="58"/>
                      <a:pt x="33" y="63"/>
                      <a:pt x="64" y="41"/>
                    </a:cubicBezTo>
                    <a:cubicBezTo>
                      <a:pt x="66" y="39"/>
                      <a:pt x="66" y="39"/>
                      <a:pt x="66" y="39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18" name="Группа 17"/>
          <p:cNvGrpSpPr/>
          <p:nvPr/>
        </p:nvGrpSpPr>
        <p:grpSpPr>
          <a:xfrm>
            <a:off x="2392023" y="5211339"/>
            <a:ext cx="452686" cy="435920"/>
            <a:chOff x="2392023" y="5211339"/>
            <a:chExt cx="452686" cy="435920"/>
          </a:xfrm>
        </p:grpSpPr>
        <p:sp>
          <p:nvSpPr>
            <p:cNvPr id="322" name="Скругленный прямоугольник 321"/>
            <p:cNvSpPr/>
            <p:nvPr/>
          </p:nvSpPr>
          <p:spPr>
            <a:xfrm>
              <a:off x="2392023" y="5211339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618" name="Group 4281">
              <a:extLst>
                <a:ext uri="{FF2B5EF4-FFF2-40B4-BE49-F238E27FC236}">
                  <a16:creationId xmlns:a16="http://schemas.microsoft.com/office/drawing/2014/main" id="{C9BC2534-0F5F-4ED6-BCF3-D48A30DAA71F}"/>
                </a:ext>
              </a:extLst>
            </p:cNvPr>
            <p:cNvGrpSpPr/>
            <p:nvPr/>
          </p:nvGrpSpPr>
          <p:grpSpPr>
            <a:xfrm>
              <a:off x="2422791" y="5280178"/>
              <a:ext cx="391151" cy="298243"/>
              <a:chOff x="411163" y="768350"/>
              <a:chExt cx="795337" cy="606425"/>
            </a:xfrm>
          </p:grpSpPr>
          <p:sp>
            <p:nvSpPr>
              <p:cNvPr id="619" name="Line 67">
                <a:extLst>
                  <a:ext uri="{FF2B5EF4-FFF2-40B4-BE49-F238E27FC236}">
                    <a16:creationId xmlns:a16="http://schemas.microsoft.com/office/drawing/2014/main" id="{D6792BE6-C9D2-4132-91A1-140A3814AC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39750" y="1317625"/>
                <a:ext cx="33338" cy="57150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0" name="Line 68">
                <a:extLst>
                  <a:ext uri="{FF2B5EF4-FFF2-40B4-BE49-F238E27FC236}">
                    <a16:creationId xmlns:a16="http://schemas.microsoft.com/office/drawing/2014/main" id="{4E9997F8-7556-4E2D-8450-E2B36229E9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1163" y="1152525"/>
                <a:ext cx="69850" cy="0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1" name="Line 69">
                <a:extLst>
                  <a:ext uri="{FF2B5EF4-FFF2-40B4-BE49-F238E27FC236}">
                    <a16:creationId xmlns:a16="http://schemas.microsoft.com/office/drawing/2014/main" id="{E45F4E66-3D28-4E2D-BAB2-7397BD057FB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39750" y="928688"/>
                <a:ext cx="33338" cy="61913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2" name="Line 70">
                <a:extLst>
                  <a:ext uri="{FF2B5EF4-FFF2-40B4-BE49-F238E27FC236}">
                    <a16:creationId xmlns:a16="http://schemas.microsoft.com/office/drawing/2014/main" id="{50421E2B-EA2E-4420-A208-958C79F962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763588" y="1317625"/>
                <a:ext cx="36513" cy="57150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3" name="Freeform 71">
                <a:extLst>
                  <a:ext uri="{FF2B5EF4-FFF2-40B4-BE49-F238E27FC236}">
                    <a16:creationId xmlns:a16="http://schemas.microsoft.com/office/drawing/2014/main" id="{17116C4A-253F-4392-AEB1-6BA4A1AA43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013" y="990600"/>
                <a:ext cx="374650" cy="323850"/>
              </a:xfrm>
              <a:custGeom>
                <a:avLst/>
                <a:gdLst>
                  <a:gd name="T0" fmla="*/ 60 w 236"/>
                  <a:gd name="T1" fmla="*/ 204 h 204"/>
                  <a:gd name="T2" fmla="*/ 0 w 236"/>
                  <a:gd name="T3" fmla="*/ 102 h 204"/>
                  <a:gd name="T4" fmla="*/ 60 w 236"/>
                  <a:gd name="T5" fmla="*/ 0 h 204"/>
                  <a:gd name="T6" fmla="*/ 178 w 236"/>
                  <a:gd name="T7" fmla="*/ 0 h 204"/>
                  <a:gd name="T8" fmla="*/ 236 w 236"/>
                  <a:gd name="T9" fmla="*/ 102 h 204"/>
                  <a:gd name="T10" fmla="*/ 178 w 236"/>
                  <a:gd name="T11" fmla="*/ 204 h 204"/>
                  <a:gd name="T12" fmla="*/ 60 w 236"/>
                  <a:gd name="T13" fmla="*/ 204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6" h="204">
                    <a:moveTo>
                      <a:pt x="60" y="204"/>
                    </a:moveTo>
                    <a:lnTo>
                      <a:pt x="0" y="102"/>
                    </a:lnTo>
                    <a:lnTo>
                      <a:pt x="60" y="0"/>
                    </a:lnTo>
                    <a:lnTo>
                      <a:pt x="178" y="0"/>
                    </a:lnTo>
                    <a:lnTo>
                      <a:pt x="236" y="102"/>
                    </a:lnTo>
                    <a:lnTo>
                      <a:pt x="178" y="204"/>
                    </a:lnTo>
                    <a:lnTo>
                      <a:pt x="60" y="204"/>
                    </a:lnTo>
                    <a:close/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4" name="Line 72">
                <a:extLst>
                  <a:ext uri="{FF2B5EF4-FFF2-40B4-BE49-F238E27FC236}">
                    <a16:creationId xmlns:a16="http://schemas.microsoft.com/office/drawing/2014/main" id="{C78AA70B-F50C-4541-9DEB-A217081569C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0713" y="1241425"/>
                <a:ext cx="95250" cy="0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5" name="Line 73">
                <a:extLst>
                  <a:ext uri="{FF2B5EF4-FFF2-40B4-BE49-F238E27FC236}">
                    <a16:creationId xmlns:a16="http://schemas.microsoft.com/office/drawing/2014/main" id="{CC1BB387-8B8F-4A60-8CC0-4717F6784A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68325" y="1066800"/>
                <a:ext cx="47625" cy="82550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6" name="Line 74">
                <a:extLst>
                  <a:ext uri="{FF2B5EF4-FFF2-40B4-BE49-F238E27FC236}">
                    <a16:creationId xmlns:a16="http://schemas.microsoft.com/office/drawing/2014/main" id="{A06127F4-2435-4C14-B2FD-500D5939F3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2988" y="768350"/>
                <a:ext cx="36513" cy="60325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7" name="Line 75">
                <a:extLst>
                  <a:ext uri="{FF2B5EF4-FFF2-40B4-BE49-F238E27FC236}">
                    <a16:creationId xmlns:a16="http://schemas.microsoft.com/office/drawing/2014/main" id="{829BD06F-4418-4FDB-AC3A-41115A3BCEB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136650" y="993775"/>
                <a:ext cx="69850" cy="0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8" name="Line 76">
                <a:extLst>
                  <a:ext uri="{FF2B5EF4-FFF2-40B4-BE49-F238E27FC236}">
                    <a16:creationId xmlns:a16="http://schemas.microsoft.com/office/drawing/2014/main" id="{2A2A671D-349A-45D1-8A31-583C28D5C2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042988" y="1155700"/>
                <a:ext cx="36513" cy="60325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9" name="Line 77">
                <a:extLst>
                  <a:ext uri="{FF2B5EF4-FFF2-40B4-BE49-F238E27FC236}">
                    <a16:creationId xmlns:a16="http://schemas.microsoft.com/office/drawing/2014/main" id="{608BC39B-B1BB-4F92-904E-B200953341F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19150" y="768350"/>
                <a:ext cx="36513" cy="60325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30" name="Freeform 78">
                <a:extLst>
                  <a:ext uri="{FF2B5EF4-FFF2-40B4-BE49-F238E27FC236}">
                    <a16:creationId xmlns:a16="http://schemas.microsoft.com/office/drawing/2014/main" id="{9863A408-3F96-48D9-9106-078EBFEBB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3588" y="828675"/>
                <a:ext cx="371475" cy="323850"/>
              </a:xfrm>
              <a:custGeom>
                <a:avLst/>
                <a:gdLst>
                  <a:gd name="T0" fmla="*/ 176 w 234"/>
                  <a:gd name="T1" fmla="*/ 0 h 204"/>
                  <a:gd name="T2" fmla="*/ 234 w 234"/>
                  <a:gd name="T3" fmla="*/ 102 h 204"/>
                  <a:gd name="T4" fmla="*/ 176 w 234"/>
                  <a:gd name="T5" fmla="*/ 204 h 204"/>
                  <a:gd name="T6" fmla="*/ 58 w 234"/>
                  <a:gd name="T7" fmla="*/ 204 h 204"/>
                  <a:gd name="T8" fmla="*/ 0 w 234"/>
                  <a:gd name="T9" fmla="*/ 102 h 204"/>
                  <a:gd name="T10" fmla="*/ 58 w 234"/>
                  <a:gd name="T11" fmla="*/ 0 h 204"/>
                  <a:gd name="T12" fmla="*/ 176 w 234"/>
                  <a:gd name="T13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4" h="204">
                    <a:moveTo>
                      <a:pt x="176" y="0"/>
                    </a:moveTo>
                    <a:lnTo>
                      <a:pt x="234" y="102"/>
                    </a:lnTo>
                    <a:lnTo>
                      <a:pt x="176" y="204"/>
                    </a:lnTo>
                    <a:lnTo>
                      <a:pt x="58" y="204"/>
                    </a:lnTo>
                    <a:lnTo>
                      <a:pt x="0" y="102"/>
                    </a:lnTo>
                    <a:lnTo>
                      <a:pt x="58" y="0"/>
                    </a:lnTo>
                    <a:lnTo>
                      <a:pt x="176" y="0"/>
                    </a:lnTo>
                    <a:close/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31" name="Line 79">
                <a:extLst>
                  <a:ext uri="{FF2B5EF4-FFF2-40B4-BE49-F238E27FC236}">
                    <a16:creationId xmlns:a16="http://schemas.microsoft.com/office/drawing/2014/main" id="{293354CD-1353-4C6A-B76F-D772EBB4A1D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003300" y="906463"/>
                <a:ext cx="47625" cy="80963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32" name="Line 80">
                <a:extLst>
                  <a:ext uri="{FF2B5EF4-FFF2-40B4-BE49-F238E27FC236}">
                    <a16:creationId xmlns:a16="http://schemas.microsoft.com/office/drawing/2014/main" id="{9740AC8B-D788-4DA4-977B-FD0D1B9B9F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0113" y="1079500"/>
                <a:ext cx="98425" cy="0"/>
              </a:xfrm>
              <a:prstGeom prst="line">
                <a:avLst/>
              </a:prstGeom>
              <a:noFill/>
              <a:ln w="9525" cap="rnd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19" name="Группа 18"/>
          <p:cNvGrpSpPr/>
          <p:nvPr/>
        </p:nvGrpSpPr>
        <p:grpSpPr>
          <a:xfrm>
            <a:off x="4289026" y="5211339"/>
            <a:ext cx="452686" cy="435920"/>
            <a:chOff x="4289026" y="5211339"/>
            <a:chExt cx="452686" cy="435920"/>
          </a:xfrm>
        </p:grpSpPr>
        <p:sp>
          <p:nvSpPr>
            <p:cNvPr id="338" name="Скругленный прямоугольник 337"/>
            <p:cNvSpPr/>
            <p:nvPr/>
          </p:nvSpPr>
          <p:spPr>
            <a:xfrm>
              <a:off x="4289026" y="5211339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633" name="Group 79">
              <a:extLst>
                <a:ext uri="{FF2B5EF4-FFF2-40B4-BE49-F238E27FC236}">
                  <a16:creationId xmlns:a16="http://schemas.microsoft.com/office/drawing/2014/main" id="{99A0521A-4347-4413-874D-7D6EA25EE528}"/>
                </a:ext>
              </a:extLst>
            </p:cNvPr>
            <p:cNvGrpSpPr/>
            <p:nvPr/>
          </p:nvGrpSpPr>
          <p:grpSpPr>
            <a:xfrm>
              <a:off x="4362445" y="5256516"/>
              <a:ext cx="305849" cy="345567"/>
              <a:chOff x="4448621" y="3047603"/>
              <a:chExt cx="599390" cy="677227"/>
            </a:xfrm>
          </p:grpSpPr>
          <p:sp>
            <p:nvSpPr>
              <p:cNvPr id="634" name="Freeform: Shape 4098">
                <a:extLst>
                  <a:ext uri="{FF2B5EF4-FFF2-40B4-BE49-F238E27FC236}">
                    <a16:creationId xmlns:a16="http://schemas.microsoft.com/office/drawing/2014/main" id="{4B1730A0-6410-40B2-842D-E2DC66227644}"/>
                  </a:ext>
                </a:extLst>
              </p:cNvPr>
              <p:cNvSpPr/>
              <p:nvPr/>
            </p:nvSpPr>
            <p:spPr>
              <a:xfrm>
                <a:off x="4686061" y="3047603"/>
                <a:ext cx="361950" cy="619125"/>
              </a:xfrm>
              <a:custGeom>
                <a:avLst/>
                <a:gdLst>
                  <a:gd name="connsiteX0" fmla="*/ 17859 w 361950"/>
                  <a:gd name="connsiteY0" fmla="*/ 68342 h 619125"/>
                  <a:gd name="connsiteX1" fmla="*/ 68342 w 361950"/>
                  <a:gd name="connsiteY1" fmla="*/ 17859 h 619125"/>
                  <a:gd name="connsiteX2" fmla="*/ 118824 w 361950"/>
                  <a:gd name="connsiteY2" fmla="*/ 68342 h 619125"/>
                  <a:gd name="connsiteX3" fmla="*/ 68342 w 361950"/>
                  <a:gd name="connsiteY3" fmla="*/ 118824 h 619125"/>
                  <a:gd name="connsiteX4" fmla="*/ 68342 w 361950"/>
                  <a:gd name="connsiteY4" fmla="*/ 154067 h 619125"/>
                  <a:gd name="connsiteX5" fmla="*/ 332184 w 361950"/>
                  <a:gd name="connsiteY5" fmla="*/ 296942 h 619125"/>
                  <a:gd name="connsiteX6" fmla="*/ 349329 w 361950"/>
                  <a:gd name="connsiteY6" fmla="*/ 344567 h 619125"/>
                  <a:gd name="connsiteX7" fmla="*/ 282654 w 361950"/>
                  <a:gd name="connsiteY7" fmla="*/ 371237 h 619125"/>
                  <a:gd name="connsiteX8" fmla="*/ 254079 w 361950"/>
                  <a:gd name="connsiteY8" fmla="*/ 371237 h 619125"/>
                  <a:gd name="connsiteX9" fmla="*/ 254079 w 361950"/>
                  <a:gd name="connsiteY9" fmla="*/ 609362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61950" h="619125">
                    <a:moveTo>
                      <a:pt x="17859" y="68342"/>
                    </a:moveTo>
                    <a:cubicBezTo>
                      <a:pt x="17859" y="40719"/>
                      <a:pt x="40719" y="17859"/>
                      <a:pt x="68342" y="17859"/>
                    </a:cubicBezTo>
                    <a:cubicBezTo>
                      <a:pt x="95964" y="17859"/>
                      <a:pt x="118824" y="40719"/>
                      <a:pt x="118824" y="68342"/>
                    </a:cubicBezTo>
                    <a:cubicBezTo>
                      <a:pt x="118824" y="95964"/>
                      <a:pt x="95964" y="118824"/>
                      <a:pt x="68342" y="118824"/>
                    </a:cubicBezTo>
                    <a:lnTo>
                      <a:pt x="68342" y="154067"/>
                    </a:lnTo>
                    <a:lnTo>
                      <a:pt x="332184" y="296942"/>
                    </a:lnTo>
                    <a:cubicBezTo>
                      <a:pt x="332184" y="296942"/>
                      <a:pt x="364569" y="315992"/>
                      <a:pt x="349329" y="344567"/>
                    </a:cubicBezTo>
                    <a:cubicBezTo>
                      <a:pt x="349329" y="344567"/>
                      <a:pt x="339804" y="371237"/>
                      <a:pt x="282654" y="371237"/>
                    </a:cubicBezTo>
                    <a:cubicBezTo>
                      <a:pt x="273129" y="371237"/>
                      <a:pt x="264557" y="371237"/>
                      <a:pt x="254079" y="371237"/>
                    </a:cubicBezTo>
                    <a:lnTo>
                      <a:pt x="254079" y="609362"/>
                    </a:lnTo>
                  </a:path>
                </a:pathLst>
              </a:custGeom>
              <a:noFill/>
              <a:ln w="9525" cap="rnd">
                <a:solidFill>
                  <a:srgbClr val="40404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635" name="Group 78">
                <a:extLst>
                  <a:ext uri="{FF2B5EF4-FFF2-40B4-BE49-F238E27FC236}">
                    <a16:creationId xmlns:a16="http://schemas.microsoft.com/office/drawing/2014/main" id="{C8472D20-EF98-40B4-A029-9E470BEA07AA}"/>
                  </a:ext>
                </a:extLst>
              </p:cNvPr>
              <p:cNvGrpSpPr/>
              <p:nvPr/>
            </p:nvGrpSpPr>
            <p:grpSpPr>
              <a:xfrm>
                <a:off x="4448621" y="3209528"/>
                <a:ext cx="471755" cy="515302"/>
                <a:chOff x="4448621" y="3209528"/>
                <a:chExt cx="471755" cy="515302"/>
              </a:xfrm>
            </p:grpSpPr>
            <p:sp>
              <p:nvSpPr>
                <p:cNvPr id="636" name="Freeform: Shape 4096">
                  <a:extLst>
                    <a:ext uri="{FF2B5EF4-FFF2-40B4-BE49-F238E27FC236}">
                      <a16:creationId xmlns:a16="http://schemas.microsoft.com/office/drawing/2014/main" id="{CFE1B247-D6E6-4059-B7BD-B239BC0DBEE1}"/>
                    </a:ext>
                  </a:extLst>
                </p:cNvPr>
                <p:cNvSpPr/>
                <p:nvPr/>
              </p:nvSpPr>
              <p:spPr>
                <a:xfrm>
                  <a:off x="4448621" y="3209528"/>
                  <a:ext cx="266700" cy="219075"/>
                </a:xfrm>
                <a:custGeom>
                  <a:avLst/>
                  <a:gdLst>
                    <a:gd name="connsiteX0" fmla="*/ 252442 w 266700"/>
                    <a:gd name="connsiteY0" fmla="*/ 17859 h 219075"/>
                    <a:gd name="connsiteX1" fmla="*/ 39082 w 266700"/>
                    <a:gd name="connsiteY1" fmla="*/ 134064 h 219075"/>
                    <a:gd name="connsiteX2" fmla="*/ 21937 w 266700"/>
                    <a:gd name="connsiteY2" fmla="*/ 181689 h 219075"/>
                    <a:gd name="connsiteX3" fmla="*/ 73372 w 266700"/>
                    <a:gd name="connsiteY3" fmla="*/ 207407 h 2190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6700" h="219075">
                      <a:moveTo>
                        <a:pt x="252442" y="17859"/>
                      </a:moveTo>
                      <a:lnTo>
                        <a:pt x="39082" y="134064"/>
                      </a:lnTo>
                      <a:cubicBezTo>
                        <a:pt x="39082" y="134064"/>
                        <a:pt x="6697" y="153114"/>
                        <a:pt x="21937" y="181689"/>
                      </a:cubicBezTo>
                      <a:cubicBezTo>
                        <a:pt x="21937" y="181689"/>
                        <a:pt x="34320" y="201692"/>
                        <a:pt x="73372" y="207407"/>
                      </a:cubicBezTo>
                    </a:path>
                  </a:pathLst>
                </a:custGeom>
                <a:noFill/>
                <a:ln w="9525" cap="rnd">
                  <a:solidFill>
                    <a:srgbClr val="40404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637" name="Freeform: Shape 4099">
                  <a:extLst>
                    <a:ext uri="{FF2B5EF4-FFF2-40B4-BE49-F238E27FC236}">
                      <a16:creationId xmlns:a16="http://schemas.microsoft.com/office/drawing/2014/main" id="{5B921F08-D1F9-4832-9AA6-C575970B9406}"/>
                    </a:ext>
                  </a:extLst>
                </p:cNvPr>
                <p:cNvSpPr/>
                <p:nvPr/>
              </p:nvSpPr>
              <p:spPr>
                <a:xfrm>
                  <a:off x="4558426" y="3353355"/>
                  <a:ext cx="361950" cy="371475"/>
                </a:xfrm>
                <a:custGeom>
                  <a:avLst/>
                  <a:gdLst>
                    <a:gd name="connsiteX0" fmla="*/ 17859 w 361950"/>
                    <a:gd name="connsiteY0" fmla="*/ 355044 h 371475"/>
                    <a:gd name="connsiteX1" fmla="*/ 17859 w 361950"/>
                    <a:gd name="connsiteY1" fmla="*/ 93107 h 371475"/>
                    <a:gd name="connsiteX2" fmla="*/ 49292 w 361950"/>
                    <a:gd name="connsiteY2" fmla="*/ 17859 h 371475"/>
                    <a:gd name="connsiteX3" fmla="*/ 347424 w 361950"/>
                    <a:gd name="connsiteY3" fmla="*/ 17859 h 371475"/>
                    <a:gd name="connsiteX4" fmla="*/ 315992 w 361950"/>
                    <a:gd name="connsiteY4" fmla="*/ 93107 h 371475"/>
                    <a:gd name="connsiteX5" fmla="*/ 315992 w 361950"/>
                    <a:gd name="connsiteY5" fmla="*/ 355044 h 371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61950" h="371475">
                      <a:moveTo>
                        <a:pt x="17859" y="355044"/>
                      </a:moveTo>
                      <a:lnTo>
                        <a:pt x="17859" y="93107"/>
                      </a:lnTo>
                      <a:cubicBezTo>
                        <a:pt x="17859" y="28337"/>
                        <a:pt x="49292" y="17859"/>
                        <a:pt x="49292" y="17859"/>
                      </a:cubicBezTo>
                      <a:lnTo>
                        <a:pt x="347424" y="17859"/>
                      </a:lnTo>
                      <a:cubicBezTo>
                        <a:pt x="347424" y="17859"/>
                        <a:pt x="315992" y="31194"/>
                        <a:pt x="315992" y="93107"/>
                      </a:cubicBezTo>
                      <a:lnTo>
                        <a:pt x="315992" y="355044"/>
                      </a:lnTo>
                    </a:path>
                  </a:pathLst>
                </a:custGeom>
                <a:noFill/>
                <a:ln w="9525" cap="rnd">
                  <a:solidFill>
                    <a:srgbClr val="40404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638" name="Freeform: Shape 4100">
                  <a:extLst>
                    <a:ext uri="{FF2B5EF4-FFF2-40B4-BE49-F238E27FC236}">
                      <a16:creationId xmlns:a16="http://schemas.microsoft.com/office/drawing/2014/main" id="{686C62AB-225F-44A8-926D-C32B283E48EB}"/>
                    </a:ext>
                  </a:extLst>
                </p:cNvPr>
                <p:cNvSpPr/>
                <p:nvPr/>
              </p:nvSpPr>
              <p:spPr>
                <a:xfrm>
                  <a:off x="4617481" y="3651488"/>
                  <a:ext cx="28575" cy="66675"/>
                </a:xfrm>
                <a:custGeom>
                  <a:avLst/>
                  <a:gdLst>
                    <a:gd name="connsiteX0" fmla="*/ 17859 w 28575"/>
                    <a:gd name="connsiteY0" fmla="*/ 55959 h 66675"/>
                    <a:gd name="connsiteX1" fmla="*/ 17859 w 28575"/>
                    <a:gd name="connsiteY1" fmla="*/ 17859 h 66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575" h="66675">
                      <a:moveTo>
                        <a:pt x="17859" y="55959"/>
                      </a:moveTo>
                      <a:lnTo>
                        <a:pt x="17859" y="17859"/>
                      </a:lnTo>
                    </a:path>
                  </a:pathLst>
                </a:custGeom>
                <a:ln w="9525" cap="rnd">
                  <a:solidFill>
                    <a:srgbClr val="40404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639" name="Freeform: Shape 4101">
                  <a:extLst>
                    <a:ext uri="{FF2B5EF4-FFF2-40B4-BE49-F238E27FC236}">
                      <a16:creationId xmlns:a16="http://schemas.microsoft.com/office/drawing/2014/main" id="{20133BB4-3E1E-4623-94B0-CBB139D30234}"/>
                    </a:ext>
                  </a:extLst>
                </p:cNvPr>
                <p:cNvSpPr/>
                <p:nvPr/>
              </p:nvSpPr>
              <p:spPr>
                <a:xfrm>
                  <a:off x="4676536" y="3651488"/>
                  <a:ext cx="28575" cy="66675"/>
                </a:xfrm>
                <a:custGeom>
                  <a:avLst/>
                  <a:gdLst>
                    <a:gd name="connsiteX0" fmla="*/ 17859 w 28575"/>
                    <a:gd name="connsiteY0" fmla="*/ 55959 h 66675"/>
                    <a:gd name="connsiteX1" fmla="*/ 17859 w 28575"/>
                    <a:gd name="connsiteY1" fmla="*/ 17859 h 66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575" h="66675">
                      <a:moveTo>
                        <a:pt x="17859" y="55959"/>
                      </a:moveTo>
                      <a:lnTo>
                        <a:pt x="17859" y="17859"/>
                      </a:lnTo>
                    </a:path>
                  </a:pathLst>
                </a:custGeom>
                <a:ln w="9525" cap="rnd">
                  <a:solidFill>
                    <a:srgbClr val="40404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640" name="Freeform: Shape 4102">
                  <a:extLst>
                    <a:ext uri="{FF2B5EF4-FFF2-40B4-BE49-F238E27FC236}">
                      <a16:creationId xmlns:a16="http://schemas.microsoft.com/office/drawing/2014/main" id="{CDCDF7C0-07D8-40D6-93AB-BBD4D72520B9}"/>
                    </a:ext>
                  </a:extLst>
                </p:cNvPr>
                <p:cNvSpPr/>
                <p:nvPr/>
              </p:nvSpPr>
              <p:spPr>
                <a:xfrm>
                  <a:off x="4736544" y="3651488"/>
                  <a:ext cx="28575" cy="66675"/>
                </a:xfrm>
                <a:custGeom>
                  <a:avLst/>
                  <a:gdLst>
                    <a:gd name="connsiteX0" fmla="*/ 17859 w 28575"/>
                    <a:gd name="connsiteY0" fmla="*/ 55959 h 66675"/>
                    <a:gd name="connsiteX1" fmla="*/ 17859 w 28575"/>
                    <a:gd name="connsiteY1" fmla="*/ 17859 h 66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575" h="66675">
                      <a:moveTo>
                        <a:pt x="17859" y="55959"/>
                      </a:moveTo>
                      <a:lnTo>
                        <a:pt x="17859" y="17859"/>
                      </a:lnTo>
                    </a:path>
                  </a:pathLst>
                </a:custGeom>
                <a:ln w="9525" cap="rnd">
                  <a:solidFill>
                    <a:srgbClr val="40404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641" name="Freeform: Shape 4103">
                  <a:extLst>
                    <a:ext uri="{FF2B5EF4-FFF2-40B4-BE49-F238E27FC236}">
                      <a16:creationId xmlns:a16="http://schemas.microsoft.com/office/drawing/2014/main" id="{6A97FD85-4A1B-4DCF-B038-157B0B28A10D}"/>
                    </a:ext>
                  </a:extLst>
                </p:cNvPr>
                <p:cNvSpPr/>
                <p:nvPr/>
              </p:nvSpPr>
              <p:spPr>
                <a:xfrm>
                  <a:off x="4796551" y="3651488"/>
                  <a:ext cx="28575" cy="66675"/>
                </a:xfrm>
                <a:custGeom>
                  <a:avLst/>
                  <a:gdLst>
                    <a:gd name="connsiteX0" fmla="*/ 17859 w 28575"/>
                    <a:gd name="connsiteY0" fmla="*/ 55959 h 66675"/>
                    <a:gd name="connsiteX1" fmla="*/ 17859 w 28575"/>
                    <a:gd name="connsiteY1" fmla="*/ 17859 h 66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575" h="66675">
                      <a:moveTo>
                        <a:pt x="17859" y="55959"/>
                      </a:moveTo>
                      <a:lnTo>
                        <a:pt x="17859" y="17859"/>
                      </a:lnTo>
                    </a:path>
                  </a:pathLst>
                </a:custGeom>
                <a:ln w="9525" cap="rnd">
                  <a:solidFill>
                    <a:srgbClr val="40404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</p:grpSp>
      <p:grpSp>
        <p:nvGrpSpPr>
          <p:cNvPr id="20" name="Группа 19"/>
          <p:cNvGrpSpPr/>
          <p:nvPr/>
        </p:nvGrpSpPr>
        <p:grpSpPr>
          <a:xfrm>
            <a:off x="495021" y="5211339"/>
            <a:ext cx="452686" cy="435920"/>
            <a:chOff x="495021" y="5211339"/>
            <a:chExt cx="452686" cy="435920"/>
          </a:xfrm>
        </p:grpSpPr>
        <p:sp>
          <p:nvSpPr>
            <p:cNvPr id="175" name="Скругленный прямоугольник 174"/>
            <p:cNvSpPr/>
            <p:nvPr/>
          </p:nvSpPr>
          <p:spPr>
            <a:xfrm>
              <a:off x="495021" y="5211339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642" name="Group 4174">
              <a:extLst>
                <a:ext uri="{FF2B5EF4-FFF2-40B4-BE49-F238E27FC236}">
                  <a16:creationId xmlns:a16="http://schemas.microsoft.com/office/drawing/2014/main" id="{9A027EBF-932A-4D8E-8E2C-5BEBE92ACCA1}"/>
                </a:ext>
              </a:extLst>
            </p:cNvPr>
            <p:cNvGrpSpPr/>
            <p:nvPr/>
          </p:nvGrpSpPr>
          <p:grpSpPr>
            <a:xfrm>
              <a:off x="543594" y="5313250"/>
              <a:ext cx="355540" cy="232099"/>
              <a:chOff x="4302126" y="3346450"/>
              <a:chExt cx="763587" cy="498475"/>
            </a:xfrm>
          </p:grpSpPr>
          <p:sp>
            <p:nvSpPr>
              <p:cNvPr id="643" name="Freeform 55">
                <a:extLst>
                  <a:ext uri="{FF2B5EF4-FFF2-40B4-BE49-F238E27FC236}">
                    <a16:creationId xmlns:a16="http://schemas.microsoft.com/office/drawing/2014/main" id="{DD83E38A-9843-4AEB-95CD-B7AD8C0E2B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5526" y="3346450"/>
                <a:ext cx="77788" cy="69850"/>
              </a:xfrm>
              <a:custGeom>
                <a:avLst/>
                <a:gdLst>
                  <a:gd name="T0" fmla="*/ 0 w 49"/>
                  <a:gd name="T1" fmla="*/ 0 h 44"/>
                  <a:gd name="T2" fmla="*/ 49 w 49"/>
                  <a:gd name="T3" fmla="*/ 0 h 44"/>
                  <a:gd name="T4" fmla="*/ 49 w 49"/>
                  <a:gd name="T5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9" h="44">
                    <a:moveTo>
                      <a:pt x="0" y="0"/>
                    </a:moveTo>
                    <a:lnTo>
                      <a:pt x="49" y="0"/>
                    </a:lnTo>
                    <a:lnTo>
                      <a:pt x="49" y="44"/>
                    </a:ln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4" name="Freeform 56">
                <a:extLst>
                  <a:ext uri="{FF2B5EF4-FFF2-40B4-BE49-F238E27FC236}">
                    <a16:creationId xmlns:a16="http://schemas.microsoft.com/office/drawing/2014/main" id="{0386EB1D-CD3D-46B9-B6FA-E2EBE45986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2126" y="3346450"/>
                <a:ext cx="611188" cy="498475"/>
              </a:xfrm>
              <a:custGeom>
                <a:avLst/>
                <a:gdLst>
                  <a:gd name="T0" fmla="*/ 385 w 385"/>
                  <a:gd name="T1" fmla="*/ 255 h 314"/>
                  <a:gd name="T2" fmla="*/ 385 w 385"/>
                  <a:gd name="T3" fmla="*/ 314 h 314"/>
                  <a:gd name="T4" fmla="*/ 0 w 385"/>
                  <a:gd name="T5" fmla="*/ 314 h 314"/>
                  <a:gd name="T6" fmla="*/ 0 w 385"/>
                  <a:gd name="T7" fmla="*/ 0 h 314"/>
                  <a:gd name="T8" fmla="*/ 274 w 385"/>
                  <a:gd name="T9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5" h="314">
                    <a:moveTo>
                      <a:pt x="385" y="255"/>
                    </a:moveTo>
                    <a:lnTo>
                      <a:pt x="385" y="314"/>
                    </a:lnTo>
                    <a:lnTo>
                      <a:pt x="0" y="314"/>
                    </a:lnTo>
                    <a:lnTo>
                      <a:pt x="0" y="0"/>
                    </a:lnTo>
                    <a:lnTo>
                      <a:pt x="274" y="0"/>
                    </a:ln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5" name="Line 57">
                <a:extLst>
                  <a:ext uri="{FF2B5EF4-FFF2-40B4-BE49-F238E27FC236}">
                    <a16:creationId xmlns:a16="http://schemas.microsoft.com/office/drawing/2014/main" id="{144D4D23-37E0-40B1-BBA6-5D08FB4101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302126" y="3598863"/>
                <a:ext cx="268288" cy="0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6" name="Line 58">
                <a:extLst>
                  <a:ext uri="{FF2B5EF4-FFF2-40B4-BE49-F238E27FC236}">
                    <a16:creationId xmlns:a16="http://schemas.microsoft.com/office/drawing/2014/main" id="{FBD223A8-64CB-4D3B-9DAB-56FA71FDAC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570413" y="3519488"/>
                <a:ext cx="0" cy="155575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7" name="Line 59">
                <a:extLst>
                  <a:ext uri="{FF2B5EF4-FFF2-40B4-BE49-F238E27FC236}">
                    <a16:creationId xmlns:a16="http://schemas.microsoft.com/office/drawing/2014/main" id="{A7F0A9B4-8E1C-49FB-B26C-A17225E145A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570413" y="3346450"/>
                <a:ext cx="0" cy="93663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8" name="Line 60">
                <a:extLst>
                  <a:ext uri="{FF2B5EF4-FFF2-40B4-BE49-F238E27FC236}">
                    <a16:creationId xmlns:a16="http://schemas.microsoft.com/office/drawing/2014/main" id="{D4863376-4C3B-44FD-9F7B-644BD5E9361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570413" y="3765550"/>
                <a:ext cx="0" cy="79375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9" name="Freeform 61">
                <a:extLst>
                  <a:ext uri="{FF2B5EF4-FFF2-40B4-BE49-F238E27FC236}">
                    <a16:creationId xmlns:a16="http://schemas.microsoft.com/office/drawing/2014/main" id="{3E90DEC0-083F-4175-8D39-319FB09AC8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5038" y="3432175"/>
                <a:ext cx="320675" cy="317500"/>
              </a:xfrm>
              <a:custGeom>
                <a:avLst/>
                <a:gdLst>
                  <a:gd name="T0" fmla="*/ 49 w 117"/>
                  <a:gd name="T1" fmla="*/ 101 h 116"/>
                  <a:gd name="T2" fmla="*/ 0 w 117"/>
                  <a:gd name="T3" fmla="*/ 116 h 116"/>
                  <a:gd name="T4" fmla="*/ 17 w 117"/>
                  <a:gd name="T5" fmla="*/ 67 h 116"/>
                  <a:gd name="T6" fmla="*/ 80 w 117"/>
                  <a:gd name="T7" fmla="*/ 4 h 116"/>
                  <a:gd name="T8" fmla="*/ 95 w 117"/>
                  <a:gd name="T9" fmla="*/ 6 h 116"/>
                  <a:gd name="T10" fmla="*/ 111 w 117"/>
                  <a:gd name="T11" fmla="*/ 22 h 116"/>
                  <a:gd name="T12" fmla="*/ 113 w 117"/>
                  <a:gd name="T13" fmla="*/ 37 h 116"/>
                  <a:gd name="T14" fmla="*/ 49 w 117"/>
                  <a:gd name="T15" fmla="*/ 101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7" h="116">
                    <a:moveTo>
                      <a:pt x="49" y="101"/>
                    </a:moveTo>
                    <a:cubicBezTo>
                      <a:pt x="0" y="116"/>
                      <a:pt x="0" y="116"/>
                      <a:pt x="0" y="116"/>
                    </a:cubicBezTo>
                    <a:cubicBezTo>
                      <a:pt x="17" y="67"/>
                      <a:pt x="17" y="67"/>
                      <a:pt x="17" y="67"/>
                    </a:cubicBezTo>
                    <a:cubicBezTo>
                      <a:pt x="80" y="4"/>
                      <a:pt x="80" y="4"/>
                      <a:pt x="80" y="4"/>
                    </a:cubicBezTo>
                    <a:cubicBezTo>
                      <a:pt x="84" y="0"/>
                      <a:pt x="91" y="1"/>
                      <a:pt x="95" y="6"/>
                    </a:cubicBezTo>
                    <a:cubicBezTo>
                      <a:pt x="111" y="22"/>
                      <a:pt x="111" y="22"/>
                      <a:pt x="111" y="22"/>
                    </a:cubicBezTo>
                    <a:cubicBezTo>
                      <a:pt x="116" y="26"/>
                      <a:pt x="117" y="33"/>
                      <a:pt x="113" y="37"/>
                    </a:cubicBezTo>
                    <a:lnTo>
                      <a:pt x="49" y="101"/>
                    </a:ln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0" name="Line 62">
                <a:extLst>
                  <a:ext uri="{FF2B5EF4-FFF2-40B4-BE49-F238E27FC236}">
                    <a16:creationId xmlns:a16="http://schemas.microsoft.com/office/drawing/2014/main" id="{0D0AB286-4745-4601-86A5-2905ED77EB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803776" y="3617913"/>
                <a:ext cx="76200" cy="74613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1" name="Line 63">
                <a:extLst>
                  <a:ext uri="{FF2B5EF4-FFF2-40B4-BE49-F238E27FC236}">
                    <a16:creationId xmlns:a16="http://schemas.microsoft.com/office/drawing/2014/main" id="{C71CB19B-702E-4BC5-A625-1D1ED12128A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762501" y="3711575"/>
                <a:ext cx="23813" cy="23813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2" name="Line 64">
                <a:extLst>
                  <a:ext uri="{FF2B5EF4-FFF2-40B4-BE49-F238E27FC236}">
                    <a16:creationId xmlns:a16="http://schemas.microsoft.com/office/drawing/2014/main" id="{585F7D72-FB06-47A3-8582-1BFA3F60C3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845051" y="3557588"/>
                <a:ext cx="98425" cy="98425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3" name="Line 65">
                <a:extLst>
                  <a:ext uri="{FF2B5EF4-FFF2-40B4-BE49-F238E27FC236}">
                    <a16:creationId xmlns:a16="http://schemas.microsoft.com/office/drawing/2014/main" id="{CA19E75A-8EC6-42B9-AFF6-3443030019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29188" y="3481388"/>
                <a:ext cx="87313" cy="87313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22" name="Группа 21"/>
          <p:cNvGrpSpPr/>
          <p:nvPr/>
        </p:nvGrpSpPr>
        <p:grpSpPr>
          <a:xfrm>
            <a:off x="4289026" y="5891900"/>
            <a:ext cx="452686" cy="435920"/>
            <a:chOff x="4289026" y="5891900"/>
            <a:chExt cx="452686" cy="435920"/>
          </a:xfrm>
        </p:grpSpPr>
        <p:sp>
          <p:nvSpPr>
            <p:cNvPr id="386" name="Скругленный прямоугольник 385"/>
            <p:cNvSpPr/>
            <p:nvPr/>
          </p:nvSpPr>
          <p:spPr>
            <a:xfrm>
              <a:off x="4289026" y="5891900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21" name="Группа 20"/>
            <p:cNvGrpSpPr/>
            <p:nvPr/>
          </p:nvGrpSpPr>
          <p:grpSpPr>
            <a:xfrm>
              <a:off x="4335658" y="5998063"/>
              <a:ext cx="359423" cy="223594"/>
              <a:chOff x="-1482081" y="4466661"/>
              <a:chExt cx="546100" cy="339725"/>
            </a:xfrm>
          </p:grpSpPr>
          <p:sp>
            <p:nvSpPr>
              <p:cNvPr id="656" name="Rectangle 210">
                <a:extLst>
                  <a:ext uri="{FF2B5EF4-FFF2-40B4-BE49-F238E27FC236}">
                    <a16:creationId xmlns:a16="http://schemas.microsoft.com/office/drawing/2014/main" id="{79975F49-3F20-479B-A603-A22BB1470B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482081" y="4466661"/>
                <a:ext cx="546100" cy="339725"/>
              </a:xfrm>
              <a:prstGeom prst="rect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8" name="Oval 212">
                <a:extLst>
                  <a:ext uri="{FF2B5EF4-FFF2-40B4-BE49-F238E27FC236}">
                    <a16:creationId xmlns:a16="http://schemas.microsoft.com/office/drawing/2014/main" id="{DAE78145-1BFC-45FA-8EF8-ED3A58FEF7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405881" y="4628586"/>
                <a:ext cx="17462" cy="15875"/>
              </a:xfrm>
              <a:prstGeom prst="ellips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9" name="Oval 213">
                <a:extLst>
                  <a:ext uri="{FF2B5EF4-FFF2-40B4-BE49-F238E27FC236}">
                    <a16:creationId xmlns:a16="http://schemas.microsoft.com/office/drawing/2014/main" id="{F5F25D32-0D25-4433-8C98-28975716CF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337619" y="4628586"/>
                <a:ext cx="17462" cy="15875"/>
              </a:xfrm>
              <a:prstGeom prst="ellips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0" name="Oval 214">
                <a:extLst>
                  <a:ext uri="{FF2B5EF4-FFF2-40B4-BE49-F238E27FC236}">
                    <a16:creationId xmlns:a16="http://schemas.microsoft.com/office/drawing/2014/main" id="{B0E18DC7-E329-439F-A05D-4F27AF4C57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270944" y="4628586"/>
                <a:ext cx="19050" cy="15875"/>
              </a:xfrm>
              <a:prstGeom prst="ellips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1" name="Oval 215">
                <a:extLst>
                  <a:ext uri="{FF2B5EF4-FFF2-40B4-BE49-F238E27FC236}">
                    <a16:creationId xmlns:a16="http://schemas.microsoft.com/office/drawing/2014/main" id="{D8B07A6B-5AEE-489F-962A-2C09C1F404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202681" y="4628586"/>
                <a:ext cx="19050" cy="15875"/>
              </a:xfrm>
              <a:prstGeom prst="ellips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2" name="Oval 216">
                <a:extLst>
                  <a:ext uri="{FF2B5EF4-FFF2-40B4-BE49-F238E27FC236}">
                    <a16:creationId xmlns:a16="http://schemas.microsoft.com/office/drawing/2014/main" id="{C9153DF4-C322-49C6-8EAA-260B0811AE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134419" y="4628586"/>
                <a:ext cx="17462" cy="15875"/>
              </a:xfrm>
              <a:prstGeom prst="ellips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3" name="Oval 217">
                <a:extLst>
                  <a:ext uri="{FF2B5EF4-FFF2-40B4-BE49-F238E27FC236}">
                    <a16:creationId xmlns:a16="http://schemas.microsoft.com/office/drawing/2014/main" id="{0EB9CD55-9936-409A-97A8-2112BA18CF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32819" y="4628586"/>
                <a:ext cx="19050" cy="15875"/>
              </a:xfrm>
              <a:prstGeom prst="ellips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4" name="Oval 218">
                <a:extLst>
                  <a:ext uri="{FF2B5EF4-FFF2-40B4-BE49-F238E27FC236}">
                    <a16:creationId xmlns:a16="http://schemas.microsoft.com/office/drawing/2014/main" id="{C4372D77-DF93-4103-BFC1-2B57CE699F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128069" y="4530161"/>
                <a:ext cx="15875" cy="19050"/>
              </a:xfrm>
              <a:prstGeom prst="ellips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5" name="Oval 219">
                <a:extLst>
                  <a:ext uri="{FF2B5EF4-FFF2-40B4-BE49-F238E27FC236}">
                    <a16:creationId xmlns:a16="http://schemas.microsoft.com/office/drawing/2014/main" id="{58FA8E8E-328B-428E-A1AA-7A4F4BB551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78856" y="4579373"/>
                <a:ext cx="15875" cy="15875"/>
              </a:xfrm>
              <a:prstGeom prst="ellips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6" name="Oval 220">
                <a:extLst>
                  <a:ext uri="{FF2B5EF4-FFF2-40B4-BE49-F238E27FC236}">
                    <a16:creationId xmlns:a16="http://schemas.microsoft.com/office/drawing/2014/main" id="{5865248C-06C1-48AF-B061-9F4FFD03C6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78856" y="4677798"/>
                <a:ext cx="15875" cy="15875"/>
              </a:xfrm>
              <a:prstGeom prst="ellips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7" name="Oval 221">
                <a:extLst>
                  <a:ext uri="{FF2B5EF4-FFF2-40B4-BE49-F238E27FC236}">
                    <a16:creationId xmlns:a16="http://schemas.microsoft.com/office/drawing/2014/main" id="{AAAE1EB9-F1D8-408B-8D12-CBC22BC52D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128069" y="4727011"/>
                <a:ext cx="15875" cy="15875"/>
              </a:xfrm>
              <a:prstGeom prst="ellips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23" name="Группа 22"/>
          <p:cNvGrpSpPr/>
          <p:nvPr/>
        </p:nvGrpSpPr>
        <p:grpSpPr>
          <a:xfrm>
            <a:off x="2392023" y="5891900"/>
            <a:ext cx="452686" cy="435920"/>
            <a:chOff x="2392023" y="5891900"/>
            <a:chExt cx="452686" cy="435920"/>
          </a:xfrm>
        </p:grpSpPr>
        <p:sp>
          <p:nvSpPr>
            <p:cNvPr id="370" name="Скругленный прямоугольник 369"/>
            <p:cNvSpPr/>
            <p:nvPr/>
          </p:nvSpPr>
          <p:spPr>
            <a:xfrm>
              <a:off x="2392023" y="5891900"/>
              <a:ext cx="452686" cy="435920"/>
            </a:xfrm>
            <a:prstGeom prst="roundRect">
              <a:avLst>
                <a:gd name="adj" fmla="val 15768"/>
              </a:avLst>
            </a:prstGeom>
            <a:solidFill>
              <a:srgbClr val="F0F0F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>
                <a:lnSpc>
                  <a:spcPts val="2100"/>
                </a:lnSpc>
              </a:pPr>
              <a:endParaRPr lang="ru-RU" sz="1400" b="1" dirty="0">
                <a:latin typeface="Montserrat" panose="00000500000000000000" pitchFamily="2" charset="-52"/>
              </a:endParaRPr>
            </a:p>
          </p:txBody>
        </p:sp>
        <p:grpSp>
          <p:nvGrpSpPr>
            <p:cNvPr id="674" name="Group 4369">
              <a:extLst>
                <a:ext uri="{FF2B5EF4-FFF2-40B4-BE49-F238E27FC236}">
                  <a16:creationId xmlns:a16="http://schemas.microsoft.com/office/drawing/2014/main" id="{C6137E73-27E5-4090-9F56-711A1B635AAD}"/>
                </a:ext>
              </a:extLst>
            </p:cNvPr>
            <p:cNvGrpSpPr/>
            <p:nvPr/>
          </p:nvGrpSpPr>
          <p:grpSpPr>
            <a:xfrm>
              <a:off x="2435759" y="5962486"/>
              <a:ext cx="365215" cy="294749"/>
              <a:chOff x="7131050" y="4398963"/>
              <a:chExt cx="674688" cy="544512"/>
            </a:xfrm>
          </p:grpSpPr>
          <p:sp>
            <p:nvSpPr>
              <p:cNvPr id="675" name="Freeform 376">
                <a:extLst>
                  <a:ext uri="{FF2B5EF4-FFF2-40B4-BE49-F238E27FC236}">
                    <a16:creationId xmlns:a16="http://schemas.microsoft.com/office/drawing/2014/main" id="{248DD6F5-F812-452C-B01C-E6AE7570F3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2650" y="4398963"/>
                <a:ext cx="474663" cy="165100"/>
              </a:xfrm>
              <a:custGeom>
                <a:avLst/>
                <a:gdLst>
                  <a:gd name="T0" fmla="*/ 0 w 172"/>
                  <a:gd name="T1" fmla="*/ 60 h 60"/>
                  <a:gd name="T2" fmla="*/ 0 w 172"/>
                  <a:gd name="T3" fmla="*/ 18 h 60"/>
                  <a:gd name="T4" fmla="*/ 17 w 172"/>
                  <a:gd name="T5" fmla="*/ 0 h 60"/>
                  <a:gd name="T6" fmla="*/ 155 w 172"/>
                  <a:gd name="T7" fmla="*/ 0 h 60"/>
                  <a:gd name="T8" fmla="*/ 172 w 172"/>
                  <a:gd name="T9" fmla="*/ 18 h 60"/>
                  <a:gd name="T10" fmla="*/ 172 w 172"/>
                  <a:gd name="T1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2" h="60">
                    <a:moveTo>
                      <a:pt x="0" y="6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7" y="0"/>
                      <a:pt x="17" y="0"/>
                    </a:cubicBezTo>
                    <a:cubicBezTo>
                      <a:pt x="155" y="0"/>
                      <a:pt x="155" y="0"/>
                      <a:pt x="155" y="0"/>
                    </a:cubicBezTo>
                    <a:cubicBezTo>
                      <a:pt x="164" y="0"/>
                      <a:pt x="172" y="8"/>
                      <a:pt x="172" y="18"/>
                    </a:cubicBezTo>
                    <a:cubicBezTo>
                      <a:pt x="172" y="60"/>
                      <a:pt x="172" y="60"/>
                      <a:pt x="172" y="60"/>
                    </a:cubicBezTo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6" name="Line 377">
                <a:extLst>
                  <a:ext uri="{FF2B5EF4-FFF2-40B4-BE49-F238E27FC236}">
                    <a16:creationId xmlns:a16="http://schemas.microsoft.com/office/drawing/2014/main" id="{C9EB1F35-3908-46CA-AFAA-8D06EA59E94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273925" y="4692650"/>
                <a:ext cx="388938" cy="0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7" name="Freeform 378">
                <a:extLst>
                  <a:ext uri="{FF2B5EF4-FFF2-40B4-BE49-F238E27FC236}">
                    <a16:creationId xmlns:a16="http://schemas.microsoft.com/office/drawing/2014/main" id="{9840B997-444B-4B1C-9D14-B72316DB61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1050" y="4613275"/>
                <a:ext cx="674688" cy="261937"/>
              </a:xfrm>
              <a:custGeom>
                <a:avLst/>
                <a:gdLst>
                  <a:gd name="T0" fmla="*/ 228 w 245"/>
                  <a:gd name="T1" fmla="*/ 95 h 95"/>
                  <a:gd name="T2" fmla="*/ 245 w 245"/>
                  <a:gd name="T3" fmla="*/ 78 h 95"/>
                  <a:gd name="T4" fmla="*/ 245 w 245"/>
                  <a:gd name="T5" fmla="*/ 17 h 95"/>
                  <a:gd name="T6" fmla="*/ 228 w 245"/>
                  <a:gd name="T7" fmla="*/ 0 h 95"/>
                  <a:gd name="T8" fmla="*/ 210 w 245"/>
                  <a:gd name="T9" fmla="*/ 0 h 95"/>
                  <a:gd name="T10" fmla="*/ 193 w 245"/>
                  <a:gd name="T11" fmla="*/ 17 h 95"/>
                  <a:gd name="T12" fmla="*/ 193 w 245"/>
                  <a:gd name="T13" fmla="*/ 57 h 95"/>
                  <a:gd name="T14" fmla="*/ 52 w 245"/>
                  <a:gd name="T15" fmla="*/ 57 h 95"/>
                  <a:gd name="T16" fmla="*/ 52 w 245"/>
                  <a:gd name="T17" fmla="*/ 17 h 95"/>
                  <a:gd name="T18" fmla="*/ 35 w 245"/>
                  <a:gd name="T19" fmla="*/ 0 h 95"/>
                  <a:gd name="T20" fmla="*/ 17 w 245"/>
                  <a:gd name="T21" fmla="*/ 0 h 95"/>
                  <a:gd name="T22" fmla="*/ 0 w 245"/>
                  <a:gd name="T23" fmla="*/ 17 h 95"/>
                  <a:gd name="T24" fmla="*/ 0 w 245"/>
                  <a:gd name="T25" fmla="*/ 78 h 95"/>
                  <a:gd name="T26" fmla="*/ 17 w 245"/>
                  <a:gd name="T27" fmla="*/ 95 h 95"/>
                  <a:gd name="T28" fmla="*/ 228 w 245"/>
                  <a:gd name="T2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5" h="95">
                    <a:moveTo>
                      <a:pt x="228" y="95"/>
                    </a:moveTo>
                    <a:cubicBezTo>
                      <a:pt x="238" y="95"/>
                      <a:pt x="245" y="87"/>
                      <a:pt x="245" y="78"/>
                    </a:cubicBezTo>
                    <a:cubicBezTo>
                      <a:pt x="245" y="17"/>
                      <a:pt x="245" y="17"/>
                      <a:pt x="245" y="17"/>
                    </a:cubicBezTo>
                    <a:cubicBezTo>
                      <a:pt x="245" y="8"/>
                      <a:pt x="238" y="0"/>
                      <a:pt x="228" y="0"/>
                    </a:cubicBezTo>
                    <a:cubicBezTo>
                      <a:pt x="210" y="0"/>
                      <a:pt x="210" y="0"/>
                      <a:pt x="210" y="0"/>
                    </a:cubicBezTo>
                    <a:cubicBezTo>
                      <a:pt x="201" y="0"/>
                      <a:pt x="193" y="8"/>
                      <a:pt x="193" y="17"/>
                    </a:cubicBezTo>
                    <a:cubicBezTo>
                      <a:pt x="193" y="57"/>
                      <a:pt x="193" y="57"/>
                      <a:pt x="193" y="57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2" y="17"/>
                      <a:pt x="52" y="17"/>
                      <a:pt x="52" y="17"/>
                    </a:cubicBezTo>
                    <a:cubicBezTo>
                      <a:pt x="52" y="8"/>
                      <a:pt x="45" y="0"/>
                      <a:pt x="35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87"/>
                      <a:pt x="8" y="95"/>
                      <a:pt x="17" y="95"/>
                    </a:cubicBezTo>
                    <a:lnTo>
                      <a:pt x="228" y="95"/>
                    </a:lnTo>
                    <a:close/>
                  </a:path>
                </a:pathLst>
              </a:cu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8" name="Line 379">
                <a:extLst>
                  <a:ext uri="{FF2B5EF4-FFF2-40B4-BE49-F238E27FC236}">
                    <a16:creationId xmlns:a16="http://schemas.microsoft.com/office/drawing/2014/main" id="{90DC36E0-415C-4DAF-9475-CFD7CE9599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150100" y="4943475"/>
                <a:ext cx="107950" cy="0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9" name="Line 380">
                <a:extLst>
                  <a:ext uri="{FF2B5EF4-FFF2-40B4-BE49-F238E27FC236}">
                    <a16:creationId xmlns:a16="http://schemas.microsoft.com/office/drawing/2014/main" id="{91FE4A62-0196-44C3-B1EB-16293558BD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681913" y="4943475"/>
                <a:ext cx="107950" cy="0"/>
              </a:xfrm>
              <a:prstGeom prst="line">
                <a:avLst/>
              </a:prstGeom>
              <a:noFill/>
              <a:ln w="9525" cap="flat">
                <a:solidFill>
                  <a:srgbClr val="40404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pic>
        <p:nvPicPr>
          <p:cNvPr id="1702" name="Picture 8">
            <a:extLst>
              <a:ext uri="{FF2B5EF4-FFF2-40B4-BE49-F238E27FC236}">
                <a16:creationId xmlns:a16="http://schemas.microsoft.com/office/drawing/2014/main" id="{E717879E-61F1-4AA8-AAB8-5FBAE4948B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 l="10521" t="15962" r="77292" b="69215"/>
          <a:stretch>
            <a:fillRect/>
          </a:stretch>
        </p:blipFill>
        <p:spPr bwMode="auto">
          <a:xfrm>
            <a:off x="11312992" y="0"/>
            <a:ext cx="879007" cy="9096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5783105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8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88</TotalTime>
  <Words>1395</Words>
  <Application>Microsoft Office PowerPoint</Application>
  <PresentationFormat>Широкоэкранный</PresentationFormat>
  <Paragraphs>473</Paragraphs>
  <Slides>1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4" baseType="lpstr">
      <vt:lpstr>Montserrat Light</vt:lpstr>
      <vt:lpstr>Calibri Light</vt:lpstr>
      <vt:lpstr>Wingdings</vt:lpstr>
      <vt:lpstr>Montserrat Medium</vt:lpstr>
      <vt:lpstr>Arial</vt:lpstr>
      <vt:lpstr>Calibri</vt:lpstr>
      <vt:lpstr>Montserrat ExtraBold</vt:lpstr>
      <vt:lpstr>Montserrat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нязев Андрей Дмитриевич</dc:creator>
  <cp:lastModifiedBy>Игорь</cp:lastModifiedBy>
  <cp:revision>158</cp:revision>
  <cp:lastPrinted>2024-02-24T15:04:50Z</cp:lastPrinted>
  <dcterms:created xsi:type="dcterms:W3CDTF">2024-02-20T17:41:06Z</dcterms:created>
  <dcterms:modified xsi:type="dcterms:W3CDTF">2024-02-29T15:46:17Z</dcterms:modified>
</cp:coreProperties>
</file>